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4"/>
    <p:sldMasterId id="2147483834" r:id="rId5"/>
  </p:sldMasterIdLst>
  <p:notesMasterIdLst>
    <p:notesMasterId r:id="rId29"/>
  </p:notesMasterIdLst>
  <p:handoutMasterIdLst>
    <p:handoutMasterId r:id="rId30"/>
  </p:handoutMasterIdLst>
  <p:sldIdLst>
    <p:sldId id="2147479239" r:id="rId6"/>
    <p:sldId id="2147483169" r:id="rId7"/>
    <p:sldId id="2147479212" r:id="rId8"/>
    <p:sldId id="300" r:id="rId9"/>
    <p:sldId id="307" r:id="rId10"/>
    <p:sldId id="304" r:id="rId11"/>
    <p:sldId id="2147483174" r:id="rId12"/>
    <p:sldId id="2147483171" r:id="rId13"/>
    <p:sldId id="294" r:id="rId14"/>
    <p:sldId id="2147483134" r:id="rId15"/>
    <p:sldId id="258" r:id="rId16"/>
    <p:sldId id="1245" r:id="rId17"/>
    <p:sldId id="275" r:id="rId18"/>
    <p:sldId id="308" r:id="rId19"/>
    <p:sldId id="306" r:id="rId20"/>
    <p:sldId id="2147479220" r:id="rId21"/>
    <p:sldId id="2147483186" r:id="rId22"/>
    <p:sldId id="2147483176" r:id="rId23"/>
    <p:sldId id="283" r:id="rId24"/>
    <p:sldId id="2147479236" r:id="rId25"/>
    <p:sldId id="2147479905" r:id="rId26"/>
    <p:sldId id="1886" r:id="rId27"/>
    <p:sldId id="2147483125" r:id="rId28"/>
  </p:sldIdLst>
  <p:sldSz cx="12192000"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B38CB-D70A-410B-953C-1AE1E5820AC3}">
          <p14:sldIdLst>
            <p14:sldId id="2147479239"/>
            <p14:sldId id="2147483169"/>
            <p14:sldId id="2147479212"/>
            <p14:sldId id="300"/>
            <p14:sldId id="307"/>
            <p14:sldId id="304"/>
            <p14:sldId id="2147483174"/>
            <p14:sldId id="2147483171"/>
            <p14:sldId id="294"/>
            <p14:sldId id="2147483134"/>
            <p14:sldId id="258"/>
            <p14:sldId id="1245"/>
            <p14:sldId id="275"/>
            <p14:sldId id="308"/>
            <p14:sldId id="306"/>
            <p14:sldId id="2147479220"/>
            <p14:sldId id="2147483186"/>
            <p14:sldId id="2147483176"/>
            <p14:sldId id="283"/>
            <p14:sldId id="2147479236"/>
            <p14:sldId id="2147479905"/>
            <p14:sldId id="1886"/>
            <p14:sldId id="2147483125"/>
          </p14:sldIdLst>
        </p14:section>
        <p14:section name="Extra Slides" id="{7F0650ED-4182-403D-90ED-7AC1155E861E}">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30A6180E-A6C6-BCCB-40BB-1CE9B4CD7787}" name="LEGAND, Anaïs" initials="LA" userId="S::leganda@who.int::1db8eb7e-5fc5-4327-9744-1d6d650b8d2c" providerId="AD"/>
  <p188:author id="{B905962D-1EE9-4C33-24A7-E48FB0E11C7B}" name="Ranil Appuhamy (ranil.appuhamy@publichealthacademy.net)" initials="R(" userId="S::ranil.appuhamy_publichealthacademy.net#ext#@worldhealthorg.onmicrosoft.com::a73ce1fb-9286-4bcf-a6d1-cbe5d7800a53" providerId="AD"/>
  <p188:author id="{260C7074-F77E-B7AE-7932-524BF336556F}" name="MORY KEITA" initials="MK" userId="58f2fb851d688253" providerId="Windows Live"/>
  <p188:author id="{5A6FC47F-70E2-C270-CECB-6E0FF498C145}" name="Aminata Bagayoko" initials="AB" userId="fb3f2e77eca86c80" providerId="Windows Live"/>
  <p188:author id="{E807E181-AD38-5ABB-8DFA-D795022BFF02}" name="COSTA, Alejandro Javier" initials="CAJ" userId="S::costaa@who.int::824010de-59d8-40e2-875d-3d90f1e26cce" providerId="AD"/>
  <p188:author id="{FA01748D-5D23-B6C7-04B9-B894627378FF}" name="qcp9@cdc.gov" initials="qc" userId="S::urn:spo:guest#qcp9@cdc.gov::" providerId="AD"/>
  <p188:author id="{7C4D92A0-4606-19AD-E3DB-D8D53A81E2EA}" name="Doshi, Reena H. (CDC/DDPHSIS/CGH/GID)" initials="D(" userId="S::hqo3_cdc.gov#ext#@worldhealthorg.onmicrosoft.com::faad0f9d-6c06-4401-ba5b-f6a55aaf0552" providerId="AD"/>
  <p188:author id="{01D024B0-99E3-737C-DF65-F1914A1FEE59}" name="DANCANTE, Ana Mafalda" initials="DM" userId="S::dancantea@who.int::30afb5c6-3f95-45e1-b4a6-993ffaefdfc3" providerId="AD"/>
  <p188:author id="{3B5C1AB1-D3D7-0A63-A05C-69E65A0CBCE1}" name="efx5@cdc.gov" initials="ef" userId="S::urn:spo:guest#efx5@cdc.gov::" providerId="AD"/>
  <p188:author id="{9E5A3CBC-0BE3-2328-C9F1-D04812A79184}" name="DOSHI, Reena Hemendra" initials="DRH" userId="S::rdoshi@who.int::a000f633-1554-4c76-9779-d0878cdbdb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STA, Alejandro Javier" initials="CAJ" lastIdx="15" clrIdx="0">
    <p:extLst>
      <p:ext uri="{19B8F6BF-5375-455C-9EA6-DF929625EA0E}">
        <p15:presenceInfo xmlns:p15="http://schemas.microsoft.com/office/powerpoint/2012/main" userId="S::costaa@who.int::824010de-59d8-40e2-875d-3d90f1e26cce" providerId="AD"/>
      </p:ext>
    </p:extLst>
  </p:cmAuthor>
  <p:cmAuthor id="2" name="Ranil Appuhamy" initials="RA" lastIdx="1" clrIdx="1">
    <p:extLst>
      <p:ext uri="{19B8F6BF-5375-455C-9EA6-DF929625EA0E}">
        <p15:presenceInfo xmlns:p15="http://schemas.microsoft.com/office/powerpoint/2012/main" userId="5f93c2c931b89211" providerId="Windows Live"/>
      </p:ext>
    </p:extLst>
  </p:cmAuthor>
  <p:cmAuthor id="3" name="DOSHI, Reena Hemendra" initials="DRH" lastIdx="9" clrIdx="2">
    <p:extLst>
      <p:ext uri="{19B8F6BF-5375-455C-9EA6-DF929625EA0E}">
        <p15:presenceInfo xmlns:p15="http://schemas.microsoft.com/office/powerpoint/2012/main" userId="S::rdoshi@who.int::a000f633-1554-4c76-9779-d0878cdbdb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C0"/>
    <a:srgbClr val="AE1281"/>
    <a:srgbClr val="051291"/>
    <a:srgbClr val="6DD9FF"/>
    <a:srgbClr val="FFFCEF"/>
    <a:srgbClr val="C9B93F"/>
    <a:srgbClr val="005776"/>
    <a:srgbClr val="E3D9FF"/>
    <a:srgbClr val="E5F1FF"/>
    <a:srgbClr val="FFF8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80E6C8-862C-1393-D291-AE627D85193A}" v="88" dt="2024-09-11T11:08:40.308"/>
    <p1510:client id="{1ADAA754-E34E-8413-D349-7365530FCB73}" v="40" dt="2024-09-11T08:09:21.306"/>
    <p1510:client id="{318FACE6-3410-45EB-A6D2-8371413625B2}" v="78" dt="2024-09-10T16:20:25.114"/>
    <p1510:client id="{36C97739-C577-95D7-AFBF-3589B3FE8E26}" v="3" dt="2024-09-10T15:45:45.382"/>
    <p1510:client id="{3BF2F5A3-4472-ABF4-012F-737ECD391969}" v="15" dt="2024-09-11T14:53:52.861"/>
    <p1510:client id="{DDFABD57-55D9-BB81-9825-9F7178F13C2F}" v="2" dt="2024-09-12T07:13:40.082"/>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FA8D3609-5F79-4275-AC54-EC9A2B1FA5A5}"/>
    <pc:docChg chg="delSld modSld modSection">
      <pc:chgData name="DOSHI, Reena Hemendra" userId="a000f633-1554-4c76-9779-d0878cdbdb83" providerId="ADAL" clId="{FA8D3609-5F79-4275-AC54-EC9A2B1FA5A5}" dt="2024-07-03T11:16:38.801" v="35" actId="20577"/>
      <pc:docMkLst>
        <pc:docMk/>
      </pc:docMkLst>
      <pc:sldChg chg="del">
        <pc:chgData name="DOSHI, Reena Hemendra" userId="a000f633-1554-4c76-9779-d0878cdbdb83" providerId="ADAL" clId="{FA8D3609-5F79-4275-AC54-EC9A2B1FA5A5}" dt="2024-07-03T11:16:05.920" v="1" actId="47"/>
        <pc:sldMkLst>
          <pc:docMk/>
          <pc:sldMk cId="1543825204" sldId="257"/>
        </pc:sldMkLst>
      </pc:sldChg>
      <pc:sldChg chg="del">
        <pc:chgData name="DOSHI, Reena Hemendra" userId="a000f633-1554-4c76-9779-d0878cdbdb83" providerId="ADAL" clId="{FA8D3609-5F79-4275-AC54-EC9A2B1FA5A5}" dt="2024-07-03T11:16:05.920" v="1" actId="47"/>
        <pc:sldMkLst>
          <pc:docMk/>
          <pc:sldMk cId="831278851" sldId="262"/>
        </pc:sldMkLst>
      </pc:sldChg>
      <pc:sldChg chg="del">
        <pc:chgData name="DOSHI, Reena Hemendra" userId="a000f633-1554-4c76-9779-d0878cdbdb83" providerId="ADAL" clId="{FA8D3609-5F79-4275-AC54-EC9A2B1FA5A5}" dt="2024-07-03T11:16:05.920" v="1" actId="47"/>
        <pc:sldMkLst>
          <pc:docMk/>
          <pc:sldMk cId="2518132960" sldId="2083"/>
        </pc:sldMkLst>
      </pc:sldChg>
      <pc:sldChg chg="del">
        <pc:chgData name="DOSHI, Reena Hemendra" userId="a000f633-1554-4c76-9779-d0878cdbdb83" providerId="ADAL" clId="{FA8D3609-5F79-4275-AC54-EC9A2B1FA5A5}" dt="2024-07-03T11:16:05.920" v="1" actId="47"/>
        <pc:sldMkLst>
          <pc:docMk/>
          <pc:sldMk cId="320014508" sldId="2474"/>
        </pc:sldMkLst>
      </pc:sldChg>
      <pc:sldChg chg="del">
        <pc:chgData name="DOSHI, Reena Hemendra" userId="a000f633-1554-4c76-9779-d0878cdbdb83" providerId="ADAL" clId="{FA8D3609-5F79-4275-AC54-EC9A2B1FA5A5}" dt="2024-07-03T11:16:05.920" v="1" actId="47"/>
        <pc:sldMkLst>
          <pc:docMk/>
          <pc:sldMk cId="870271985" sldId="2011251238"/>
        </pc:sldMkLst>
      </pc:sldChg>
      <pc:sldChg chg="del">
        <pc:chgData name="DOSHI, Reena Hemendra" userId="a000f633-1554-4c76-9779-d0878cdbdb83" providerId="ADAL" clId="{FA8D3609-5F79-4275-AC54-EC9A2B1FA5A5}" dt="2024-07-03T11:16:05.920" v="1" actId="47"/>
        <pc:sldMkLst>
          <pc:docMk/>
          <pc:sldMk cId="512175068" sldId="2011251239"/>
        </pc:sldMkLst>
      </pc:sldChg>
      <pc:sldChg chg="del">
        <pc:chgData name="DOSHI, Reena Hemendra" userId="a000f633-1554-4c76-9779-d0878cdbdb83" providerId="ADAL" clId="{FA8D3609-5F79-4275-AC54-EC9A2B1FA5A5}" dt="2024-07-03T11:16:05.920" v="1" actId="47"/>
        <pc:sldMkLst>
          <pc:docMk/>
          <pc:sldMk cId="462970180" sldId="2147471813"/>
        </pc:sldMkLst>
      </pc:sldChg>
      <pc:sldChg chg="del">
        <pc:chgData name="DOSHI, Reena Hemendra" userId="a000f633-1554-4c76-9779-d0878cdbdb83" providerId="ADAL" clId="{FA8D3609-5F79-4275-AC54-EC9A2B1FA5A5}" dt="2024-07-03T11:16:05.920" v="1" actId="47"/>
        <pc:sldMkLst>
          <pc:docMk/>
          <pc:sldMk cId="1241857847" sldId="2147471822"/>
        </pc:sldMkLst>
      </pc:sldChg>
      <pc:sldChg chg="del">
        <pc:chgData name="DOSHI, Reena Hemendra" userId="a000f633-1554-4c76-9779-d0878cdbdb83" providerId="ADAL" clId="{FA8D3609-5F79-4275-AC54-EC9A2B1FA5A5}" dt="2024-07-03T11:16:05.920" v="1" actId="47"/>
        <pc:sldMkLst>
          <pc:docMk/>
          <pc:sldMk cId="1680677126" sldId="2147473526"/>
        </pc:sldMkLst>
      </pc:sldChg>
      <pc:sldChg chg="del">
        <pc:chgData name="DOSHI, Reena Hemendra" userId="a000f633-1554-4c76-9779-d0878cdbdb83" providerId="ADAL" clId="{FA8D3609-5F79-4275-AC54-EC9A2B1FA5A5}" dt="2024-07-03T11:16:05.920" v="1" actId="47"/>
        <pc:sldMkLst>
          <pc:docMk/>
          <pc:sldMk cId="480091684" sldId="2147479213"/>
        </pc:sldMkLst>
      </pc:sldChg>
      <pc:sldChg chg="del">
        <pc:chgData name="DOSHI, Reena Hemendra" userId="a000f633-1554-4c76-9779-d0878cdbdb83" providerId="ADAL" clId="{FA8D3609-5F79-4275-AC54-EC9A2B1FA5A5}" dt="2024-07-03T11:16:05.920" v="1" actId="47"/>
        <pc:sldMkLst>
          <pc:docMk/>
          <pc:sldMk cId="3550337284" sldId="2147479226"/>
        </pc:sldMkLst>
      </pc:sldChg>
      <pc:sldChg chg="del">
        <pc:chgData name="DOSHI, Reena Hemendra" userId="a000f633-1554-4c76-9779-d0878cdbdb83" providerId="ADAL" clId="{FA8D3609-5F79-4275-AC54-EC9A2B1FA5A5}" dt="2024-07-03T11:16:05.920" v="1" actId="47"/>
        <pc:sldMkLst>
          <pc:docMk/>
          <pc:sldMk cId="635549296" sldId="2147479231"/>
        </pc:sldMkLst>
      </pc:sldChg>
      <pc:sldChg chg="modSp mod">
        <pc:chgData name="DOSHI, Reena Hemendra" userId="a000f633-1554-4c76-9779-d0878cdbdb83" providerId="ADAL" clId="{FA8D3609-5F79-4275-AC54-EC9A2B1FA5A5}" dt="2024-07-03T11:16:38.801" v="35" actId="20577"/>
        <pc:sldMkLst>
          <pc:docMk/>
          <pc:sldMk cId="3086809262" sldId="2147479239"/>
        </pc:sldMkLst>
        <pc:spChg chg="mod">
          <ac:chgData name="DOSHI, Reena Hemendra" userId="a000f633-1554-4c76-9779-d0878cdbdb83" providerId="ADAL" clId="{FA8D3609-5F79-4275-AC54-EC9A2B1FA5A5}" dt="2024-07-03T11:16:38.801" v="35" actId="20577"/>
          <ac:spMkLst>
            <pc:docMk/>
            <pc:sldMk cId="3086809262" sldId="2147479239"/>
            <ac:spMk id="4" creationId="{4C071B59-F126-F10C-E518-B5DFACBEC111}"/>
          </ac:spMkLst>
        </pc:spChg>
      </pc:sldChg>
      <pc:sldChg chg="del">
        <pc:chgData name="DOSHI, Reena Hemendra" userId="a000f633-1554-4c76-9779-d0878cdbdb83" providerId="ADAL" clId="{FA8D3609-5F79-4275-AC54-EC9A2B1FA5A5}" dt="2024-07-03T11:16:05.920" v="1" actId="47"/>
        <pc:sldMkLst>
          <pc:docMk/>
          <pc:sldMk cId="379039477" sldId="2147479240"/>
        </pc:sldMkLst>
      </pc:sldChg>
      <pc:sldChg chg="del">
        <pc:chgData name="DOSHI, Reena Hemendra" userId="a000f633-1554-4c76-9779-d0878cdbdb83" providerId="ADAL" clId="{FA8D3609-5F79-4275-AC54-EC9A2B1FA5A5}" dt="2024-07-03T11:16:05.920" v="1" actId="47"/>
        <pc:sldMkLst>
          <pc:docMk/>
          <pc:sldMk cId="599832621" sldId="2147479900"/>
        </pc:sldMkLst>
      </pc:sldChg>
      <pc:sldChg chg="del">
        <pc:chgData name="DOSHI, Reena Hemendra" userId="a000f633-1554-4c76-9779-d0878cdbdb83" providerId="ADAL" clId="{FA8D3609-5F79-4275-AC54-EC9A2B1FA5A5}" dt="2024-07-03T11:16:05.920" v="1" actId="47"/>
        <pc:sldMkLst>
          <pc:docMk/>
          <pc:sldMk cId="2996515153" sldId="2147479906"/>
        </pc:sldMkLst>
      </pc:sldChg>
      <pc:sldChg chg="del">
        <pc:chgData name="DOSHI, Reena Hemendra" userId="a000f633-1554-4c76-9779-d0878cdbdb83" providerId="ADAL" clId="{FA8D3609-5F79-4275-AC54-EC9A2B1FA5A5}" dt="2024-07-03T11:16:05.920" v="1" actId="47"/>
        <pc:sldMkLst>
          <pc:docMk/>
          <pc:sldMk cId="2387655806" sldId="2147483121"/>
        </pc:sldMkLst>
      </pc:sldChg>
      <pc:sldChg chg="del">
        <pc:chgData name="DOSHI, Reena Hemendra" userId="a000f633-1554-4c76-9779-d0878cdbdb83" providerId="ADAL" clId="{FA8D3609-5F79-4275-AC54-EC9A2B1FA5A5}" dt="2024-07-03T11:16:05.920" v="1" actId="47"/>
        <pc:sldMkLst>
          <pc:docMk/>
          <pc:sldMk cId="228523921" sldId="2147483123"/>
        </pc:sldMkLst>
      </pc:sldChg>
      <pc:sldChg chg="del">
        <pc:chgData name="DOSHI, Reena Hemendra" userId="a000f633-1554-4c76-9779-d0878cdbdb83" providerId="ADAL" clId="{FA8D3609-5F79-4275-AC54-EC9A2B1FA5A5}" dt="2024-07-03T11:16:05.920" v="1" actId="47"/>
        <pc:sldMkLst>
          <pc:docMk/>
          <pc:sldMk cId="3071686684" sldId="2147483131"/>
        </pc:sldMkLst>
      </pc:sldChg>
      <pc:sldChg chg="del">
        <pc:chgData name="DOSHI, Reena Hemendra" userId="a000f633-1554-4c76-9779-d0878cdbdb83" providerId="ADAL" clId="{FA8D3609-5F79-4275-AC54-EC9A2B1FA5A5}" dt="2024-07-03T11:16:05.920" v="1" actId="47"/>
        <pc:sldMkLst>
          <pc:docMk/>
          <pc:sldMk cId="3852391251" sldId="2147483145"/>
        </pc:sldMkLst>
      </pc:sldChg>
      <pc:sldChg chg="del">
        <pc:chgData name="DOSHI, Reena Hemendra" userId="a000f633-1554-4c76-9779-d0878cdbdb83" providerId="ADAL" clId="{FA8D3609-5F79-4275-AC54-EC9A2B1FA5A5}" dt="2024-07-03T11:16:05.920" v="1" actId="47"/>
        <pc:sldMkLst>
          <pc:docMk/>
          <pc:sldMk cId="423419879" sldId="2147483147"/>
        </pc:sldMkLst>
      </pc:sldChg>
      <pc:sldChg chg="del">
        <pc:chgData name="DOSHI, Reena Hemendra" userId="a000f633-1554-4c76-9779-d0878cdbdb83" providerId="ADAL" clId="{FA8D3609-5F79-4275-AC54-EC9A2B1FA5A5}" dt="2024-07-03T11:16:05.920" v="1" actId="47"/>
        <pc:sldMkLst>
          <pc:docMk/>
          <pc:sldMk cId="1231048097" sldId="2147483148"/>
        </pc:sldMkLst>
      </pc:sldChg>
      <pc:sldChg chg="del">
        <pc:chgData name="DOSHI, Reena Hemendra" userId="a000f633-1554-4c76-9779-d0878cdbdb83" providerId="ADAL" clId="{FA8D3609-5F79-4275-AC54-EC9A2B1FA5A5}" dt="2024-07-03T11:16:05.920" v="1" actId="47"/>
        <pc:sldMkLst>
          <pc:docMk/>
          <pc:sldMk cId="4074669209" sldId="2147483149"/>
        </pc:sldMkLst>
      </pc:sldChg>
      <pc:sldChg chg="del">
        <pc:chgData name="DOSHI, Reena Hemendra" userId="a000f633-1554-4c76-9779-d0878cdbdb83" providerId="ADAL" clId="{FA8D3609-5F79-4275-AC54-EC9A2B1FA5A5}" dt="2024-07-03T11:16:05.920" v="1" actId="47"/>
        <pc:sldMkLst>
          <pc:docMk/>
          <pc:sldMk cId="1192966271" sldId="2147483150"/>
        </pc:sldMkLst>
      </pc:sldChg>
      <pc:sldChg chg="del">
        <pc:chgData name="DOSHI, Reena Hemendra" userId="a000f633-1554-4c76-9779-d0878cdbdb83" providerId="ADAL" clId="{FA8D3609-5F79-4275-AC54-EC9A2B1FA5A5}" dt="2024-07-03T11:16:05.920" v="1" actId="47"/>
        <pc:sldMkLst>
          <pc:docMk/>
          <pc:sldMk cId="1840502476" sldId="2147483151"/>
        </pc:sldMkLst>
      </pc:sldChg>
      <pc:sldChg chg="del">
        <pc:chgData name="DOSHI, Reena Hemendra" userId="a000f633-1554-4c76-9779-d0878cdbdb83" providerId="ADAL" clId="{FA8D3609-5F79-4275-AC54-EC9A2B1FA5A5}" dt="2024-07-03T11:16:05.920" v="1" actId="47"/>
        <pc:sldMkLst>
          <pc:docMk/>
          <pc:sldMk cId="2562158507" sldId="2147483152"/>
        </pc:sldMkLst>
      </pc:sldChg>
      <pc:sldChg chg="del">
        <pc:chgData name="DOSHI, Reena Hemendra" userId="a000f633-1554-4c76-9779-d0878cdbdb83" providerId="ADAL" clId="{FA8D3609-5F79-4275-AC54-EC9A2B1FA5A5}" dt="2024-07-03T11:16:05.920" v="1" actId="47"/>
        <pc:sldMkLst>
          <pc:docMk/>
          <pc:sldMk cId="527721817" sldId="2147483153"/>
        </pc:sldMkLst>
      </pc:sldChg>
      <pc:sldChg chg="del">
        <pc:chgData name="DOSHI, Reena Hemendra" userId="a000f633-1554-4c76-9779-d0878cdbdb83" providerId="ADAL" clId="{FA8D3609-5F79-4275-AC54-EC9A2B1FA5A5}" dt="2024-07-03T11:16:05.920" v="1" actId="47"/>
        <pc:sldMkLst>
          <pc:docMk/>
          <pc:sldMk cId="2261274844" sldId="2147483154"/>
        </pc:sldMkLst>
      </pc:sldChg>
      <pc:sldChg chg="del">
        <pc:chgData name="DOSHI, Reena Hemendra" userId="a000f633-1554-4c76-9779-d0878cdbdb83" providerId="ADAL" clId="{FA8D3609-5F79-4275-AC54-EC9A2B1FA5A5}" dt="2024-07-03T11:16:05.920" v="1" actId="47"/>
        <pc:sldMkLst>
          <pc:docMk/>
          <pc:sldMk cId="40939046" sldId="2147483158"/>
        </pc:sldMkLst>
      </pc:sldChg>
      <pc:sldChg chg="del">
        <pc:chgData name="DOSHI, Reena Hemendra" userId="a000f633-1554-4c76-9779-d0878cdbdb83" providerId="ADAL" clId="{FA8D3609-5F79-4275-AC54-EC9A2B1FA5A5}" dt="2024-07-03T11:16:05.920" v="1" actId="47"/>
        <pc:sldMkLst>
          <pc:docMk/>
          <pc:sldMk cId="4161717143" sldId="2147483177"/>
        </pc:sldMkLst>
      </pc:sldChg>
      <pc:sldChg chg="del">
        <pc:chgData name="DOSHI, Reena Hemendra" userId="a000f633-1554-4c76-9779-d0878cdbdb83" providerId="ADAL" clId="{FA8D3609-5F79-4275-AC54-EC9A2B1FA5A5}" dt="2024-07-03T11:16:00.248" v="0" actId="47"/>
        <pc:sldMkLst>
          <pc:docMk/>
          <pc:sldMk cId="1999421586" sldId="2147483181"/>
        </pc:sldMkLst>
      </pc:sldChg>
      <pc:sldChg chg="del">
        <pc:chgData name="DOSHI, Reena Hemendra" userId="a000f633-1554-4c76-9779-d0878cdbdb83" providerId="ADAL" clId="{FA8D3609-5F79-4275-AC54-EC9A2B1FA5A5}" dt="2024-07-03T11:16:05.920" v="1" actId="47"/>
        <pc:sldMkLst>
          <pc:docMk/>
          <pc:sldMk cId="1043883514" sldId="2147483182"/>
        </pc:sldMkLst>
      </pc:sldChg>
      <pc:sldChg chg="del">
        <pc:chgData name="DOSHI, Reena Hemendra" userId="a000f633-1554-4c76-9779-d0878cdbdb83" providerId="ADAL" clId="{FA8D3609-5F79-4275-AC54-EC9A2B1FA5A5}" dt="2024-07-03T11:16:05.920" v="1" actId="47"/>
        <pc:sldMkLst>
          <pc:docMk/>
          <pc:sldMk cId="794592455" sldId="2147483183"/>
        </pc:sldMkLst>
      </pc:sldChg>
      <pc:sldMasterChg chg="delSldLayout">
        <pc:chgData name="DOSHI, Reena Hemendra" userId="a000f633-1554-4c76-9779-d0878cdbdb83" providerId="ADAL" clId="{FA8D3609-5F79-4275-AC54-EC9A2B1FA5A5}" dt="2024-07-03T11:16:05.920" v="1" actId="47"/>
        <pc:sldMasterMkLst>
          <pc:docMk/>
          <pc:sldMasterMk cId="651073860" sldId="2147483834"/>
        </pc:sldMasterMkLst>
        <pc:sldLayoutChg chg="del">
          <pc:chgData name="DOSHI, Reena Hemendra" userId="a000f633-1554-4c76-9779-d0878cdbdb83" providerId="ADAL" clId="{FA8D3609-5F79-4275-AC54-EC9A2B1FA5A5}" dt="2024-07-03T11:16:05.920" v="1" actId="47"/>
          <pc:sldLayoutMkLst>
            <pc:docMk/>
            <pc:sldMasterMk cId="651073860" sldId="2147483834"/>
            <pc:sldLayoutMk cId="4102833819" sldId="2147483857"/>
          </pc:sldLayoutMkLst>
        </pc:sldLayoutChg>
      </pc:sldMasterChg>
    </pc:docChg>
  </pc:docChgLst>
  <pc:docChgLst>
    <pc:chgData name="BAGAYOKO, Aminata" userId="S::abagayoko@who.int::af29668f-d808-46bb-8875-ad77a3a2fd81" providerId="AD" clId="Web-{1680E6C8-862C-1393-D291-AE627D85193A}"/>
    <pc:docChg chg="modSld">
      <pc:chgData name="BAGAYOKO, Aminata" userId="S::abagayoko@who.int::af29668f-d808-46bb-8875-ad77a3a2fd81" providerId="AD" clId="Web-{1680E6C8-862C-1393-D291-AE627D85193A}" dt="2024-09-11T11:08:40.308" v="66" actId="1076"/>
      <pc:docMkLst>
        <pc:docMk/>
      </pc:docMkLst>
      <pc:sldChg chg="modSp">
        <pc:chgData name="BAGAYOKO, Aminata" userId="S::abagayoko@who.int::af29668f-d808-46bb-8875-ad77a3a2fd81" providerId="AD" clId="Web-{1680E6C8-862C-1393-D291-AE627D85193A}" dt="2024-09-11T08:42:29.062" v="27" actId="20577"/>
        <pc:sldMkLst>
          <pc:docMk/>
          <pc:sldMk cId="2561708093" sldId="294"/>
        </pc:sldMkLst>
        <pc:spChg chg="mod">
          <ac:chgData name="BAGAYOKO, Aminata" userId="S::abagayoko@who.int::af29668f-d808-46bb-8875-ad77a3a2fd81" providerId="AD" clId="Web-{1680E6C8-862C-1393-D291-AE627D85193A}" dt="2024-09-11T08:42:29.062" v="27" actId="20577"/>
          <ac:spMkLst>
            <pc:docMk/>
            <pc:sldMk cId="2561708093" sldId="294"/>
            <ac:spMk id="4" creationId="{BA430783-1E88-4081-8170-ECD171DEEF89}"/>
          </ac:spMkLst>
        </pc:spChg>
      </pc:sldChg>
      <pc:sldChg chg="modSp">
        <pc:chgData name="BAGAYOKO, Aminata" userId="S::abagayoko@who.int::af29668f-d808-46bb-8875-ad77a3a2fd81" providerId="AD" clId="Web-{1680E6C8-862C-1393-D291-AE627D85193A}" dt="2024-09-11T08:48:18.257" v="44" actId="20577"/>
        <pc:sldMkLst>
          <pc:docMk/>
          <pc:sldMk cId="942245116" sldId="308"/>
        </pc:sldMkLst>
        <pc:spChg chg="mod">
          <ac:chgData name="BAGAYOKO, Aminata" userId="S::abagayoko@who.int::af29668f-d808-46bb-8875-ad77a3a2fd81" providerId="AD" clId="Web-{1680E6C8-862C-1393-D291-AE627D85193A}" dt="2024-09-11T08:48:18.257" v="44" actId="20577"/>
          <ac:spMkLst>
            <pc:docMk/>
            <pc:sldMk cId="942245116" sldId="308"/>
            <ac:spMk id="3" creationId="{9E43FCA7-EA9F-1D8D-7091-0DA4AC8E08F2}"/>
          </ac:spMkLst>
        </pc:spChg>
      </pc:sldChg>
      <pc:sldChg chg="modSp">
        <pc:chgData name="BAGAYOKO, Aminata" userId="S::abagayoko@who.int::af29668f-d808-46bb-8875-ad77a3a2fd81" providerId="AD" clId="Web-{1680E6C8-862C-1393-D291-AE627D85193A}" dt="2024-09-11T09:12:26.272" v="64" actId="1076"/>
        <pc:sldMkLst>
          <pc:docMk/>
          <pc:sldMk cId="332822174" sldId="1886"/>
        </pc:sldMkLst>
        <pc:spChg chg="mod">
          <ac:chgData name="BAGAYOKO, Aminata" userId="S::abagayoko@who.int::af29668f-d808-46bb-8875-ad77a3a2fd81" providerId="AD" clId="Web-{1680E6C8-862C-1393-D291-AE627D85193A}" dt="2024-09-11T09:12:13.850" v="62" actId="1076"/>
          <ac:spMkLst>
            <pc:docMk/>
            <pc:sldMk cId="332822174" sldId="1886"/>
            <ac:spMk id="7" creationId="{EF811327-21A1-768C-2C1F-C42D433566BC}"/>
          </ac:spMkLst>
        </pc:spChg>
        <pc:spChg chg="mod">
          <ac:chgData name="BAGAYOKO, Aminata" userId="S::abagayoko@who.int::af29668f-d808-46bb-8875-ad77a3a2fd81" providerId="AD" clId="Web-{1680E6C8-862C-1393-D291-AE627D85193A}" dt="2024-09-11T09:12:26.272" v="64" actId="1076"/>
          <ac:spMkLst>
            <pc:docMk/>
            <pc:sldMk cId="332822174" sldId="1886"/>
            <ac:spMk id="11" creationId="{EF05BEB1-E723-F0BC-7EBF-F1C92A62BA3E}"/>
          </ac:spMkLst>
        </pc:spChg>
      </pc:sldChg>
      <pc:sldChg chg="modSp">
        <pc:chgData name="BAGAYOKO, Aminata" userId="S::abagayoko@who.int::af29668f-d808-46bb-8875-ad77a3a2fd81" providerId="AD" clId="Web-{1680E6C8-862C-1393-D291-AE627D85193A}" dt="2024-09-11T08:32:12.020" v="1" actId="20577"/>
        <pc:sldMkLst>
          <pc:docMk/>
          <pc:sldMk cId="1168008875" sldId="2147479212"/>
        </pc:sldMkLst>
        <pc:spChg chg="mod">
          <ac:chgData name="BAGAYOKO, Aminata" userId="S::abagayoko@who.int::af29668f-d808-46bb-8875-ad77a3a2fd81" providerId="AD" clId="Web-{1680E6C8-862C-1393-D291-AE627D85193A}" dt="2024-09-11T08:32:12.020" v="1" actId="20577"/>
          <ac:spMkLst>
            <pc:docMk/>
            <pc:sldMk cId="1168008875" sldId="2147479212"/>
            <ac:spMk id="4" creationId="{B66F6E39-FF73-4813-0A69-7069FC8B26B6}"/>
          </ac:spMkLst>
        </pc:spChg>
      </pc:sldChg>
      <pc:sldChg chg="modSp">
        <pc:chgData name="BAGAYOKO, Aminata" userId="S::abagayoko@who.int::af29668f-d808-46bb-8875-ad77a3a2fd81" providerId="AD" clId="Web-{1680E6C8-862C-1393-D291-AE627D85193A}" dt="2024-09-11T11:08:40.308" v="66" actId="1076"/>
        <pc:sldMkLst>
          <pc:docMk/>
          <pc:sldMk cId="3086809262" sldId="2147479239"/>
        </pc:sldMkLst>
        <pc:spChg chg="mod">
          <ac:chgData name="BAGAYOKO, Aminata" userId="S::abagayoko@who.int::af29668f-d808-46bb-8875-ad77a3a2fd81" providerId="AD" clId="Web-{1680E6C8-862C-1393-D291-AE627D85193A}" dt="2024-09-11T11:08:40.308" v="66" actId="1076"/>
          <ac:spMkLst>
            <pc:docMk/>
            <pc:sldMk cId="3086809262" sldId="2147479239"/>
            <ac:spMk id="3" creationId="{5AEB5218-9DA8-09C8-5B23-909EC4BCB359}"/>
          </ac:spMkLst>
        </pc:spChg>
      </pc:sldChg>
      <pc:sldChg chg="modSp">
        <pc:chgData name="BAGAYOKO, Aminata" userId="S::abagayoko@who.int::af29668f-d808-46bb-8875-ad77a3a2fd81" providerId="AD" clId="Web-{1680E6C8-862C-1393-D291-AE627D85193A}" dt="2024-09-11T09:11:18.708" v="56" actId="1076"/>
        <pc:sldMkLst>
          <pc:docMk/>
          <pc:sldMk cId="3395929020" sldId="2147479905"/>
        </pc:sldMkLst>
        <pc:spChg chg="mod">
          <ac:chgData name="BAGAYOKO, Aminata" userId="S::abagayoko@who.int::af29668f-d808-46bb-8875-ad77a3a2fd81" providerId="AD" clId="Web-{1680E6C8-862C-1393-D291-AE627D85193A}" dt="2024-09-11T09:10:21.473" v="48" actId="1076"/>
          <ac:spMkLst>
            <pc:docMk/>
            <pc:sldMk cId="3395929020" sldId="2147479905"/>
            <ac:spMk id="2" creationId="{0BAB006F-EAAF-4530-85F3-96715A764AC0}"/>
          </ac:spMkLst>
        </pc:spChg>
        <pc:spChg chg="mod">
          <ac:chgData name="BAGAYOKO, Aminata" userId="S::abagayoko@who.int::af29668f-d808-46bb-8875-ad77a3a2fd81" providerId="AD" clId="Web-{1680E6C8-862C-1393-D291-AE627D85193A}" dt="2024-09-11T09:11:18.708" v="56" actId="1076"/>
          <ac:spMkLst>
            <pc:docMk/>
            <pc:sldMk cId="3395929020" sldId="2147479905"/>
            <ac:spMk id="3" creationId="{D2549A21-7730-4CAD-851B-8D918628A066}"/>
          </ac:spMkLst>
        </pc:spChg>
        <pc:graphicFrameChg chg="mod modGraphic">
          <ac:chgData name="BAGAYOKO, Aminata" userId="S::abagayoko@who.int::af29668f-d808-46bb-8875-ad77a3a2fd81" providerId="AD" clId="Web-{1680E6C8-862C-1393-D291-AE627D85193A}" dt="2024-09-11T09:11:11.443" v="55"/>
          <ac:graphicFrameMkLst>
            <pc:docMk/>
            <pc:sldMk cId="3395929020" sldId="2147479905"/>
            <ac:graphicFrameMk id="4" creationId="{FB42ED14-6EC2-478D-A926-8D393882D9E7}"/>
          </ac:graphicFrameMkLst>
        </pc:graphicFrameChg>
      </pc:sldChg>
    </pc:docChg>
  </pc:docChgLst>
  <pc:docChgLst>
    <pc:chgData name="BAGAYOKO, Aminata" userId="S::abagayoko@who.int::af29668f-d808-46bb-8875-ad77a3a2fd81" providerId="AD" clId="Web-{1ADAA754-E34E-8413-D349-7365530FCB73}"/>
    <pc:docChg chg="modSld">
      <pc:chgData name="BAGAYOKO, Aminata" userId="S::abagayoko@who.int::af29668f-d808-46bb-8875-ad77a3a2fd81" providerId="AD" clId="Web-{1ADAA754-E34E-8413-D349-7365530FCB73}" dt="2024-09-11T08:09:21.306" v="38" actId="1076"/>
      <pc:docMkLst>
        <pc:docMk/>
      </pc:docMkLst>
      <pc:sldChg chg="modSp">
        <pc:chgData name="BAGAYOKO, Aminata" userId="S::abagayoko@who.int::af29668f-d808-46bb-8875-ad77a3a2fd81" providerId="AD" clId="Web-{1ADAA754-E34E-8413-D349-7365530FCB73}" dt="2024-09-10T16:13:24.124" v="31" actId="20577"/>
        <pc:sldMkLst>
          <pc:docMk/>
          <pc:sldMk cId="2561708093" sldId="294"/>
        </pc:sldMkLst>
        <pc:spChg chg="mod">
          <ac:chgData name="BAGAYOKO, Aminata" userId="S::abagayoko@who.int::af29668f-d808-46bb-8875-ad77a3a2fd81" providerId="AD" clId="Web-{1ADAA754-E34E-8413-D349-7365530FCB73}" dt="2024-09-10T16:13:24.124" v="31" actId="20577"/>
          <ac:spMkLst>
            <pc:docMk/>
            <pc:sldMk cId="2561708093" sldId="294"/>
            <ac:spMk id="4" creationId="{BA430783-1E88-4081-8170-ECD171DEEF89}"/>
          </ac:spMkLst>
        </pc:spChg>
      </pc:sldChg>
      <pc:sldChg chg="addSp modSp">
        <pc:chgData name="BAGAYOKO, Aminata" userId="S::abagayoko@who.int::af29668f-d808-46bb-8875-ad77a3a2fd81" providerId="AD" clId="Web-{1ADAA754-E34E-8413-D349-7365530FCB73}" dt="2024-09-11T08:09:21.306" v="38" actId="1076"/>
        <pc:sldMkLst>
          <pc:docMk/>
          <pc:sldMk cId="3086809262" sldId="2147479239"/>
        </pc:sldMkLst>
        <pc:spChg chg="add mod">
          <ac:chgData name="BAGAYOKO, Aminata" userId="S::abagayoko@who.int::af29668f-d808-46bb-8875-ad77a3a2fd81" providerId="AD" clId="Web-{1ADAA754-E34E-8413-D349-7365530FCB73}" dt="2024-09-11T08:09:16.525" v="37" actId="1076"/>
          <ac:spMkLst>
            <pc:docMk/>
            <pc:sldMk cId="3086809262" sldId="2147479239"/>
            <ac:spMk id="3" creationId="{5AEB5218-9DA8-09C8-5B23-909EC4BCB359}"/>
          </ac:spMkLst>
        </pc:spChg>
        <pc:spChg chg="mod">
          <ac:chgData name="BAGAYOKO, Aminata" userId="S::abagayoko@who.int::af29668f-d808-46bb-8875-ad77a3a2fd81" providerId="AD" clId="Web-{1ADAA754-E34E-8413-D349-7365530FCB73}" dt="2024-09-11T08:09:21.306" v="38" actId="1076"/>
          <ac:spMkLst>
            <pc:docMk/>
            <pc:sldMk cId="3086809262" sldId="2147479239"/>
            <ac:spMk id="4" creationId="{4C071B59-F126-F10C-E518-B5DFACBEC111}"/>
          </ac:spMkLst>
        </pc:spChg>
      </pc:sldChg>
      <pc:sldChg chg="modSp">
        <pc:chgData name="BAGAYOKO, Aminata" userId="S::abagayoko@who.int::af29668f-d808-46bb-8875-ad77a3a2fd81" providerId="AD" clId="Web-{1ADAA754-E34E-8413-D349-7365530FCB73}" dt="2024-09-10T15:45:41.692" v="7" actId="1076"/>
        <pc:sldMkLst>
          <pc:docMk/>
          <pc:sldMk cId="990743743" sldId="2147483169"/>
        </pc:sldMkLst>
        <pc:spChg chg="mod">
          <ac:chgData name="BAGAYOKO, Aminata" userId="S::abagayoko@who.int::af29668f-d808-46bb-8875-ad77a3a2fd81" providerId="AD" clId="Web-{1ADAA754-E34E-8413-D349-7365530FCB73}" dt="2024-09-10T15:45:37.988" v="6" actId="20577"/>
          <ac:spMkLst>
            <pc:docMk/>
            <pc:sldMk cId="990743743" sldId="2147483169"/>
            <ac:spMk id="3" creationId="{105E06EF-6865-64A0-A927-CF270366D5A3}"/>
          </ac:spMkLst>
        </pc:spChg>
        <pc:spChg chg="mod">
          <ac:chgData name="BAGAYOKO, Aminata" userId="S::abagayoko@who.int::af29668f-d808-46bb-8875-ad77a3a2fd81" providerId="AD" clId="Web-{1ADAA754-E34E-8413-D349-7365530FCB73}" dt="2024-09-10T15:45:41.692" v="7" actId="1076"/>
          <ac:spMkLst>
            <pc:docMk/>
            <pc:sldMk cId="990743743" sldId="2147483169"/>
            <ac:spMk id="5" creationId="{94B4077B-2941-4155-981B-688AE74E0B31}"/>
          </ac:spMkLst>
        </pc:spChg>
      </pc:sldChg>
    </pc:docChg>
  </pc:docChgLst>
  <pc:docChgLst>
    <pc:chgData name="DOSHI, Reena Hemendra" userId="a000f633-1554-4c76-9779-d0878cdbdb83" providerId="ADAL" clId="{318FACE6-3410-45EB-A6D2-8371413625B2}"/>
    <pc:docChg chg="undo custSel modSld">
      <pc:chgData name="DOSHI, Reena Hemendra" userId="a000f633-1554-4c76-9779-d0878cdbdb83" providerId="ADAL" clId="{318FACE6-3410-45EB-A6D2-8371413625B2}" dt="2024-09-10T16:20:25.114" v="136" actId="1076"/>
      <pc:docMkLst>
        <pc:docMk/>
      </pc:docMkLst>
      <pc:sldChg chg="modSp mod modClrScheme chgLayout">
        <pc:chgData name="DOSHI, Reena Hemendra" userId="a000f633-1554-4c76-9779-d0878cdbdb83" providerId="ADAL" clId="{318FACE6-3410-45EB-A6D2-8371413625B2}" dt="2024-09-10T16:05:35.071" v="104" actId="14100"/>
        <pc:sldMkLst>
          <pc:docMk/>
          <pc:sldMk cId="733445312" sldId="258"/>
        </pc:sldMkLst>
        <pc:spChg chg="mod ord">
          <ac:chgData name="DOSHI, Reena Hemendra" userId="a000f633-1554-4c76-9779-d0878cdbdb83" providerId="ADAL" clId="{318FACE6-3410-45EB-A6D2-8371413625B2}" dt="2024-09-10T16:05:28.027" v="103" actId="700"/>
          <ac:spMkLst>
            <pc:docMk/>
            <pc:sldMk cId="733445312" sldId="258"/>
            <ac:spMk id="2" creationId="{82D7D685-7B9B-1C22-3D48-66E686FBB2AC}"/>
          </ac:spMkLst>
        </pc:spChg>
        <pc:spChg chg="mod ord">
          <ac:chgData name="DOSHI, Reena Hemendra" userId="a000f633-1554-4c76-9779-d0878cdbdb83" providerId="ADAL" clId="{318FACE6-3410-45EB-A6D2-8371413625B2}" dt="2024-09-10T16:05:35.071" v="104" actId="14100"/>
          <ac:spMkLst>
            <pc:docMk/>
            <pc:sldMk cId="733445312" sldId="258"/>
            <ac:spMk id="3" creationId="{DE025BE7-AAC7-0C82-CAA1-2CB2DEA4E078}"/>
          </ac:spMkLst>
        </pc:spChg>
      </pc:sldChg>
      <pc:sldChg chg="modSp mod modClrScheme chgLayout">
        <pc:chgData name="DOSHI, Reena Hemendra" userId="a000f633-1554-4c76-9779-d0878cdbdb83" providerId="ADAL" clId="{318FACE6-3410-45EB-A6D2-8371413625B2}" dt="2024-09-10T16:06:09.032" v="108" actId="14100"/>
        <pc:sldMkLst>
          <pc:docMk/>
          <pc:sldMk cId="1635205640" sldId="275"/>
        </pc:sldMkLst>
        <pc:spChg chg="mod ord">
          <ac:chgData name="DOSHI, Reena Hemendra" userId="a000f633-1554-4c76-9779-d0878cdbdb83" providerId="ADAL" clId="{318FACE6-3410-45EB-A6D2-8371413625B2}" dt="2024-09-10T16:05:45.158" v="105" actId="700"/>
          <ac:spMkLst>
            <pc:docMk/>
            <pc:sldMk cId="1635205640" sldId="275"/>
            <ac:spMk id="2" creationId="{82D7D685-7B9B-1C22-3D48-66E686FBB2AC}"/>
          </ac:spMkLst>
        </pc:spChg>
        <pc:spChg chg="mod ord">
          <ac:chgData name="DOSHI, Reena Hemendra" userId="a000f633-1554-4c76-9779-d0878cdbdb83" providerId="ADAL" clId="{318FACE6-3410-45EB-A6D2-8371413625B2}" dt="2024-09-10T16:05:59.686" v="107" actId="14100"/>
          <ac:spMkLst>
            <pc:docMk/>
            <pc:sldMk cId="1635205640" sldId="275"/>
            <ac:spMk id="3" creationId="{DE025BE7-AAC7-0C82-CAA1-2CB2DEA4E078}"/>
          </ac:spMkLst>
        </pc:spChg>
        <pc:grpChg chg="mod">
          <ac:chgData name="DOSHI, Reena Hemendra" userId="a000f633-1554-4c76-9779-d0878cdbdb83" providerId="ADAL" clId="{318FACE6-3410-45EB-A6D2-8371413625B2}" dt="2024-09-10T16:06:09.032" v="108" actId="14100"/>
          <ac:grpSpMkLst>
            <pc:docMk/>
            <pc:sldMk cId="1635205640" sldId="275"/>
            <ac:grpSpMk id="4" creationId="{9EC04EC7-0443-E4BF-37F0-FE32976E6BAC}"/>
          </ac:grpSpMkLst>
        </pc:grpChg>
      </pc:sldChg>
      <pc:sldChg chg="modSp mod chgLayout">
        <pc:chgData name="DOSHI, Reena Hemendra" userId="a000f633-1554-4c76-9779-d0878cdbdb83" providerId="ADAL" clId="{318FACE6-3410-45EB-A6D2-8371413625B2}" dt="2024-09-10T16:05:12.264" v="102" actId="1076"/>
        <pc:sldMkLst>
          <pc:docMk/>
          <pc:sldMk cId="2561708093" sldId="294"/>
        </pc:sldMkLst>
        <pc:spChg chg="mod ord">
          <ac:chgData name="DOSHI, Reena Hemendra" userId="a000f633-1554-4c76-9779-d0878cdbdb83" providerId="ADAL" clId="{318FACE6-3410-45EB-A6D2-8371413625B2}" dt="2024-09-10T16:04:36.755" v="99" actId="700"/>
          <ac:spMkLst>
            <pc:docMk/>
            <pc:sldMk cId="2561708093" sldId="294"/>
            <ac:spMk id="2" creationId="{BC1A9811-1D95-A301-D9C2-D0D06F2869FC}"/>
          </ac:spMkLst>
        </pc:spChg>
        <pc:spChg chg="mod ord">
          <ac:chgData name="DOSHI, Reena Hemendra" userId="a000f633-1554-4c76-9779-d0878cdbdb83" providerId="ADAL" clId="{318FACE6-3410-45EB-A6D2-8371413625B2}" dt="2024-09-10T16:04:41.196" v="100" actId="14100"/>
          <ac:spMkLst>
            <pc:docMk/>
            <pc:sldMk cId="2561708093" sldId="294"/>
            <ac:spMk id="4" creationId="{BA430783-1E88-4081-8170-ECD171DEEF89}"/>
          </ac:spMkLst>
        </pc:spChg>
        <pc:spChg chg="mod">
          <ac:chgData name="DOSHI, Reena Hemendra" userId="a000f633-1554-4c76-9779-d0878cdbdb83" providerId="ADAL" clId="{318FACE6-3410-45EB-A6D2-8371413625B2}" dt="2024-09-10T16:05:12.264" v="102" actId="1076"/>
          <ac:spMkLst>
            <pc:docMk/>
            <pc:sldMk cId="2561708093" sldId="294"/>
            <ac:spMk id="8" creationId="{7E75446C-B259-C30C-BF3F-4C6CB1EEEC0C}"/>
          </ac:spMkLst>
        </pc:spChg>
        <pc:picChg chg="mod">
          <ac:chgData name="DOSHI, Reena Hemendra" userId="a000f633-1554-4c76-9779-d0878cdbdb83" providerId="ADAL" clId="{318FACE6-3410-45EB-A6D2-8371413625B2}" dt="2024-09-10T16:05:08.220" v="101" actId="14100"/>
          <ac:picMkLst>
            <pc:docMk/>
            <pc:sldMk cId="2561708093" sldId="294"/>
            <ac:picMk id="5" creationId="{5EE021A7-925C-B33F-25DF-8CCF7D73FE31}"/>
          </ac:picMkLst>
        </pc:picChg>
      </pc:sldChg>
      <pc:sldChg chg="modSp mod chgLayout modNotes">
        <pc:chgData name="DOSHI, Reena Hemendra" userId="a000f633-1554-4c76-9779-d0878cdbdb83" providerId="ADAL" clId="{318FACE6-3410-45EB-A6D2-8371413625B2}" dt="2024-09-02T14:35:01.971" v="35" actId="700"/>
        <pc:sldMkLst>
          <pc:docMk/>
          <pc:sldMk cId="89279668" sldId="300"/>
        </pc:sldMkLst>
        <pc:spChg chg="mod ord">
          <ac:chgData name="DOSHI, Reena Hemendra" userId="a000f633-1554-4c76-9779-d0878cdbdb83" providerId="ADAL" clId="{318FACE6-3410-45EB-A6D2-8371413625B2}" dt="2024-09-02T14:35:01.971" v="35" actId="700"/>
          <ac:spMkLst>
            <pc:docMk/>
            <pc:sldMk cId="89279668" sldId="300"/>
            <ac:spMk id="3" creationId="{00000000-0000-0000-0000-000000000000}"/>
          </ac:spMkLst>
        </pc:spChg>
        <pc:spChg chg="mod ord">
          <ac:chgData name="DOSHI, Reena Hemendra" userId="a000f633-1554-4c76-9779-d0878cdbdb83" providerId="ADAL" clId="{318FACE6-3410-45EB-A6D2-8371413625B2}" dt="2024-09-02T14:35:01.971" v="35" actId="700"/>
          <ac:spMkLst>
            <pc:docMk/>
            <pc:sldMk cId="89279668" sldId="300"/>
            <ac:spMk id="16" creationId="{00000000-0000-0000-0000-000000000000}"/>
          </ac:spMkLst>
        </pc:spChg>
      </pc:sldChg>
      <pc:sldChg chg="addSp delSp modSp mod chgLayout modNotes">
        <pc:chgData name="DOSHI, Reena Hemendra" userId="a000f633-1554-4c76-9779-d0878cdbdb83" providerId="ADAL" clId="{318FACE6-3410-45EB-A6D2-8371413625B2}" dt="2024-09-02T14:35:54.393" v="51" actId="571"/>
        <pc:sldMkLst>
          <pc:docMk/>
          <pc:sldMk cId="3500017776" sldId="304"/>
        </pc:sldMkLst>
        <pc:spChg chg="add del mod ord">
          <ac:chgData name="DOSHI, Reena Hemendra" userId="a000f633-1554-4c76-9779-d0878cdbdb83" providerId="ADAL" clId="{318FACE6-3410-45EB-A6D2-8371413625B2}" dt="2024-09-02T14:35:30.697" v="44" actId="21"/>
          <ac:spMkLst>
            <pc:docMk/>
            <pc:sldMk cId="3500017776" sldId="304"/>
            <ac:spMk id="3" creationId="{00000000-0000-0000-0000-000000000000}"/>
          </ac:spMkLst>
        </pc:spChg>
        <pc:spChg chg="add del mod">
          <ac:chgData name="DOSHI, Reena Hemendra" userId="a000f633-1554-4c76-9779-d0878cdbdb83" providerId="ADAL" clId="{318FACE6-3410-45EB-A6D2-8371413625B2}" dt="2024-09-02T14:35:30.697" v="44" actId="21"/>
          <ac:spMkLst>
            <pc:docMk/>
            <pc:sldMk cId="3500017776" sldId="304"/>
            <ac:spMk id="4" creationId="{0B869B29-E7AA-6C0D-48A3-5658614A1055}"/>
          </ac:spMkLst>
        </pc:spChg>
        <pc:spChg chg="add del mod">
          <ac:chgData name="DOSHI, Reena Hemendra" userId="a000f633-1554-4c76-9779-d0878cdbdb83" providerId="ADAL" clId="{318FACE6-3410-45EB-A6D2-8371413625B2}" dt="2024-09-02T14:35:37.302" v="46" actId="21"/>
          <ac:spMkLst>
            <pc:docMk/>
            <pc:sldMk cId="3500017776" sldId="304"/>
            <ac:spMk id="6" creationId="{125C4064-9684-7FC3-98AA-84D559024F60}"/>
          </ac:spMkLst>
        </pc:spChg>
        <pc:spChg chg="add mod">
          <ac:chgData name="DOSHI, Reena Hemendra" userId="a000f633-1554-4c76-9779-d0878cdbdb83" providerId="ADAL" clId="{318FACE6-3410-45EB-A6D2-8371413625B2}" dt="2024-09-02T14:35:54.393" v="51" actId="571"/>
          <ac:spMkLst>
            <pc:docMk/>
            <pc:sldMk cId="3500017776" sldId="304"/>
            <ac:spMk id="8" creationId="{787F5716-951C-5C6D-877C-1A56829F90F7}"/>
          </ac:spMkLst>
        </pc:spChg>
        <pc:spChg chg="mod ord">
          <ac:chgData name="DOSHI, Reena Hemendra" userId="a000f633-1554-4c76-9779-d0878cdbdb83" providerId="ADAL" clId="{318FACE6-3410-45EB-A6D2-8371413625B2}" dt="2024-09-02T14:35:16.467" v="38" actId="700"/>
          <ac:spMkLst>
            <pc:docMk/>
            <pc:sldMk cId="3500017776" sldId="304"/>
            <ac:spMk id="16" creationId="{00000000-0000-0000-0000-000000000000}"/>
          </ac:spMkLst>
        </pc:spChg>
        <pc:picChg chg="add del">
          <ac:chgData name="DOSHI, Reena Hemendra" userId="a000f633-1554-4c76-9779-d0878cdbdb83" providerId="ADAL" clId="{318FACE6-3410-45EB-A6D2-8371413625B2}" dt="2024-09-02T14:35:30.697" v="44" actId="21"/>
          <ac:picMkLst>
            <pc:docMk/>
            <pc:sldMk cId="3500017776" sldId="304"/>
            <ac:picMk id="5" creationId="{6FE6628F-2D75-1B20-13FC-268640DE82A1}"/>
          </ac:picMkLst>
        </pc:picChg>
        <pc:picChg chg="add del mod">
          <ac:chgData name="DOSHI, Reena Hemendra" userId="a000f633-1554-4c76-9779-d0878cdbdb83" providerId="ADAL" clId="{318FACE6-3410-45EB-A6D2-8371413625B2}" dt="2024-09-02T14:35:37.302" v="46" actId="21"/>
          <ac:picMkLst>
            <pc:docMk/>
            <pc:sldMk cId="3500017776" sldId="304"/>
            <ac:picMk id="7" creationId="{A893F370-D836-8760-AF09-AE83F80E4041}"/>
          </ac:picMkLst>
        </pc:picChg>
        <pc:picChg chg="add mod">
          <ac:chgData name="DOSHI, Reena Hemendra" userId="a000f633-1554-4c76-9779-d0878cdbdb83" providerId="ADAL" clId="{318FACE6-3410-45EB-A6D2-8371413625B2}" dt="2024-09-02T14:35:54.393" v="51" actId="571"/>
          <ac:picMkLst>
            <pc:docMk/>
            <pc:sldMk cId="3500017776" sldId="304"/>
            <ac:picMk id="9" creationId="{02116D46-5766-AD35-4C52-8949A1EFCEB4}"/>
          </ac:picMkLst>
        </pc:picChg>
      </pc:sldChg>
      <pc:sldChg chg="modSp mod modClrScheme chgLayout">
        <pc:chgData name="DOSHI, Reena Hemendra" userId="a000f633-1554-4c76-9779-d0878cdbdb83" providerId="ADAL" clId="{318FACE6-3410-45EB-A6D2-8371413625B2}" dt="2024-09-10T16:18:14.103" v="132" actId="14100"/>
        <pc:sldMkLst>
          <pc:docMk/>
          <pc:sldMk cId="3487203900" sldId="306"/>
        </pc:sldMkLst>
        <pc:spChg chg="mod">
          <ac:chgData name="DOSHI, Reena Hemendra" userId="a000f633-1554-4c76-9779-d0878cdbdb83" providerId="ADAL" clId="{318FACE6-3410-45EB-A6D2-8371413625B2}" dt="2024-09-10T16:13:59.332" v="129" actId="1076"/>
          <ac:spMkLst>
            <pc:docMk/>
            <pc:sldMk cId="3487203900" sldId="306"/>
            <ac:spMk id="6" creationId="{C4AC5D1C-D733-C108-8CBF-AE0A358C4F55}"/>
          </ac:spMkLst>
        </pc:spChg>
        <pc:spChg chg="mod ord">
          <ac:chgData name="DOSHI, Reena Hemendra" userId="a000f633-1554-4c76-9779-d0878cdbdb83" providerId="ADAL" clId="{318FACE6-3410-45EB-A6D2-8371413625B2}" dt="2024-09-10T16:13:55.303" v="128" actId="14100"/>
          <ac:spMkLst>
            <pc:docMk/>
            <pc:sldMk cId="3487203900" sldId="306"/>
            <ac:spMk id="9" creationId="{042C31F5-AA0B-07CA-84F6-454A2827E0CE}"/>
          </ac:spMkLst>
        </pc:spChg>
        <pc:spChg chg="mod ord">
          <ac:chgData name="DOSHI, Reena Hemendra" userId="a000f633-1554-4c76-9779-d0878cdbdb83" providerId="ADAL" clId="{318FACE6-3410-45EB-A6D2-8371413625B2}" dt="2024-09-10T16:13:50.308" v="127" actId="700"/>
          <ac:spMkLst>
            <pc:docMk/>
            <pc:sldMk cId="3487203900" sldId="306"/>
            <ac:spMk id="11" creationId="{84CC8C42-A708-0DBC-6348-1F417476DC76}"/>
          </ac:spMkLst>
        </pc:spChg>
        <pc:picChg chg="mod">
          <ac:chgData name="DOSHI, Reena Hemendra" userId="a000f633-1554-4c76-9779-d0878cdbdb83" providerId="ADAL" clId="{318FACE6-3410-45EB-A6D2-8371413625B2}" dt="2024-09-10T16:18:14.103" v="132" actId="14100"/>
          <ac:picMkLst>
            <pc:docMk/>
            <pc:sldMk cId="3487203900" sldId="306"/>
            <ac:picMk id="4" creationId="{D822A431-A6CD-4718-AA7B-EFD0A145865C}"/>
          </ac:picMkLst>
        </pc:picChg>
      </pc:sldChg>
      <pc:sldChg chg="modSp mod chgLayout modNotes">
        <pc:chgData name="DOSHI, Reena Hemendra" userId="a000f633-1554-4c76-9779-d0878cdbdb83" providerId="ADAL" clId="{318FACE6-3410-45EB-A6D2-8371413625B2}" dt="2024-09-02T14:35:12.926" v="37" actId="14100"/>
        <pc:sldMkLst>
          <pc:docMk/>
          <pc:sldMk cId="1739929319" sldId="307"/>
        </pc:sldMkLst>
        <pc:spChg chg="mod ord">
          <ac:chgData name="DOSHI, Reena Hemendra" userId="a000f633-1554-4c76-9779-d0878cdbdb83" providerId="ADAL" clId="{318FACE6-3410-45EB-A6D2-8371413625B2}" dt="2024-09-02T14:35:12.926" v="37" actId="14100"/>
          <ac:spMkLst>
            <pc:docMk/>
            <pc:sldMk cId="1739929319" sldId="307"/>
            <ac:spMk id="3" creationId="{00000000-0000-0000-0000-000000000000}"/>
          </ac:spMkLst>
        </pc:spChg>
        <pc:spChg chg="mod ord">
          <ac:chgData name="DOSHI, Reena Hemendra" userId="a000f633-1554-4c76-9779-d0878cdbdb83" providerId="ADAL" clId="{318FACE6-3410-45EB-A6D2-8371413625B2}" dt="2024-09-02T14:35:08.515" v="36" actId="700"/>
          <ac:spMkLst>
            <pc:docMk/>
            <pc:sldMk cId="1739929319" sldId="307"/>
            <ac:spMk id="16" creationId="{00000000-0000-0000-0000-000000000000}"/>
          </ac:spMkLst>
        </pc:spChg>
      </pc:sldChg>
      <pc:sldChg chg="modSp mod modClrScheme chgLayout">
        <pc:chgData name="DOSHI, Reena Hemendra" userId="a000f633-1554-4c76-9779-d0878cdbdb83" providerId="ADAL" clId="{318FACE6-3410-45EB-A6D2-8371413625B2}" dt="2024-09-10T16:10:20.406" v="126" actId="1076"/>
        <pc:sldMkLst>
          <pc:docMk/>
          <pc:sldMk cId="942245116" sldId="308"/>
        </pc:sldMkLst>
        <pc:spChg chg="mod ord">
          <ac:chgData name="DOSHI, Reena Hemendra" userId="a000f633-1554-4c76-9779-d0878cdbdb83" providerId="ADAL" clId="{318FACE6-3410-45EB-A6D2-8371413625B2}" dt="2024-09-10T16:10:18.888" v="125" actId="14100"/>
          <ac:spMkLst>
            <pc:docMk/>
            <pc:sldMk cId="942245116" sldId="308"/>
            <ac:spMk id="3" creationId="{9E43FCA7-EA9F-1D8D-7091-0DA4AC8E08F2}"/>
          </ac:spMkLst>
        </pc:spChg>
        <pc:spChg chg="mod ord">
          <ac:chgData name="DOSHI, Reena Hemendra" userId="a000f633-1554-4c76-9779-d0878cdbdb83" providerId="ADAL" clId="{318FACE6-3410-45EB-A6D2-8371413625B2}" dt="2024-09-10T16:06:55.178" v="109" actId="700"/>
          <ac:spMkLst>
            <pc:docMk/>
            <pc:sldMk cId="942245116" sldId="308"/>
            <ac:spMk id="5" creationId="{0A2096B5-D93B-DBD5-7E76-F03F5F456413}"/>
          </ac:spMkLst>
        </pc:spChg>
        <pc:picChg chg="mod">
          <ac:chgData name="DOSHI, Reena Hemendra" userId="a000f633-1554-4c76-9779-d0878cdbdb83" providerId="ADAL" clId="{318FACE6-3410-45EB-A6D2-8371413625B2}" dt="2024-09-10T16:10:20.406" v="126" actId="1076"/>
          <ac:picMkLst>
            <pc:docMk/>
            <pc:sldMk cId="942245116" sldId="308"/>
            <ac:picMk id="4" creationId="{FE2DC659-78AB-AB26-D72B-78FE83D0811A}"/>
          </ac:picMkLst>
        </pc:picChg>
      </pc:sldChg>
      <pc:sldChg chg="addSp modSp mod chgLayout">
        <pc:chgData name="DOSHI, Reena Hemendra" userId="a000f633-1554-4c76-9779-d0878cdbdb83" providerId="ADAL" clId="{318FACE6-3410-45EB-A6D2-8371413625B2}" dt="2024-09-02T14:34:46.592" v="34" actId="571"/>
        <pc:sldMkLst>
          <pc:docMk/>
          <pc:sldMk cId="1168008875" sldId="2147479212"/>
        </pc:sldMkLst>
        <pc:spChg chg="mod ord">
          <ac:chgData name="DOSHI, Reena Hemendra" userId="a000f633-1554-4c76-9779-d0878cdbdb83" providerId="ADAL" clId="{318FACE6-3410-45EB-A6D2-8371413625B2}" dt="2024-09-02T14:33:58.545" v="28" actId="700"/>
          <ac:spMkLst>
            <pc:docMk/>
            <pc:sldMk cId="1168008875" sldId="2147479212"/>
            <ac:spMk id="2" creationId="{BA3FD7A7-8D94-3259-E229-AB23047BDC70}"/>
          </ac:spMkLst>
        </pc:spChg>
        <pc:spChg chg="add mod">
          <ac:chgData name="DOSHI, Reena Hemendra" userId="a000f633-1554-4c76-9779-d0878cdbdb83" providerId="ADAL" clId="{318FACE6-3410-45EB-A6D2-8371413625B2}" dt="2024-09-02T14:33:43.718" v="12" actId="571"/>
          <ac:spMkLst>
            <pc:docMk/>
            <pc:sldMk cId="1168008875" sldId="2147479212"/>
            <ac:spMk id="3" creationId="{B34F57D0-9504-2505-1C2C-179CDF149ACD}"/>
          </ac:spMkLst>
        </pc:spChg>
        <pc:spChg chg="mod ord">
          <ac:chgData name="DOSHI, Reena Hemendra" userId="a000f633-1554-4c76-9779-d0878cdbdb83" providerId="ADAL" clId="{318FACE6-3410-45EB-A6D2-8371413625B2}" dt="2024-09-02T14:33:58.545" v="28" actId="700"/>
          <ac:spMkLst>
            <pc:docMk/>
            <pc:sldMk cId="1168008875" sldId="2147479212"/>
            <ac:spMk id="4" creationId="{B66F6E39-FF73-4813-0A69-7069FC8B26B6}"/>
          </ac:spMkLst>
        </pc:spChg>
        <pc:spChg chg="add mod">
          <ac:chgData name="DOSHI, Reena Hemendra" userId="a000f633-1554-4c76-9779-d0878cdbdb83" providerId="ADAL" clId="{318FACE6-3410-45EB-A6D2-8371413625B2}" dt="2024-09-02T14:33:43.718" v="12" actId="571"/>
          <ac:spMkLst>
            <pc:docMk/>
            <pc:sldMk cId="1168008875" sldId="2147479212"/>
            <ac:spMk id="5" creationId="{EFE6BA4A-5D63-603B-5069-A4BDABDFBB2F}"/>
          </ac:spMkLst>
        </pc:spChg>
        <pc:spChg chg="add mod">
          <ac:chgData name="DOSHI, Reena Hemendra" userId="a000f633-1554-4c76-9779-d0878cdbdb83" providerId="ADAL" clId="{318FACE6-3410-45EB-A6D2-8371413625B2}" dt="2024-09-02T14:33:47.643" v="19" actId="571"/>
          <ac:spMkLst>
            <pc:docMk/>
            <pc:sldMk cId="1168008875" sldId="2147479212"/>
            <ac:spMk id="6" creationId="{950C3AC5-F98B-2369-333F-EB4CDAEC45DF}"/>
          </ac:spMkLst>
        </pc:spChg>
        <pc:spChg chg="add mod">
          <ac:chgData name="DOSHI, Reena Hemendra" userId="a000f633-1554-4c76-9779-d0878cdbdb83" providerId="ADAL" clId="{318FACE6-3410-45EB-A6D2-8371413625B2}" dt="2024-09-02T14:33:47.643" v="19" actId="571"/>
          <ac:spMkLst>
            <pc:docMk/>
            <pc:sldMk cId="1168008875" sldId="2147479212"/>
            <ac:spMk id="7" creationId="{D38B98E8-BBD9-8A7A-3FC1-9646F761AA3A}"/>
          </ac:spMkLst>
        </pc:spChg>
        <pc:spChg chg="add mod">
          <ac:chgData name="DOSHI, Reena Hemendra" userId="a000f633-1554-4c76-9779-d0878cdbdb83" providerId="ADAL" clId="{318FACE6-3410-45EB-A6D2-8371413625B2}" dt="2024-09-02T14:33:52.672" v="21" actId="571"/>
          <ac:spMkLst>
            <pc:docMk/>
            <pc:sldMk cId="1168008875" sldId="2147479212"/>
            <ac:spMk id="8" creationId="{C984EBDA-374F-16E5-01E6-499D32F05BA3}"/>
          </ac:spMkLst>
        </pc:spChg>
        <pc:spChg chg="add mod">
          <ac:chgData name="DOSHI, Reena Hemendra" userId="a000f633-1554-4c76-9779-d0878cdbdb83" providerId="ADAL" clId="{318FACE6-3410-45EB-A6D2-8371413625B2}" dt="2024-09-02T14:33:52.672" v="21" actId="571"/>
          <ac:spMkLst>
            <pc:docMk/>
            <pc:sldMk cId="1168008875" sldId="2147479212"/>
            <ac:spMk id="9" creationId="{CEC69024-6BD7-B889-242C-8EF7856F9F18}"/>
          </ac:spMkLst>
        </pc:spChg>
        <pc:spChg chg="add mod">
          <ac:chgData name="DOSHI, Reena Hemendra" userId="a000f633-1554-4c76-9779-d0878cdbdb83" providerId="ADAL" clId="{318FACE6-3410-45EB-A6D2-8371413625B2}" dt="2024-09-02T14:34:32.544" v="30" actId="571"/>
          <ac:spMkLst>
            <pc:docMk/>
            <pc:sldMk cId="1168008875" sldId="2147479212"/>
            <ac:spMk id="10" creationId="{5AAD785C-7984-0C59-61DD-BA3685D66170}"/>
          </ac:spMkLst>
        </pc:spChg>
        <pc:spChg chg="add mod">
          <ac:chgData name="DOSHI, Reena Hemendra" userId="a000f633-1554-4c76-9779-d0878cdbdb83" providerId="ADAL" clId="{318FACE6-3410-45EB-A6D2-8371413625B2}" dt="2024-09-02T14:34:32.544" v="30" actId="571"/>
          <ac:spMkLst>
            <pc:docMk/>
            <pc:sldMk cId="1168008875" sldId="2147479212"/>
            <ac:spMk id="11" creationId="{F9BD398E-E97F-F582-1EFD-4EE0425B6957}"/>
          </ac:spMkLst>
        </pc:spChg>
        <pc:spChg chg="add mod">
          <ac:chgData name="DOSHI, Reena Hemendra" userId="a000f633-1554-4c76-9779-d0878cdbdb83" providerId="ADAL" clId="{318FACE6-3410-45EB-A6D2-8371413625B2}" dt="2024-09-02T14:34:38.105" v="32" actId="571"/>
          <ac:spMkLst>
            <pc:docMk/>
            <pc:sldMk cId="1168008875" sldId="2147479212"/>
            <ac:spMk id="12" creationId="{50DF18FD-EC56-0B62-C5E3-BF33A3696223}"/>
          </ac:spMkLst>
        </pc:spChg>
        <pc:spChg chg="add mod">
          <ac:chgData name="DOSHI, Reena Hemendra" userId="a000f633-1554-4c76-9779-d0878cdbdb83" providerId="ADAL" clId="{318FACE6-3410-45EB-A6D2-8371413625B2}" dt="2024-09-02T14:34:38.105" v="32" actId="571"/>
          <ac:spMkLst>
            <pc:docMk/>
            <pc:sldMk cId="1168008875" sldId="2147479212"/>
            <ac:spMk id="13" creationId="{3C170F49-7B18-03F1-D77D-577BD698FE25}"/>
          </ac:spMkLst>
        </pc:spChg>
        <pc:spChg chg="add mod">
          <ac:chgData name="DOSHI, Reena Hemendra" userId="a000f633-1554-4c76-9779-d0878cdbdb83" providerId="ADAL" clId="{318FACE6-3410-45EB-A6D2-8371413625B2}" dt="2024-09-02T14:34:46.592" v="34" actId="571"/>
          <ac:spMkLst>
            <pc:docMk/>
            <pc:sldMk cId="1168008875" sldId="2147479212"/>
            <ac:spMk id="14" creationId="{6A3F0D7F-0507-5829-5C30-619CC359D5A4}"/>
          </ac:spMkLst>
        </pc:spChg>
        <pc:spChg chg="add mod">
          <ac:chgData name="DOSHI, Reena Hemendra" userId="a000f633-1554-4c76-9779-d0878cdbdb83" providerId="ADAL" clId="{318FACE6-3410-45EB-A6D2-8371413625B2}" dt="2024-09-02T14:34:46.592" v="34" actId="571"/>
          <ac:spMkLst>
            <pc:docMk/>
            <pc:sldMk cId="1168008875" sldId="2147479212"/>
            <ac:spMk id="15" creationId="{B15BA037-0784-CE18-EAF1-9758CEFD15A5}"/>
          </ac:spMkLst>
        </pc:spChg>
      </pc:sldChg>
      <pc:sldChg chg="modSp mod chgLayout">
        <pc:chgData name="DOSHI, Reena Hemendra" userId="a000f633-1554-4c76-9779-d0878cdbdb83" providerId="ADAL" clId="{318FACE6-3410-45EB-A6D2-8371413625B2}" dt="2024-09-10T16:19:47.660" v="133" actId="700"/>
        <pc:sldMkLst>
          <pc:docMk/>
          <pc:sldMk cId="2296526247" sldId="2147479220"/>
        </pc:sldMkLst>
        <pc:spChg chg="mod ord">
          <ac:chgData name="DOSHI, Reena Hemendra" userId="a000f633-1554-4c76-9779-d0878cdbdb83" providerId="ADAL" clId="{318FACE6-3410-45EB-A6D2-8371413625B2}" dt="2024-09-10T16:19:47.660" v="133" actId="700"/>
          <ac:spMkLst>
            <pc:docMk/>
            <pc:sldMk cId="2296526247" sldId="2147479220"/>
            <ac:spMk id="2" creationId="{A93E94AC-6E6F-7520-FC08-57D3EB7DAA56}"/>
          </ac:spMkLst>
        </pc:spChg>
        <pc:spChg chg="mod ord">
          <ac:chgData name="DOSHI, Reena Hemendra" userId="a000f633-1554-4c76-9779-d0878cdbdb83" providerId="ADAL" clId="{318FACE6-3410-45EB-A6D2-8371413625B2}" dt="2024-09-10T16:19:47.660" v="133" actId="700"/>
          <ac:spMkLst>
            <pc:docMk/>
            <pc:sldMk cId="2296526247" sldId="2147479220"/>
            <ac:spMk id="3" creationId="{8DF6D4AB-CC87-EFDD-67EE-E896DFC02609}"/>
          </ac:spMkLst>
        </pc:spChg>
      </pc:sldChg>
      <pc:sldChg chg="modSp mod chgLayout">
        <pc:chgData name="DOSHI, Reena Hemendra" userId="a000f633-1554-4c76-9779-d0878cdbdb83" providerId="ADAL" clId="{318FACE6-3410-45EB-A6D2-8371413625B2}" dt="2024-09-10T16:20:25.114" v="136" actId="1076"/>
        <pc:sldMkLst>
          <pc:docMk/>
          <pc:sldMk cId="2545257404" sldId="2147483125"/>
        </pc:sldMkLst>
        <pc:spChg chg="mod ord">
          <ac:chgData name="DOSHI, Reena Hemendra" userId="a000f633-1554-4c76-9779-d0878cdbdb83" providerId="ADAL" clId="{318FACE6-3410-45EB-A6D2-8371413625B2}" dt="2024-09-10T16:20:16.963" v="135" actId="700"/>
          <ac:spMkLst>
            <pc:docMk/>
            <pc:sldMk cId="2545257404" sldId="2147483125"/>
            <ac:spMk id="2" creationId="{95751DA7-208D-4856-8AD2-6F71E5767EE5}"/>
          </ac:spMkLst>
        </pc:spChg>
        <pc:graphicFrameChg chg="mod ord modGraphic">
          <ac:chgData name="DOSHI, Reena Hemendra" userId="a000f633-1554-4c76-9779-d0878cdbdb83" providerId="ADAL" clId="{318FACE6-3410-45EB-A6D2-8371413625B2}" dt="2024-09-10T16:20:25.114" v="136" actId="1076"/>
          <ac:graphicFrameMkLst>
            <pc:docMk/>
            <pc:sldMk cId="2545257404" sldId="2147483125"/>
            <ac:graphicFrameMk id="7" creationId="{2689612C-9282-432D-9465-7EA8412FEF42}"/>
          </ac:graphicFrameMkLst>
        </pc:graphicFrameChg>
      </pc:sldChg>
      <pc:sldChg chg="modSp mod">
        <pc:chgData name="DOSHI, Reena Hemendra" userId="a000f633-1554-4c76-9779-d0878cdbdb83" providerId="ADAL" clId="{318FACE6-3410-45EB-A6D2-8371413625B2}" dt="2024-09-02T14:33:55.938" v="23" actId="27636"/>
        <pc:sldMkLst>
          <pc:docMk/>
          <pc:sldMk cId="3706631423" sldId="2147483134"/>
        </pc:sldMkLst>
        <pc:spChg chg="mod">
          <ac:chgData name="DOSHI, Reena Hemendra" userId="a000f633-1554-4c76-9779-d0878cdbdb83" providerId="ADAL" clId="{318FACE6-3410-45EB-A6D2-8371413625B2}" dt="2024-09-02T14:33:55.938" v="23" actId="27636"/>
          <ac:spMkLst>
            <pc:docMk/>
            <pc:sldMk cId="3706631423" sldId="2147483134"/>
            <ac:spMk id="2" creationId="{FD290311-A220-4CC0-AF89-D64A6AE1356C}"/>
          </ac:spMkLst>
        </pc:spChg>
      </pc:sldChg>
      <pc:sldChg chg="modSp mod modClrScheme chgLayout">
        <pc:chgData name="DOSHI, Reena Hemendra" userId="a000f633-1554-4c76-9779-d0878cdbdb83" providerId="ADAL" clId="{318FACE6-3410-45EB-A6D2-8371413625B2}" dt="2024-09-02T14:32:21.475" v="3" actId="1076"/>
        <pc:sldMkLst>
          <pc:docMk/>
          <pc:sldMk cId="990743743" sldId="2147483169"/>
        </pc:sldMkLst>
        <pc:spChg chg="mod ord">
          <ac:chgData name="DOSHI, Reena Hemendra" userId="a000f633-1554-4c76-9779-d0878cdbdb83" providerId="ADAL" clId="{318FACE6-3410-45EB-A6D2-8371413625B2}" dt="2024-09-02T14:32:06.954" v="0" actId="700"/>
          <ac:spMkLst>
            <pc:docMk/>
            <pc:sldMk cId="990743743" sldId="2147483169"/>
            <ac:spMk id="2" creationId="{9FA045B2-F517-F508-1957-EAB9DFB439E4}"/>
          </ac:spMkLst>
        </pc:spChg>
        <pc:spChg chg="mod ord">
          <ac:chgData name="DOSHI, Reena Hemendra" userId="a000f633-1554-4c76-9779-d0878cdbdb83" providerId="ADAL" clId="{318FACE6-3410-45EB-A6D2-8371413625B2}" dt="2024-09-02T14:32:11.196" v="1" actId="14100"/>
          <ac:spMkLst>
            <pc:docMk/>
            <pc:sldMk cId="990743743" sldId="2147483169"/>
            <ac:spMk id="3" creationId="{105E06EF-6865-64A0-A927-CF270366D5A3}"/>
          </ac:spMkLst>
        </pc:spChg>
        <pc:spChg chg="mod">
          <ac:chgData name="DOSHI, Reena Hemendra" userId="a000f633-1554-4c76-9779-d0878cdbdb83" providerId="ADAL" clId="{318FACE6-3410-45EB-A6D2-8371413625B2}" dt="2024-09-02T14:32:21.475" v="3" actId="1076"/>
          <ac:spMkLst>
            <pc:docMk/>
            <pc:sldMk cId="990743743" sldId="2147483169"/>
            <ac:spMk id="5" creationId="{94B4077B-2941-4155-981B-688AE74E0B31}"/>
          </ac:spMkLst>
        </pc:spChg>
      </pc:sldChg>
      <pc:sldChg chg="modSp mod">
        <pc:chgData name="DOSHI, Reena Hemendra" userId="a000f633-1554-4c76-9779-d0878cdbdb83" providerId="ADAL" clId="{318FACE6-3410-45EB-A6D2-8371413625B2}" dt="2024-09-10T16:01:49.975" v="97" actId="14100"/>
        <pc:sldMkLst>
          <pc:docMk/>
          <pc:sldMk cId="3428271215" sldId="2147483171"/>
        </pc:sldMkLst>
        <pc:spChg chg="mod">
          <ac:chgData name="DOSHI, Reena Hemendra" userId="a000f633-1554-4c76-9779-d0878cdbdb83" providerId="ADAL" clId="{318FACE6-3410-45EB-A6D2-8371413625B2}" dt="2024-09-10T15:57:34.990" v="81" actId="1076"/>
          <ac:spMkLst>
            <pc:docMk/>
            <pc:sldMk cId="3428271215" sldId="2147483171"/>
            <ac:spMk id="4" creationId="{970CD680-8442-2D99-B3FD-35C014C0EF21}"/>
          </ac:spMkLst>
        </pc:spChg>
        <pc:spChg chg="mod">
          <ac:chgData name="DOSHI, Reena Hemendra" userId="a000f633-1554-4c76-9779-d0878cdbdb83" providerId="ADAL" clId="{318FACE6-3410-45EB-A6D2-8371413625B2}" dt="2024-09-10T16:01:14.478" v="92" actId="1076"/>
          <ac:spMkLst>
            <pc:docMk/>
            <pc:sldMk cId="3428271215" sldId="2147483171"/>
            <ac:spMk id="609" creationId="{EE776727-D7AE-E645-8F55-D37EEE86C2E0}"/>
          </ac:spMkLst>
        </pc:spChg>
        <pc:spChg chg="mod">
          <ac:chgData name="DOSHI, Reena Hemendra" userId="a000f633-1554-4c76-9779-d0878cdbdb83" providerId="ADAL" clId="{318FACE6-3410-45EB-A6D2-8371413625B2}" dt="2024-09-10T16:01:14.478" v="92" actId="1076"/>
          <ac:spMkLst>
            <pc:docMk/>
            <pc:sldMk cId="3428271215" sldId="2147483171"/>
            <ac:spMk id="614" creationId="{690E691F-E8BA-0C23-AAC5-C8307C866BB3}"/>
          </ac:spMkLst>
        </pc:spChg>
        <pc:spChg chg="mod">
          <ac:chgData name="DOSHI, Reena Hemendra" userId="a000f633-1554-4c76-9779-d0878cdbdb83" providerId="ADAL" clId="{318FACE6-3410-45EB-A6D2-8371413625B2}" dt="2024-09-10T16:01:14.478" v="92" actId="1076"/>
          <ac:spMkLst>
            <pc:docMk/>
            <pc:sldMk cId="3428271215" sldId="2147483171"/>
            <ac:spMk id="615" creationId="{609FAE94-9DB1-FFCB-FB2F-8644482C24E8}"/>
          </ac:spMkLst>
        </pc:spChg>
        <pc:spChg chg="mod">
          <ac:chgData name="DOSHI, Reena Hemendra" userId="a000f633-1554-4c76-9779-d0878cdbdb83" providerId="ADAL" clId="{318FACE6-3410-45EB-A6D2-8371413625B2}" dt="2024-09-10T16:01:14.478" v="92" actId="1076"/>
          <ac:spMkLst>
            <pc:docMk/>
            <pc:sldMk cId="3428271215" sldId="2147483171"/>
            <ac:spMk id="616" creationId="{36E304BE-4622-CAE1-2FF6-775F4526ED1D}"/>
          </ac:spMkLst>
        </pc:spChg>
        <pc:spChg chg="mod">
          <ac:chgData name="DOSHI, Reena Hemendra" userId="a000f633-1554-4c76-9779-d0878cdbdb83" providerId="ADAL" clId="{318FACE6-3410-45EB-A6D2-8371413625B2}" dt="2024-09-10T16:01:14.478" v="92" actId="1076"/>
          <ac:spMkLst>
            <pc:docMk/>
            <pc:sldMk cId="3428271215" sldId="2147483171"/>
            <ac:spMk id="617" creationId="{F38B7FE2-E3E5-9816-9E7D-7F4DE5D32D8A}"/>
          </ac:spMkLst>
        </pc:spChg>
        <pc:spChg chg="mod">
          <ac:chgData name="DOSHI, Reena Hemendra" userId="a000f633-1554-4c76-9779-d0878cdbdb83" providerId="ADAL" clId="{318FACE6-3410-45EB-A6D2-8371413625B2}" dt="2024-09-10T16:01:14.478" v="92" actId="1076"/>
          <ac:spMkLst>
            <pc:docMk/>
            <pc:sldMk cId="3428271215" sldId="2147483171"/>
            <ac:spMk id="618" creationId="{5A0B16E0-E548-CBCC-D146-75DDA3472496}"/>
          </ac:spMkLst>
        </pc:spChg>
        <pc:spChg chg="mod">
          <ac:chgData name="DOSHI, Reena Hemendra" userId="a000f633-1554-4c76-9779-d0878cdbdb83" providerId="ADAL" clId="{318FACE6-3410-45EB-A6D2-8371413625B2}" dt="2024-09-10T16:01:14.478" v="92" actId="1076"/>
          <ac:spMkLst>
            <pc:docMk/>
            <pc:sldMk cId="3428271215" sldId="2147483171"/>
            <ac:spMk id="619" creationId="{6AC61AB9-D70C-B3FC-FB21-FA9339EDC79D}"/>
          </ac:spMkLst>
        </pc:spChg>
        <pc:spChg chg="mod">
          <ac:chgData name="DOSHI, Reena Hemendra" userId="a000f633-1554-4c76-9779-d0878cdbdb83" providerId="ADAL" clId="{318FACE6-3410-45EB-A6D2-8371413625B2}" dt="2024-09-10T16:01:14.478" v="92" actId="1076"/>
          <ac:spMkLst>
            <pc:docMk/>
            <pc:sldMk cId="3428271215" sldId="2147483171"/>
            <ac:spMk id="620" creationId="{8887BB06-7A19-7E5A-98B1-58045328DFE4}"/>
          </ac:spMkLst>
        </pc:spChg>
        <pc:spChg chg="mod">
          <ac:chgData name="DOSHI, Reena Hemendra" userId="a000f633-1554-4c76-9779-d0878cdbdb83" providerId="ADAL" clId="{318FACE6-3410-45EB-A6D2-8371413625B2}" dt="2024-09-10T16:01:14.478" v="92" actId="1076"/>
          <ac:spMkLst>
            <pc:docMk/>
            <pc:sldMk cId="3428271215" sldId="2147483171"/>
            <ac:spMk id="621" creationId="{350AEFE4-F379-F98B-80E1-3B7CF622D401}"/>
          </ac:spMkLst>
        </pc:spChg>
        <pc:spChg chg="mod">
          <ac:chgData name="DOSHI, Reena Hemendra" userId="a000f633-1554-4c76-9779-d0878cdbdb83" providerId="ADAL" clId="{318FACE6-3410-45EB-A6D2-8371413625B2}" dt="2024-09-10T16:01:14.478" v="92" actId="1076"/>
          <ac:spMkLst>
            <pc:docMk/>
            <pc:sldMk cId="3428271215" sldId="2147483171"/>
            <ac:spMk id="622" creationId="{D5A5673C-5B2D-AE4D-4DD9-782F7FF1CB7C}"/>
          </ac:spMkLst>
        </pc:spChg>
        <pc:spChg chg="mod">
          <ac:chgData name="DOSHI, Reena Hemendra" userId="a000f633-1554-4c76-9779-d0878cdbdb83" providerId="ADAL" clId="{318FACE6-3410-45EB-A6D2-8371413625B2}" dt="2024-09-10T16:01:14.478" v="92" actId="1076"/>
          <ac:spMkLst>
            <pc:docMk/>
            <pc:sldMk cId="3428271215" sldId="2147483171"/>
            <ac:spMk id="623" creationId="{2E11531F-CDA9-284C-F98A-BBBB6365E892}"/>
          </ac:spMkLst>
        </pc:spChg>
        <pc:spChg chg="mod">
          <ac:chgData name="DOSHI, Reena Hemendra" userId="a000f633-1554-4c76-9779-d0878cdbdb83" providerId="ADAL" clId="{318FACE6-3410-45EB-A6D2-8371413625B2}" dt="2024-09-10T16:01:14.478" v="92" actId="1076"/>
          <ac:spMkLst>
            <pc:docMk/>
            <pc:sldMk cId="3428271215" sldId="2147483171"/>
            <ac:spMk id="624" creationId="{F81C3D5B-46B6-1990-A614-78DD20078A6A}"/>
          </ac:spMkLst>
        </pc:spChg>
        <pc:spChg chg="mod">
          <ac:chgData name="DOSHI, Reena Hemendra" userId="a000f633-1554-4c76-9779-d0878cdbdb83" providerId="ADAL" clId="{318FACE6-3410-45EB-A6D2-8371413625B2}" dt="2024-09-10T16:01:14.478" v="92" actId="1076"/>
          <ac:spMkLst>
            <pc:docMk/>
            <pc:sldMk cId="3428271215" sldId="2147483171"/>
            <ac:spMk id="625" creationId="{6ECE0E46-E649-6627-7FB5-8C763FD0AD64}"/>
          </ac:spMkLst>
        </pc:spChg>
        <pc:spChg chg="mod">
          <ac:chgData name="DOSHI, Reena Hemendra" userId="a000f633-1554-4c76-9779-d0878cdbdb83" providerId="ADAL" clId="{318FACE6-3410-45EB-A6D2-8371413625B2}" dt="2024-09-10T16:01:14.478" v="92" actId="1076"/>
          <ac:spMkLst>
            <pc:docMk/>
            <pc:sldMk cId="3428271215" sldId="2147483171"/>
            <ac:spMk id="626" creationId="{FC1472F8-19DB-FA22-E31F-4FD344F0A63D}"/>
          </ac:spMkLst>
        </pc:spChg>
        <pc:spChg chg="mod">
          <ac:chgData name="DOSHI, Reena Hemendra" userId="a000f633-1554-4c76-9779-d0878cdbdb83" providerId="ADAL" clId="{318FACE6-3410-45EB-A6D2-8371413625B2}" dt="2024-09-10T16:01:14.478" v="92" actId="1076"/>
          <ac:spMkLst>
            <pc:docMk/>
            <pc:sldMk cId="3428271215" sldId="2147483171"/>
            <ac:spMk id="627" creationId="{3E2A1237-C031-08C1-76B9-4EF111095127}"/>
          </ac:spMkLst>
        </pc:spChg>
        <pc:spChg chg="mod">
          <ac:chgData name="DOSHI, Reena Hemendra" userId="a000f633-1554-4c76-9779-d0878cdbdb83" providerId="ADAL" clId="{318FACE6-3410-45EB-A6D2-8371413625B2}" dt="2024-09-10T16:01:14.478" v="92" actId="1076"/>
          <ac:spMkLst>
            <pc:docMk/>
            <pc:sldMk cId="3428271215" sldId="2147483171"/>
            <ac:spMk id="628" creationId="{F39218E4-C30F-6E7B-E032-C836AFAD0731}"/>
          </ac:spMkLst>
        </pc:spChg>
        <pc:spChg chg="mod">
          <ac:chgData name="DOSHI, Reena Hemendra" userId="a000f633-1554-4c76-9779-d0878cdbdb83" providerId="ADAL" clId="{318FACE6-3410-45EB-A6D2-8371413625B2}" dt="2024-09-10T16:01:14.478" v="92" actId="1076"/>
          <ac:spMkLst>
            <pc:docMk/>
            <pc:sldMk cId="3428271215" sldId="2147483171"/>
            <ac:spMk id="629" creationId="{5AC1A1B1-6371-34AF-4DC1-D350D9DE522C}"/>
          </ac:spMkLst>
        </pc:spChg>
        <pc:spChg chg="mod">
          <ac:chgData name="DOSHI, Reena Hemendra" userId="a000f633-1554-4c76-9779-d0878cdbdb83" providerId="ADAL" clId="{318FACE6-3410-45EB-A6D2-8371413625B2}" dt="2024-09-10T16:01:14.478" v="92" actId="1076"/>
          <ac:spMkLst>
            <pc:docMk/>
            <pc:sldMk cId="3428271215" sldId="2147483171"/>
            <ac:spMk id="630" creationId="{68524E3D-EB0E-09CE-3051-14AB78FEF5C4}"/>
          </ac:spMkLst>
        </pc:spChg>
        <pc:spChg chg="mod">
          <ac:chgData name="DOSHI, Reena Hemendra" userId="a000f633-1554-4c76-9779-d0878cdbdb83" providerId="ADAL" clId="{318FACE6-3410-45EB-A6D2-8371413625B2}" dt="2024-09-10T16:01:14.478" v="92" actId="1076"/>
          <ac:spMkLst>
            <pc:docMk/>
            <pc:sldMk cId="3428271215" sldId="2147483171"/>
            <ac:spMk id="631" creationId="{2F4EFE0B-1B65-6F96-EDD9-35C3267833B7}"/>
          </ac:spMkLst>
        </pc:spChg>
        <pc:spChg chg="mod">
          <ac:chgData name="DOSHI, Reena Hemendra" userId="a000f633-1554-4c76-9779-d0878cdbdb83" providerId="ADAL" clId="{318FACE6-3410-45EB-A6D2-8371413625B2}" dt="2024-09-10T16:01:14.478" v="92" actId="1076"/>
          <ac:spMkLst>
            <pc:docMk/>
            <pc:sldMk cId="3428271215" sldId="2147483171"/>
            <ac:spMk id="632" creationId="{37F5FFE2-0BC5-8F4C-DB23-19FE19BA6FA3}"/>
          </ac:spMkLst>
        </pc:spChg>
        <pc:spChg chg="mod">
          <ac:chgData name="DOSHI, Reena Hemendra" userId="a000f633-1554-4c76-9779-d0878cdbdb83" providerId="ADAL" clId="{318FACE6-3410-45EB-A6D2-8371413625B2}" dt="2024-09-10T16:01:14.478" v="92" actId="1076"/>
          <ac:spMkLst>
            <pc:docMk/>
            <pc:sldMk cId="3428271215" sldId="2147483171"/>
            <ac:spMk id="633" creationId="{6015008E-3CFF-E1AA-8982-FAAFCA884776}"/>
          </ac:spMkLst>
        </pc:spChg>
        <pc:spChg chg="mod">
          <ac:chgData name="DOSHI, Reena Hemendra" userId="a000f633-1554-4c76-9779-d0878cdbdb83" providerId="ADAL" clId="{318FACE6-3410-45EB-A6D2-8371413625B2}" dt="2024-09-10T16:01:14.478" v="92" actId="1076"/>
          <ac:spMkLst>
            <pc:docMk/>
            <pc:sldMk cId="3428271215" sldId="2147483171"/>
            <ac:spMk id="634" creationId="{839A58A9-6F61-9818-E6C4-D424E911A835}"/>
          </ac:spMkLst>
        </pc:spChg>
        <pc:spChg chg="mod">
          <ac:chgData name="DOSHI, Reena Hemendra" userId="a000f633-1554-4c76-9779-d0878cdbdb83" providerId="ADAL" clId="{318FACE6-3410-45EB-A6D2-8371413625B2}" dt="2024-09-10T16:01:14.478" v="92" actId="1076"/>
          <ac:spMkLst>
            <pc:docMk/>
            <pc:sldMk cId="3428271215" sldId="2147483171"/>
            <ac:spMk id="635" creationId="{B1025714-C328-8228-D9E1-6D0F5DFFEA9F}"/>
          </ac:spMkLst>
        </pc:spChg>
        <pc:spChg chg="mod">
          <ac:chgData name="DOSHI, Reena Hemendra" userId="a000f633-1554-4c76-9779-d0878cdbdb83" providerId="ADAL" clId="{318FACE6-3410-45EB-A6D2-8371413625B2}" dt="2024-09-10T16:01:14.478" v="92" actId="1076"/>
          <ac:spMkLst>
            <pc:docMk/>
            <pc:sldMk cId="3428271215" sldId="2147483171"/>
            <ac:spMk id="636" creationId="{01103AA2-E72C-4080-C10E-066FC466BBE4}"/>
          </ac:spMkLst>
        </pc:spChg>
        <pc:spChg chg="mod">
          <ac:chgData name="DOSHI, Reena Hemendra" userId="a000f633-1554-4c76-9779-d0878cdbdb83" providerId="ADAL" clId="{318FACE6-3410-45EB-A6D2-8371413625B2}" dt="2024-09-10T16:01:14.478" v="92" actId="1076"/>
          <ac:spMkLst>
            <pc:docMk/>
            <pc:sldMk cId="3428271215" sldId="2147483171"/>
            <ac:spMk id="637" creationId="{5563AB7D-DB45-F58A-9A8C-455901D9BA70}"/>
          </ac:spMkLst>
        </pc:spChg>
        <pc:spChg chg="mod">
          <ac:chgData name="DOSHI, Reena Hemendra" userId="a000f633-1554-4c76-9779-d0878cdbdb83" providerId="ADAL" clId="{318FACE6-3410-45EB-A6D2-8371413625B2}" dt="2024-09-10T16:01:14.478" v="92" actId="1076"/>
          <ac:spMkLst>
            <pc:docMk/>
            <pc:sldMk cId="3428271215" sldId="2147483171"/>
            <ac:spMk id="638" creationId="{809E3E4E-240D-18BE-A316-852A70145C88}"/>
          </ac:spMkLst>
        </pc:spChg>
        <pc:spChg chg="mod">
          <ac:chgData name="DOSHI, Reena Hemendra" userId="a000f633-1554-4c76-9779-d0878cdbdb83" providerId="ADAL" clId="{318FACE6-3410-45EB-A6D2-8371413625B2}" dt="2024-09-10T16:01:14.478" v="92" actId="1076"/>
          <ac:spMkLst>
            <pc:docMk/>
            <pc:sldMk cId="3428271215" sldId="2147483171"/>
            <ac:spMk id="639" creationId="{77AA37F6-5BF1-4F82-EDC5-92AAD96E5C57}"/>
          </ac:spMkLst>
        </pc:spChg>
        <pc:spChg chg="mod">
          <ac:chgData name="DOSHI, Reena Hemendra" userId="a000f633-1554-4c76-9779-d0878cdbdb83" providerId="ADAL" clId="{318FACE6-3410-45EB-A6D2-8371413625B2}" dt="2024-09-10T16:01:14.478" v="92" actId="1076"/>
          <ac:spMkLst>
            <pc:docMk/>
            <pc:sldMk cId="3428271215" sldId="2147483171"/>
            <ac:spMk id="640" creationId="{4A48D6C2-2766-E205-B580-CD409AEB17B0}"/>
          </ac:spMkLst>
        </pc:spChg>
        <pc:spChg chg="mod">
          <ac:chgData name="DOSHI, Reena Hemendra" userId="a000f633-1554-4c76-9779-d0878cdbdb83" providerId="ADAL" clId="{318FACE6-3410-45EB-A6D2-8371413625B2}" dt="2024-09-10T16:01:14.478" v="92" actId="1076"/>
          <ac:spMkLst>
            <pc:docMk/>
            <pc:sldMk cId="3428271215" sldId="2147483171"/>
            <ac:spMk id="641" creationId="{4D4152B6-2C3D-E585-498C-66C3B7BDC46C}"/>
          </ac:spMkLst>
        </pc:spChg>
        <pc:spChg chg="mod">
          <ac:chgData name="DOSHI, Reena Hemendra" userId="a000f633-1554-4c76-9779-d0878cdbdb83" providerId="ADAL" clId="{318FACE6-3410-45EB-A6D2-8371413625B2}" dt="2024-09-10T16:01:14.478" v="92" actId="1076"/>
          <ac:spMkLst>
            <pc:docMk/>
            <pc:sldMk cId="3428271215" sldId="2147483171"/>
            <ac:spMk id="642" creationId="{294CECF8-8852-6FD2-666C-F04E5DDF5146}"/>
          </ac:spMkLst>
        </pc:spChg>
        <pc:spChg chg="mod">
          <ac:chgData name="DOSHI, Reena Hemendra" userId="a000f633-1554-4c76-9779-d0878cdbdb83" providerId="ADAL" clId="{318FACE6-3410-45EB-A6D2-8371413625B2}" dt="2024-09-10T16:01:14.478" v="92" actId="1076"/>
          <ac:spMkLst>
            <pc:docMk/>
            <pc:sldMk cId="3428271215" sldId="2147483171"/>
            <ac:spMk id="643" creationId="{63686D87-46FA-EE78-9C99-F6C0861F15AB}"/>
          </ac:spMkLst>
        </pc:spChg>
        <pc:spChg chg="mod">
          <ac:chgData name="DOSHI, Reena Hemendra" userId="a000f633-1554-4c76-9779-d0878cdbdb83" providerId="ADAL" clId="{318FACE6-3410-45EB-A6D2-8371413625B2}" dt="2024-09-10T16:01:14.478" v="92" actId="1076"/>
          <ac:spMkLst>
            <pc:docMk/>
            <pc:sldMk cId="3428271215" sldId="2147483171"/>
            <ac:spMk id="644" creationId="{94775A97-9007-A77D-4B0D-51A6AEE13E80}"/>
          </ac:spMkLst>
        </pc:spChg>
        <pc:spChg chg="mod">
          <ac:chgData name="DOSHI, Reena Hemendra" userId="a000f633-1554-4c76-9779-d0878cdbdb83" providerId="ADAL" clId="{318FACE6-3410-45EB-A6D2-8371413625B2}" dt="2024-09-10T16:01:14.478" v="92" actId="1076"/>
          <ac:spMkLst>
            <pc:docMk/>
            <pc:sldMk cId="3428271215" sldId="2147483171"/>
            <ac:spMk id="645" creationId="{0D31E651-B713-DC2E-1E27-691773349263}"/>
          </ac:spMkLst>
        </pc:spChg>
        <pc:spChg chg="mod">
          <ac:chgData name="DOSHI, Reena Hemendra" userId="a000f633-1554-4c76-9779-d0878cdbdb83" providerId="ADAL" clId="{318FACE6-3410-45EB-A6D2-8371413625B2}" dt="2024-09-10T16:01:14.478" v="92" actId="1076"/>
          <ac:spMkLst>
            <pc:docMk/>
            <pc:sldMk cId="3428271215" sldId="2147483171"/>
            <ac:spMk id="646" creationId="{8A3E73B6-46BB-579B-4B3A-52A3B537F472}"/>
          </ac:spMkLst>
        </pc:spChg>
        <pc:spChg chg="mod">
          <ac:chgData name="DOSHI, Reena Hemendra" userId="a000f633-1554-4c76-9779-d0878cdbdb83" providerId="ADAL" clId="{318FACE6-3410-45EB-A6D2-8371413625B2}" dt="2024-09-10T16:01:14.478" v="92" actId="1076"/>
          <ac:spMkLst>
            <pc:docMk/>
            <pc:sldMk cId="3428271215" sldId="2147483171"/>
            <ac:spMk id="647" creationId="{26A09C7E-BF5C-CEB0-6F34-BD3F00CC5922}"/>
          </ac:spMkLst>
        </pc:spChg>
        <pc:spChg chg="mod">
          <ac:chgData name="DOSHI, Reena Hemendra" userId="a000f633-1554-4c76-9779-d0878cdbdb83" providerId="ADAL" clId="{318FACE6-3410-45EB-A6D2-8371413625B2}" dt="2024-09-10T16:01:14.478" v="92" actId="1076"/>
          <ac:spMkLst>
            <pc:docMk/>
            <pc:sldMk cId="3428271215" sldId="2147483171"/>
            <ac:spMk id="648" creationId="{54EEDA5B-8ED2-703D-7556-31686303606D}"/>
          </ac:spMkLst>
        </pc:spChg>
        <pc:spChg chg="mod">
          <ac:chgData name="DOSHI, Reena Hemendra" userId="a000f633-1554-4c76-9779-d0878cdbdb83" providerId="ADAL" clId="{318FACE6-3410-45EB-A6D2-8371413625B2}" dt="2024-09-10T16:01:14.478" v="92" actId="1076"/>
          <ac:spMkLst>
            <pc:docMk/>
            <pc:sldMk cId="3428271215" sldId="2147483171"/>
            <ac:spMk id="649" creationId="{BBD5484D-D90A-6CCB-36F8-E2E78482388A}"/>
          </ac:spMkLst>
        </pc:spChg>
        <pc:spChg chg="mod">
          <ac:chgData name="DOSHI, Reena Hemendra" userId="a000f633-1554-4c76-9779-d0878cdbdb83" providerId="ADAL" clId="{318FACE6-3410-45EB-A6D2-8371413625B2}" dt="2024-09-10T16:01:14.478" v="92" actId="1076"/>
          <ac:spMkLst>
            <pc:docMk/>
            <pc:sldMk cId="3428271215" sldId="2147483171"/>
            <ac:spMk id="650" creationId="{311DC624-F193-64FE-C149-ECF85AD4B544}"/>
          </ac:spMkLst>
        </pc:spChg>
        <pc:spChg chg="mod">
          <ac:chgData name="DOSHI, Reena Hemendra" userId="a000f633-1554-4c76-9779-d0878cdbdb83" providerId="ADAL" clId="{318FACE6-3410-45EB-A6D2-8371413625B2}" dt="2024-09-10T16:01:14.478" v="92" actId="1076"/>
          <ac:spMkLst>
            <pc:docMk/>
            <pc:sldMk cId="3428271215" sldId="2147483171"/>
            <ac:spMk id="651" creationId="{CD9011BD-A8F4-FFB5-B666-981019482AE8}"/>
          </ac:spMkLst>
        </pc:spChg>
        <pc:spChg chg="mod">
          <ac:chgData name="DOSHI, Reena Hemendra" userId="a000f633-1554-4c76-9779-d0878cdbdb83" providerId="ADAL" clId="{318FACE6-3410-45EB-A6D2-8371413625B2}" dt="2024-09-10T16:01:14.478" v="92" actId="1076"/>
          <ac:spMkLst>
            <pc:docMk/>
            <pc:sldMk cId="3428271215" sldId="2147483171"/>
            <ac:spMk id="652" creationId="{4EB6C136-5DCC-165D-FBA8-7AA7D97058DD}"/>
          </ac:spMkLst>
        </pc:spChg>
        <pc:spChg chg="mod">
          <ac:chgData name="DOSHI, Reena Hemendra" userId="a000f633-1554-4c76-9779-d0878cdbdb83" providerId="ADAL" clId="{318FACE6-3410-45EB-A6D2-8371413625B2}" dt="2024-09-10T16:01:14.478" v="92" actId="1076"/>
          <ac:spMkLst>
            <pc:docMk/>
            <pc:sldMk cId="3428271215" sldId="2147483171"/>
            <ac:spMk id="653" creationId="{331F3B74-272C-5EF1-908E-141AF01B9CBF}"/>
          </ac:spMkLst>
        </pc:spChg>
        <pc:spChg chg="mod">
          <ac:chgData name="DOSHI, Reena Hemendra" userId="a000f633-1554-4c76-9779-d0878cdbdb83" providerId="ADAL" clId="{318FACE6-3410-45EB-A6D2-8371413625B2}" dt="2024-09-10T16:01:14.478" v="92" actId="1076"/>
          <ac:spMkLst>
            <pc:docMk/>
            <pc:sldMk cId="3428271215" sldId="2147483171"/>
            <ac:spMk id="654" creationId="{BE5BF9C5-922D-F918-D4FD-FA45BD1029AB}"/>
          </ac:spMkLst>
        </pc:spChg>
        <pc:spChg chg="mod">
          <ac:chgData name="DOSHI, Reena Hemendra" userId="a000f633-1554-4c76-9779-d0878cdbdb83" providerId="ADAL" clId="{318FACE6-3410-45EB-A6D2-8371413625B2}" dt="2024-09-10T16:01:14.478" v="92" actId="1076"/>
          <ac:spMkLst>
            <pc:docMk/>
            <pc:sldMk cId="3428271215" sldId="2147483171"/>
            <ac:spMk id="655" creationId="{468188AF-9F1F-312A-2DD3-B27A5E52D70D}"/>
          </ac:spMkLst>
        </pc:spChg>
        <pc:spChg chg="mod">
          <ac:chgData name="DOSHI, Reena Hemendra" userId="a000f633-1554-4c76-9779-d0878cdbdb83" providerId="ADAL" clId="{318FACE6-3410-45EB-A6D2-8371413625B2}" dt="2024-09-10T16:01:14.478" v="92" actId="1076"/>
          <ac:spMkLst>
            <pc:docMk/>
            <pc:sldMk cId="3428271215" sldId="2147483171"/>
            <ac:spMk id="656" creationId="{60D2A3B1-0247-BA5E-E15E-86379DA80391}"/>
          </ac:spMkLst>
        </pc:spChg>
        <pc:spChg chg="mod">
          <ac:chgData name="DOSHI, Reena Hemendra" userId="a000f633-1554-4c76-9779-d0878cdbdb83" providerId="ADAL" clId="{318FACE6-3410-45EB-A6D2-8371413625B2}" dt="2024-09-10T16:01:14.478" v="92" actId="1076"/>
          <ac:spMkLst>
            <pc:docMk/>
            <pc:sldMk cId="3428271215" sldId="2147483171"/>
            <ac:spMk id="657" creationId="{B7024E2F-C303-903A-EB32-9DE902D30694}"/>
          </ac:spMkLst>
        </pc:spChg>
        <pc:spChg chg="mod">
          <ac:chgData name="DOSHI, Reena Hemendra" userId="a000f633-1554-4c76-9779-d0878cdbdb83" providerId="ADAL" clId="{318FACE6-3410-45EB-A6D2-8371413625B2}" dt="2024-09-10T16:01:14.478" v="92" actId="1076"/>
          <ac:spMkLst>
            <pc:docMk/>
            <pc:sldMk cId="3428271215" sldId="2147483171"/>
            <ac:spMk id="658" creationId="{6230398E-73AE-8AB6-C8C2-65F2180D8ACD}"/>
          </ac:spMkLst>
        </pc:spChg>
        <pc:spChg chg="mod">
          <ac:chgData name="DOSHI, Reena Hemendra" userId="a000f633-1554-4c76-9779-d0878cdbdb83" providerId="ADAL" clId="{318FACE6-3410-45EB-A6D2-8371413625B2}" dt="2024-09-10T16:01:14.478" v="92" actId="1076"/>
          <ac:spMkLst>
            <pc:docMk/>
            <pc:sldMk cId="3428271215" sldId="2147483171"/>
            <ac:spMk id="659" creationId="{C7069004-33A8-8A3A-B2B1-D732498BC683}"/>
          </ac:spMkLst>
        </pc:spChg>
        <pc:spChg chg="mod">
          <ac:chgData name="DOSHI, Reena Hemendra" userId="a000f633-1554-4c76-9779-d0878cdbdb83" providerId="ADAL" clId="{318FACE6-3410-45EB-A6D2-8371413625B2}" dt="2024-09-10T16:01:14.478" v="92" actId="1076"/>
          <ac:spMkLst>
            <pc:docMk/>
            <pc:sldMk cId="3428271215" sldId="2147483171"/>
            <ac:spMk id="660" creationId="{8BE76071-CBBE-8C33-2C84-4526E39B37CE}"/>
          </ac:spMkLst>
        </pc:spChg>
        <pc:spChg chg="mod">
          <ac:chgData name="DOSHI, Reena Hemendra" userId="a000f633-1554-4c76-9779-d0878cdbdb83" providerId="ADAL" clId="{318FACE6-3410-45EB-A6D2-8371413625B2}" dt="2024-09-10T16:01:14.478" v="92" actId="1076"/>
          <ac:spMkLst>
            <pc:docMk/>
            <pc:sldMk cId="3428271215" sldId="2147483171"/>
            <ac:spMk id="661" creationId="{8BC54214-A961-9922-731C-F91B9005161B}"/>
          </ac:spMkLst>
        </pc:spChg>
        <pc:spChg chg="mod">
          <ac:chgData name="DOSHI, Reena Hemendra" userId="a000f633-1554-4c76-9779-d0878cdbdb83" providerId="ADAL" clId="{318FACE6-3410-45EB-A6D2-8371413625B2}" dt="2024-09-10T16:01:14.478" v="92" actId="1076"/>
          <ac:spMkLst>
            <pc:docMk/>
            <pc:sldMk cId="3428271215" sldId="2147483171"/>
            <ac:spMk id="662" creationId="{AE1D05FB-40B2-0363-60C6-17BEDA26DA57}"/>
          </ac:spMkLst>
        </pc:spChg>
        <pc:spChg chg="mod">
          <ac:chgData name="DOSHI, Reena Hemendra" userId="a000f633-1554-4c76-9779-d0878cdbdb83" providerId="ADAL" clId="{318FACE6-3410-45EB-A6D2-8371413625B2}" dt="2024-09-10T16:01:14.478" v="92" actId="1076"/>
          <ac:spMkLst>
            <pc:docMk/>
            <pc:sldMk cId="3428271215" sldId="2147483171"/>
            <ac:spMk id="663" creationId="{A77B0C0F-4EA8-0566-F5E7-B0A8642E209E}"/>
          </ac:spMkLst>
        </pc:spChg>
        <pc:spChg chg="mod">
          <ac:chgData name="DOSHI, Reena Hemendra" userId="a000f633-1554-4c76-9779-d0878cdbdb83" providerId="ADAL" clId="{318FACE6-3410-45EB-A6D2-8371413625B2}" dt="2024-09-10T16:01:14.478" v="92" actId="1076"/>
          <ac:spMkLst>
            <pc:docMk/>
            <pc:sldMk cId="3428271215" sldId="2147483171"/>
            <ac:spMk id="664" creationId="{692A4D22-CCC7-1280-08B3-4FBE6CB5D2F8}"/>
          </ac:spMkLst>
        </pc:spChg>
        <pc:spChg chg="mod">
          <ac:chgData name="DOSHI, Reena Hemendra" userId="a000f633-1554-4c76-9779-d0878cdbdb83" providerId="ADAL" clId="{318FACE6-3410-45EB-A6D2-8371413625B2}" dt="2024-09-10T16:01:14.478" v="92" actId="1076"/>
          <ac:spMkLst>
            <pc:docMk/>
            <pc:sldMk cId="3428271215" sldId="2147483171"/>
            <ac:spMk id="665" creationId="{62FB2E5E-A6F4-607A-607C-9D73C0F7B0D6}"/>
          </ac:spMkLst>
        </pc:spChg>
        <pc:spChg chg="mod">
          <ac:chgData name="DOSHI, Reena Hemendra" userId="a000f633-1554-4c76-9779-d0878cdbdb83" providerId="ADAL" clId="{318FACE6-3410-45EB-A6D2-8371413625B2}" dt="2024-09-10T16:01:14.478" v="92" actId="1076"/>
          <ac:spMkLst>
            <pc:docMk/>
            <pc:sldMk cId="3428271215" sldId="2147483171"/>
            <ac:spMk id="666" creationId="{AE2228C6-785B-7AC7-95E0-B62640AF2D06}"/>
          </ac:spMkLst>
        </pc:spChg>
        <pc:spChg chg="mod">
          <ac:chgData name="DOSHI, Reena Hemendra" userId="a000f633-1554-4c76-9779-d0878cdbdb83" providerId="ADAL" clId="{318FACE6-3410-45EB-A6D2-8371413625B2}" dt="2024-09-10T16:01:14.478" v="92" actId="1076"/>
          <ac:spMkLst>
            <pc:docMk/>
            <pc:sldMk cId="3428271215" sldId="2147483171"/>
            <ac:spMk id="667" creationId="{395C8166-A3D0-733D-5563-005CB7B813B4}"/>
          </ac:spMkLst>
        </pc:spChg>
        <pc:spChg chg="mod">
          <ac:chgData name="DOSHI, Reena Hemendra" userId="a000f633-1554-4c76-9779-d0878cdbdb83" providerId="ADAL" clId="{318FACE6-3410-45EB-A6D2-8371413625B2}" dt="2024-09-10T16:01:14.478" v="92" actId="1076"/>
          <ac:spMkLst>
            <pc:docMk/>
            <pc:sldMk cId="3428271215" sldId="2147483171"/>
            <ac:spMk id="668" creationId="{23EC130A-72F6-EFF3-F7D5-29B7BCEF7C2A}"/>
          </ac:spMkLst>
        </pc:spChg>
        <pc:spChg chg="mod">
          <ac:chgData name="DOSHI, Reena Hemendra" userId="a000f633-1554-4c76-9779-d0878cdbdb83" providerId="ADAL" clId="{318FACE6-3410-45EB-A6D2-8371413625B2}" dt="2024-09-10T16:01:14.478" v="92" actId="1076"/>
          <ac:spMkLst>
            <pc:docMk/>
            <pc:sldMk cId="3428271215" sldId="2147483171"/>
            <ac:spMk id="669" creationId="{F81D542B-B70E-4860-3701-D06E8F6460CA}"/>
          </ac:spMkLst>
        </pc:spChg>
        <pc:spChg chg="mod">
          <ac:chgData name="DOSHI, Reena Hemendra" userId="a000f633-1554-4c76-9779-d0878cdbdb83" providerId="ADAL" clId="{318FACE6-3410-45EB-A6D2-8371413625B2}" dt="2024-09-10T16:01:14.478" v="92" actId="1076"/>
          <ac:spMkLst>
            <pc:docMk/>
            <pc:sldMk cId="3428271215" sldId="2147483171"/>
            <ac:spMk id="670" creationId="{51532BA4-2E8A-BEC4-828B-4566441D6501}"/>
          </ac:spMkLst>
        </pc:spChg>
        <pc:spChg chg="mod">
          <ac:chgData name="DOSHI, Reena Hemendra" userId="a000f633-1554-4c76-9779-d0878cdbdb83" providerId="ADAL" clId="{318FACE6-3410-45EB-A6D2-8371413625B2}" dt="2024-09-10T16:01:14.478" v="92" actId="1076"/>
          <ac:spMkLst>
            <pc:docMk/>
            <pc:sldMk cId="3428271215" sldId="2147483171"/>
            <ac:spMk id="671" creationId="{3FF8B0E1-24B6-0B1F-644A-28A67BEFA7DC}"/>
          </ac:spMkLst>
        </pc:spChg>
        <pc:spChg chg="mod">
          <ac:chgData name="DOSHI, Reena Hemendra" userId="a000f633-1554-4c76-9779-d0878cdbdb83" providerId="ADAL" clId="{318FACE6-3410-45EB-A6D2-8371413625B2}" dt="2024-09-10T16:01:14.478" v="92" actId="1076"/>
          <ac:spMkLst>
            <pc:docMk/>
            <pc:sldMk cId="3428271215" sldId="2147483171"/>
            <ac:spMk id="672" creationId="{E3B3291E-9B64-5F5B-587C-E2A5B4D20D05}"/>
          </ac:spMkLst>
        </pc:spChg>
        <pc:spChg chg="mod">
          <ac:chgData name="DOSHI, Reena Hemendra" userId="a000f633-1554-4c76-9779-d0878cdbdb83" providerId="ADAL" clId="{318FACE6-3410-45EB-A6D2-8371413625B2}" dt="2024-09-10T16:01:14.478" v="92" actId="1076"/>
          <ac:spMkLst>
            <pc:docMk/>
            <pc:sldMk cId="3428271215" sldId="2147483171"/>
            <ac:spMk id="673" creationId="{83D84B81-4EB2-4D66-F270-D6D8852C8916}"/>
          </ac:spMkLst>
        </pc:spChg>
        <pc:spChg chg="mod">
          <ac:chgData name="DOSHI, Reena Hemendra" userId="a000f633-1554-4c76-9779-d0878cdbdb83" providerId="ADAL" clId="{318FACE6-3410-45EB-A6D2-8371413625B2}" dt="2024-09-10T16:01:14.478" v="92" actId="1076"/>
          <ac:spMkLst>
            <pc:docMk/>
            <pc:sldMk cId="3428271215" sldId="2147483171"/>
            <ac:spMk id="674" creationId="{F97ABF89-6A46-7328-6EA2-CD7241924D65}"/>
          </ac:spMkLst>
        </pc:spChg>
        <pc:spChg chg="mod">
          <ac:chgData name="DOSHI, Reena Hemendra" userId="a000f633-1554-4c76-9779-d0878cdbdb83" providerId="ADAL" clId="{318FACE6-3410-45EB-A6D2-8371413625B2}" dt="2024-09-10T16:01:14.478" v="92" actId="1076"/>
          <ac:spMkLst>
            <pc:docMk/>
            <pc:sldMk cId="3428271215" sldId="2147483171"/>
            <ac:spMk id="675" creationId="{78FC9663-A75C-40DE-84DE-9D78EACB3B5D}"/>
          </ac:spMkLst>
        </pc:spChg>
        <pc:spChg chg="mod">
          <ac:chgData name="DOSHI, Reena Hemendra" userId="a000f633-1554-4c76-9779-d0878cdbdb83" providerId="ADAL" clId="{318FACE6-3410-45EB-A6D2-8371413625B2}" dt="2024-09-10T16:01:14.478" v="92" actId="1076"/>
          <ac:spMkLst>
            <pc:docMk/>
            <pc:sldMk cId="3428271215" sldId="2147483171"/>
            <ac:spMk id="676" creationId="{1F986D88-A216-0FE6-B862-31ADFF08A137}"/>
          </ac:spMkLst>
        </pc:spChg>
        <pc:spChg chg="mod">
          <ac:chgData name="DOSHI, Reena Hemendra" userId="a000f633-1554-4c76-9779-d0878cdbdb83" providerId="ADAL" clId="{318FACE6-3410-45EB-A6D2-8371413625B2}" dt="2024-09-10T16:01:14.478" v="92" actId="1076"/>
          <ac:spMkLst>
            <pc:docMk/>
            <pc:sldMk cId="3428271215" sldId="2147483171"/>
            <ac:spMk id="677" creationId="{3A753CFD-67B2-CCA3-6347-BE3BA4269E47}"/>
          </ac:spMkLst>
        </pc:spChg>
        <pc:spChg chg="mod">
          <ac:chgData name="DOSHI, Reena Hemendra" userId="a000f633-1554-4c76-9779-d0878cdbdb83" providerId="ADAL" clId="{318FACE6-3410-45EB-A6D2-8371413625B2}" dt="2024-09-10T16:01:14.478" v="92" actId="1076"/>
          <ac:spMkLst>
            <pc:docMk/>
            <pc:sldMk cId="3428271215" sldId="2147483171"/>
            <ac:spMk id="678" creationId="{A2F4B289-C82A-3323-DB07-6277EDC73E5A}"/>
          </ac:spMkLst>
        </pc:spChg>
        <pc:spChg chg="mod">
          <ac:chgData name="DOSHI, Reena Hemendra" userId="a000f633-1554-4c76-9779-d0878cdbdb83" providerId="ADAL" clId="{318FACE6-3410-45EB-A6D2-8371413625B2}" dt="2024-09-10T16:01:14.478" v="92" actId="1076"/>
          <ac:spMkLst>
            <pc:docMk/>
            <pc:sldMk cId="3428271215" sldId="2147483171"/>
            <ac:spMk id="679" creationId="{62C263DC-6A19-8440-0E5C-72543B0BBF94}"/>
          </ac:spMkLst>
        </pc:spChg>
        <pc:spChg chg="mod">
          <ac:chgData name="DOSHI, Reena Hemendra" userId="a000f633-1554-4c76-9779-d0878cdbdb83" providerId="ADAL" clId="{318FACE6-3410-45EB-A6D2-8371413625B2}" dt="2024-09-10T16:01:14.478" v="92" actId="1076"/>
          <ac:spMkLst>
            <pc:docMk/>
            <pc:sldMk cId="3428271215" sldId="2147483171"/>
            <ac:spMk id="680" creationId="{EFA97BCB-6E8E-40C3-5BCE-06E0E45F452A}"/>
          </ac:spMkLst>
        </pc:spChg>
        <pc:spChg chg="mod">
          <ac:chgData name="DOSHI, Reena Hemendra" userId="a000f633-1554-4c76-9779-d0878cdbdb83" providerId="ADAL" clId="{318FACE6-3410-45EB-A6D2-8371413625B2}" dt="2024-09-10T16:01:14.478" v="92" actId="1076"/>
          <ac:spMkLst>
            <pc:docMk/>
            <pc:sldMk cId="3428271215" sldId="2147483171"/>
            <ac:spMk id="681" creationId="{8C041B8B-AA8D-C2DA-75B2-E878A2D2B14A}"/>
          </ac:spMkLst>
        </pc:spChg>
        <pc:spChg chg="mod">
          <ac:chgData name="DOSHI, Reena Hemendra" userId="a000f633-1554-4c76-9779-d0878cdbdb83" providerId="ADAL" clId="{318FACE6-3410-45EB-A6D2-8371413625B2}" dt="2024-09-10T16:01:14.478" v="92" actId="1076"/>
          <ac:spMkLst>
            <pc:docMk/>
            <pc:sldMk cId="3428271215" sldId="2147483171"/>
            <ac:spMk id="682" creationId="{22D61B44-2986-7009-9CD1-8A7A6816CF3B}"/>
          </ac:spMkLst>
        </pc:spChg>
        <pc:spChg chg="mod">
          <ac:chgData name="DOSHI, Reena Hemendra" userId="a000f633-1554-4c76-9779-d0878cdbdb83" providerId="ADAL" clId="{318FACE6-3410-45EB-A6D2-8371413625B2}" dt="2024-09-10T16:01:14.478" v="92" actId="1076"/>
          <ac:spMkLst>
            <pc:docMk/>
            <pc:sldMk cId="3428271215" sldId="2147483171"/>
            <ac:spMk id="683" creationId="{832D57DD-952B-3F34-2857-7EDD4FFC24A7}"/>
          </ac:spMkLst>
        </pc:spChg>
        <pc:spChg chg="mod">
          <ac:chgData name="DOSHI, Reena Hemendra" userId="a000f633-1554-4c76-9779-d0878cdbdb83" providerId="ADAL" clId="{318FACE6-3410-45EB-A6D2-8371413625B2}" dt="2024-09-10T16:01:14.478" v="92" actId="1076"/>
          <ac:spMkLst>
            <pc:docMk/>
            <pc:sldMk cId="3428271215" sldId="2147483171"/>
            <ac:spMk id="684" creationId="{B9BB1391-0690-D7E5-4862-009322E8441B}"/>
          </ac:spMkLst>
        </pc:spChg>
        <pc:spChg chg="mod">
          <ac:chgData name="DOSHI, Reena Hemendra" userId="a000f633-1554-4c76-9779-d0878cdbdb83" providerId="ADAL" clId="{318FACE6-3410-45EB-A6D2-8371413625B2}" dt="2024-09-10T16:01:14.478" v="92" actId="1076"/>
          <ac:spMkLst>
            <pc:docMk/>
            <pc:sldMk cId="3428271215" sldId="2147483171"/>
            <ac:spMk id="685" creationId="{F0F00489-76A7-282B-3D40-2CF09CE6EAD7}"/>
          </ac:spMkLst>
        </pc:spChg>
        <pc:spChg chg="mod">
          <ac:chgData name="DOSHI, Reena Hemendra" userId="a000f633-1554-4c76-9779-d0878cdbdb83" providerId="ADAL" clId="{318FACE6-3410-45EB-A6D2-8371413625B2}" dt="2024-09-10T16:01:14.478" v="92" actId="1076"/>
          <ac:spMkLst>
            <pc:docMk/>
            <pc:sldMk cId="3428271215" sldId="2147483171"/>
            <ac:spMk id="686" creationId="{0BE94B40-D523-2C0F-981C-AD197ECF03C7}"/>
          </ac:spMkLst>
        </pc:spChg>
        <pc:spChg chg="mod">
          <ac:chgData name="DOSHI, Reena Hemendra" userId="a000f633-1554-4c76-9779-d0878cdbdb83" providerId="ADAL" clId="{318FACE6-3410-45EB-A6D2-8371413625B2}" dt="2024-09-10T16:01:14.478" v="92" actId="1076"/>
          <ac:spMkLst>
            <pc:docMk/>
            <pc:sldMk cId="3428271215" sldId="2147483171"/>
            <ac:spMk id="687" creationId="{CC57DA95-AC3A-A93D-2EF2-EFFEBA0696C9}"/>
          </ac:spMkLst>
        </pc:spChg>
        <pc:spChg chg="mod">
          <ac:chgData name="DOSHI, Reena Hemendra" userId="a000f633-1554-4c76-9779-d0878cdbdb83" providerId="ADAL" clId="{318FACE6-3410-45EB-A6D2-8371413625B2}" dt="2024-09-10T16:01:14.478" v="92" actId="1076"/>
          <ac:spMkLst>
            <pc:docMk/>
            <pc:sldMk cId="3428271215" sldId="2147483171"/>
            <ac:spMk id="688" creationId="{10106018-370A-E6E0-A730-84FD978613EC}"/>
          </ac:spMkLst>
        </pc:spChg>
        <pc:spChg chg="mod">
          <ac:chgData name="DOSHI, Reena Hemendra" userId="a000f633-1554-4c76-9779-d0878cdbdb83" providerId="ADAL" clId="{318FACE6-3410-45EB-A6D2-8371413625B2}" dt="2024-09-10T16:01:14.478" v="92" actId="1076"/>
          <ac:spMkLst>
            <pc:docMk/>
            <pc:sldMk cId="3428271215" sldId="2147483171"/>
            <ac:spMk id="689" creationId="{52C8D979-12A2-D0F8-E80F-0E33451EDA9D}"/>
          </ac:spMkLst>
        </pc:spChg>
        <pc:spChg chg="mod">
          <ac:chgData name="DOSHI, Reena Hemendra" userId="a000f633-1554-4c76-9779-d0878cdbdb83" providerId="ADAL" clId="{318FACE6-3410-45EB-A6D2-8371413625B2}" dt="2024-09-10T16:01:14.478" v="92" actId="1076"/>
          <ac:spMkLst>
            <pc:docMk/>
            <pc:sldMk cId="3428271215" sldId="2147483171"/>
            <ac:spMk id="690" creationId="{C099A71B-79AD-19DA-6A61-CA3A7EDBD1E5}"/>
          </ac:spMkLst>
        </pc:spChg>
        <pc:spChg chg="mod">
          <ac:chgData name="DOSHI, Reena Hemendra" userId="a000f633-1554-4c76-9779-d0878cdbdb83" providerId="ADAL" clId="{318FACE6-3410-45EB-A6D2-8371413625B2}" dt="2024-09-10T16:01:14.478" v="92" actId="1076"/>
          <ac:spMkLst>
            <pc:docMk/>
            <pc:sldMk cId="3428271215" sldId="2147483171"/>
            <ac:spMk id="691" creationId="{1B3CE0E0-184D-D567-750E-A1C9A27F2F77}"/>
          </ac:spMkLst>
        </pc:spChg>
        <pc:spChg chg="mod">
          <ac:chgData name="DOSHI, Reena Hemendra" userId="a000f633-1554-4c76-9779-d0878cdbdb83" providerId="ADAL" clId="{318FACE6-3410-45EB-A6D2-8371413625B2}" dt="2024-09-10T16:01:14.478" v="92" actId="1076"/>
          <ac:spMkLst>
            <pc:docMk/>
            <pc:sldMk cId="3428271215" sldId="2147483171"/>
            <ac:spMk id="692" creationId="{FC1601CA-26B2-E01D-0074-E439BC26B073}"/>
          </ac:spMkLst>
        </pc:spChg>
        <pc:spChg chg="mod">
          <ac:chgData name="DOSHI, Reena Hemendra" userId="a000f633-1554-4c76-9779-d0878cdbdb83" providerId="ADAL" clId="{318FACE6-3410-45EB-A6D2-8371413625B2}" dt="2024-09-10T16:01:14.478" v="92" actId="1076"/>
          <ac:spMkLst>
            <pc:docMk/>
            <pc:sldMk cId="3428271215" sldId="2147483171"/>
            <ac:spMk id="693" creationId="{4DB9D2EF-634D-612D-B0C1-DDD957E2F6E5}"/>
          </ac:spMkLst>
        </pc:spChg>
        <pc:spChg chg="mod">
          <ac:chgData name="DOSHI, Reena Hemendra" userId="a000f633-1554-4c76-9779-d0878cdbdb83" providerId="ADAL" clId="{318FACE6-3410-45EB-A6D2-8371413625B2}" dt="2024-09-10T16:01:14.478" v="92" actId="1076"/>
          <ac:spMkLst>
            <pc:docMk/>
            <pc:sldMk cId="3428271215" sldId="2147483171"/>
            <ac:spMk id="694" creationId="{865A8163-3631-0D5C-F0E2-40271D243EFB}"/>
          </ac:spMkLst>
        </pc:spChg>
        <pc:spChg chg="mod">
          <ac:chgData name="DOSHI, Reena Hemendra" userId="a000f633-1554-4c76-9779-d0878cdbdb83" providerId="ADAL" clId="{318FACE6-3410-45EB-A6D2-8371413625B2}" dt="2024-09-10T16:01:14.478" v="92" actId="1076"/>
          <ac:spMkLst>
            <pc:docMk/>
            <pc:sldMk cId="3428271215" sldId="2147483171"/>
            <ac:spMk id="695" creationId="{D7360C5E-3AE0-393F-D0C4-449056875AD0}"/>
          </ac:spMkLst>
        </pc:spChg>
        <pc:spChg chg="mod">
          <ac:chgData name="DOSHI, Reena Hemendra" userId="a000f633-1554-4c76-9779-d0878cdbdb83" providerId="ADAL" clId="{318FACE6-3410-45EB-A6D2-8371413625B2}" dt="2024-09-10T16:01:14.478" v="92" actId="1076"/>
          <ac:spMkLst>
            <pc:docMk/>
            <pc:sldMk cId="3428271215" sldId="2147483171"/>
            <ac:spMk id="696" creationId="{3A51A296-4442-2510-99D5-5015E88FAD55}"/>
          </ac:spMkLst>
        </pc:spChg>
        <pc:spChg chg="mod">
          <ac:chgData name="DOSHI, Reena Hemendra" userId="a000f633-1554-4c76-9779-d0878cdbdb83" providerId="ADAL" clId="{318FACE6-3410-45EB-A6D2-8371413625B2}" dt="2024-09-10T16:01:14.478" v="92" actId="1076"/>
          <ac:spMkLst>
            <pc:docMk/>
            <pc:sldMk cId="3428271215" sldId="2147483171"/>
            <ac:spMk id="697" creationId="{A01DCBC3-1FAF-989D-8BEC-904AA6D26780}"/>
          </ac:spMkLst>
        </pc:spChg>
        <pc:spChg chg="mod">
          <ac:chgData name="DOSHI, Reena Hemendra" userId="a000f633-1554-4c76-9779-d0878cdbdb83" providerId="ADAL" clId="{318FACE6-3410-45EB-A6D2-8371413625B2}" dt="2024-09-10T16:01:14.478" v="92" actId="1076"/>
          <ac:spMkLst>
            <pc:docMk/>
            <pc:sldMk cId="3428271215" sldId="2147483171"/>
            <ac:spMk id="698" creationId="{06199BDD-32FE-0526-DEF8-76A8EF0AC1F7}"/>
          </ac:spMkLst>
        </pc:spChg>
        <pc:spChg chg="mod">
          <ac:chgData name="DOSHI, Reena Hemendra" userId="a000f633-1554-4c76-9779-d0878cdbdb83" providerId="ADAL" clId="{318FACE6-3410-45EB-A6D2-8371413625B2}" dt="2024-09-10T16:01:14.478" v="92" actId="1076"/>
          <ac:spMkLst>
            <pc:docMk/>
            <pc:sldMk cId="3428271215" sldId="2147483171"/>
            <ac:spMk id="699" creationId="{A725D974-D549-D1B0-8DCF-DFC515D1584F}"/>
          </ac:spMkLst>
        </pc:spChg>
        <pc:spChg chg="mod">
          <ac:chgData name="DOSHI, Reena Hemendra" userId="a000f633-1554-4c76-9779-d0878cdbdb83" providerId="ADAL" clId="{318FACE6-3410-45EB-A6D2-8371413625B2}" dt="2024-09-10T16:01:14.478" v="92" actId="1076"/>
          <ac:spMkLst>
            <pc:docMk/>
            <pc:sldMk cId="3428271215" sldId="2147483171"/>
            <ac:spMk id="700" creationId="{8DF5EC39-AC4A-28CB-4594-0FA38B9BD22D}"/>
          </ac:spMkLst>
        </pc:spChg>
        <pc:spChg chg="mod">
          <ac:chgData name="DOSHI, Reena Hemendra" userId="a000f633-1554-4c76-9779-d0878cdbdb83" providerId="ADAL" clId="{318FACE6-3410-45EB-A6D2-8371413625B2}" dt="2024-09-10T16:01:14.478" v="92" actId="1076"/>
          <ac:spMkLst>
            <pc:docMk/>
            <pc:sldMk cId="3428271215" sldId="2147483171"/>
            <ac:spMk id="701" creationId="{F324CF6B-249E-6051-92DE-3766B9BA27DB}"/>
          </ac:spMkLst>
        </pc:spChg>
        <pc:spChg chg="mod">
          <ac:chgData name="DOSHI, Reena Hemendra" userId="a000f633-1554-4c76-9779-d0878cdbdb83" providerId="ADAL" clId="{318FACE6-3410-45EB-A6D2-8371413625B2}" dt="2024-09-10T16:01:14.478" v="92" actId="1076"/>
          <ac:spMkLst>
            <pc:docMk/>
            <pc:sldMk cId="3428271215" sldId="2147483171"/>
            <ac:spMk id="702" creationId="{36A23204-A274-3D40-DE9B-1EBE4042639A}"/>
          </ac:spMkLst>
        </pc:spChg>
        <pc:spChg chg="mod">
          <ac:chgData name="DOSHI, Reena Hemendra" userId="a000f633-1554-4c76-9779-d0878cdbdb83" providerId="ADAL" clId="{318FACE6-3410-45EB-A6D2-8371413625B2}" dt="2024-09-10T16:01:14.478" v="92" actId="1076"/>
          <ac:spMkLst>
            <pc:docMk/>
            <pc:sldMk cId="3428271215" sldId="2147483171"/>
            <ac:spMk id="703" creationId="{E6EDD61D-DF45-8551-2172-1012BBBA4823}"/>
          </ac:spMkLst>
        </pc:spChg>
        <pc:spChg chg="mod">
          <ac:chgData name="DOSHI, Reena Hemendra" userId="a000f633-1554-4c76-9779-d0878cdbdb83" providerId="ADAL" clId="{318FACE6-3410-45EB-A6D2-8371413625B2}" dt="2024-09-10T16:01:14.478" v="92" actId="1076"/>
          <ac:spMkLst>
            <pc:docMk/>
            <pc:sldMk cId="3428271215" sldId="2147483171"/>
            <ac:spMk id="704" creationId="{7BB66A7A-FAC0-9F9F-5D48-3DF02EB36607}"/>
          </ac:spMkLst>
        </pc:spChg>
        <pc:spChg chg="mod">
          <ac:chgData name="DOSHI, Reena Hemendra" userId="a000f633-1554-4c76-9779-d0878cdbdb83" providerId="ADAL" clId="{318FACE6-3410-45EB-A6D2-8371413625B2}" dt="2024-09-10T16:01:14.478" v="92" actId="1076"/>
          <ac:spMkLst>
            <pc:docMk/>
            <pc:sldMk cId="3428271215" sldId="2147483171"/>
            <ac:spMk id="705" creationId="{E988C080-1D1D-8D4B-0733-B8E3CCE66584}"/>
          </ac:spMkLst>
        </pc:spChg>
        <pc:spChg chg="mod">
          <ac:chgData name="DOSHI, Reena Hemendra" userId="a000f633-1554-4c76-9779-d0878cdbdb83" providerId="ADAL" clId="{318FACE6-3410-45EB-A6D2-8371413625B2}" dt="2024-09-10T16:01:14.478" v="92" actId="1076"/>
          <ac:spMkLst>
            <pc:docMk/>
            <pc:sldMk cId="3428271215" sldId="2147483171"/>
            <ac:spMk id="706" creationId="{10187651-C337-1568-6A36-AF359A203044}"/>
          </ac:spMkLst>
        </pc:spChg>
        <pc:spChg chg="mod">
          <ac:chgData name="DOSHI, Reena Hemendra" userId="a000f633-1554-4c76-9779-d0878cdbdb83" providerId="ADAL" clId="{318FACE6-3410-45EB-A6D2-8371413625B2}" dt="2024-09-10T16:01:14.478" v="92" actId="1076"/>
          <ac:spMkLst>
            <pc:docMk/>
            <pc:sldMk cId="3428271215" sldId="2147483171"/>
            <ac:spMk id="707" creationId="{F34C4B89-3EA7-13D5-3540-ABF626D32A95}"/>
          </ac:spMkLst>
        </pc:spChg>
        <pc:spChg chg="mod">
          <ac:chgData name="DOSHI, Reena Hemendra" userId="a000f633-1554-4c76-9779-d0878cdbdb83" providerId="ADAL" clId="{318FACE6-3410-45EB-A6D2-8371413625B2}" dt="2024-09-10T16:01:14.478" v="92" actId="1076"/>
          <ac:spMkLst>
            <pc:docMk/>
            <pc:sldMk cId="3428271215" sldId="2147483171"/>
            <ac:spMk id="708" creationId="{F6D9B92B-77C9-AE8A-EA22-BA7FB08E955E}"/>
          </ac:spMkLst>
        </pc:spChg>
        <pc:spChg chg="mod">
          <ac:chgData name="DOSHI, Reena Hemendra" userId="a000f633-1554-4c76-9779-d0878cdbdb83" providerId="ADAL" clId="{318FACE6-3410-45EB-A6D2-8371413625B2}" dt="2024-09-10T16:01:14.478" v="92" actId="1076"/>
          <ac:spMkLst>
            <pc:docMk/>
            <pc:sldMk cId="3428271215" sldId="2147483171"/>
            <ac:spMk id="709" creationId="{867B30BF-D281-4D4C-EDE1-4438F2E1CBFB}"/>
          </ac:spMkLst>
        </pc:spChg>
        <pc:spChg chg="mod">
          <ac:chgData name="DOSHI, Reena Hemendra" userId="a000f633-1554-4c76-9779-d0878cdbdb83" providerId="ADAL" clId="{318FACE6-3410-45EB-A6D2-8371413625B2}" dt="2024-09-10T16:01:14.478" v="92" actId="1076"/>
          <ac:spMkLst>
            <pc:docMk/>
            <pc:sldMk cId="3428271215" sldId="2147483171"/>
            <ac:spMk id="710" creationId="{14FFCCC0-2062-D2FD-4A26-BBDF00AB224C}"/>
          </ac:spMkLst>
        </pc:spChg>
        <pc:spChg chg="mod">
          <ac:chgData name="DOSHI, Reena Hemendra" userId="a000f633-1554-4c76-9779-d0878cdbdb83" providerId="ADAL" clId="{318FACE6-3410-45EB-A6D2-8371413625B2}" dt="2024-09-10T16:01:14.478" v="92" actId="1076"/>
          <ac:spMkLst>
            <pc:docMk/>
            <pc:sldMk cId="3428271215" sldId="2147483171"/>
            <ac:spMk id="711" creationId="{B194A7CF-BD76-81BA-539F-503D1840AC30}"/>
          </ac:spMkLst>
        </pc:spChg>
        <pc:spChg chg="mod">
          <ac:chgData name="DOSHI, Reena Hemendra" userId="a000f633-1554-4c76-9779-d0878cdbdb83" providerId="ADAL" clId="{318FACE6-3410-45EB-A6D2-8371413625B2}" dt="2024-09-10T16:01:14.478" v="92" actId="1076"/>
          <ac:spMkLst>
            <pc:docMk/>
            <pc:sldMk cId="3428271215" sldId="2147483171"/>
            <ac:spMk id="712" creationId="{945EAAD6-7084-549B-8AEF-6A678AA606B7}"/>
          </ac:spMkLst>
        </pc:spChg>
        <pc:spChg chg="mod">
          <ac:chgData name="DOSHI, Reena Hemendra" userId="a000f633-1554-4c76-9779-d0878cdbdb83" providerId="ADAL" clId="{318FACE6-3410-45EB-A6D2-8371413625B2}" dt="2024-09-10T16:01:14.478" v="92" actId="1076"/>
          <ac:spMkLst>
            <pc:docMk/>
            <pc:sldMk cId="3428271215" sldId="2147483171"/>
            <ac:spMk id="713" creationId="{D003BDD2-C3D3-74A5-093E-3495D9823B36}"/>
          </ac:spMkLst>
        </pc:spChg>
        <pc:spChg chg="mod">
          <ac:chgData name="DOSHI, Reena Hemendra" userId="a000f633-1554-4c76-9779-d0878cdbdb83" providerId="ADAL" clId="{318FACE6-3410-45EB-A6D2-8371413625B2}" dt="2024-09-10T16:01:14.478" v="92" actId="1076"/>
          <ac:spMkLst>
            <pc:docMk/>
            <pc:sldMk cId="3428271215" sldId="2147483171"/>
            <ac:spMk id="714" creationId="{965AC516-AADE-83A7-5457-FD3E665DB68B}"/>
          </ac:spMkLst>
        </pc:spChg>
        <pc:spChg chg="mod">
          <ac:chgData name="DOSHI, Reena Hemendra" userId="a000f633-1554-4c76-9779-d0878cdbdb83" providerId="ADAL" clId="{318FACE6-3410-45EB-A6D2-8371413625B2}" dt="2024-09-10T16:01:14.478" v="92" actId="1076"/>
          <ac:spMkLst>
            <pc:docMk/>
            <pc:sldMk cId="3428271215" sldId="2147483171"/>
            <ac:spMk id="715" creationId="{A257495C-88F7-0287-89DD-068414338611}"/>
          </ac:spMkLst>
        </pc:spChg>
        <pc:spChg chg="mod">
          <ac:chgData name="DOSHI, Reena Hemendra" userId="a000f633-1554-4c76-9779-d0878cdbdb83" providerId="ADAL" clId="{318FACE6-3410-45EB-A6D2-8371413625B2}" dt="2024-09-10T16:01:14.478" v="92" actId="1076"/>
          <ac:spMkLst>
            <pc:docMk/>
            <pc:sldMk cId="3428271215" sldId="2147483171"/>
            <ac:spMk id="716" creationId="{658CBAF6-9489-30B2-2E35-37D681D5B897}"/>
          </ac:spMkLst>
        </pc:spChg>
        <pc:spChg chg="mod">
          <ac:chgData name="DOSHI, Reena Hemendra" userId="a000f633-1554-4c76-9779-d0878cdbdb83" providerId="ADAL" clId="{318FACE6-3410-45EB-A6D2-8371413625B2}" dt="2024-09-10T16:01:14.478" v="92" actId="1076"/>
          <ac:spMkLst>
            <pc:docMk/>
            <pc:sldMk cId="3428271215" sldId="2147483171"/>
            <ac:spMk id="717" creationId="{FED87407-F661-5FBE-2107-B739DE9A9E2D}"/>
          </ac:spMkLst>
        </pc:spChg>
        <pc:spChg chg="mod">
          <ac:chgData name="DOSHI, Reena Hemendra" userId="a000f633-1554-4c76-9779-d0878cdbdb83" providerId="ADAL" clId="{318FACE6-3410-45EB-A6D2-8371413625B2}" dt="2024-09-10T16:01:14.478" v="92" actId="1076"/>
          <ac:spMkLst>
            <pc:docMk/>
            <pc:sldMk cId="3428271215" sldId="2147483171"/>
            <ac:spMk id="718" creationId="{ABFEA873-E926-2BAF-1DE3-D49791E72F9C}"/>
          </ac:spMkLst>
        </pc:spChg>
        <pc:spChg chg="mod">
          <ac:chgData name="DOSHI, Reena Hemendra" userId="a000f633-1554-4c76-9779-d0878cdbdb83" providerId="ADAL" clId="{318FACE6-3410-45EB-A6D2-8371413625B2}" dt="2024-09-10T16:01:14.478" v="92" actId="1076"/>
          <ac:spMkLst>
            <pc:docMk/>
            <pc:sldMk cId="3428271215" sldId="2147483171"/>
            <ac:spMk id="719" creationId="{D02DF7F3-B482-0790-46CB-3E80D742FFBF}"/>
          </ac:spMkLst>
        </pc:spChg>
        <pc:spChg chg="mod">
          <ac:chgData name="DOSHI, Reena Hemendra" userId="a000f633-1554-4c76-9779-d0878cdbdb83" providerId="ADAL" clId="{318FACE6-3410-45EB-A6D2-8371413625B2}" dt="2024-09-10T16:01:14.478" v="92" actId="1076"/>
          <ac:spMkLst>
            <pc:docMk/>
            <pc:sldMk cId="3428271215" sldId="2147483171"/>
            <ac:spMk id="720" creationId="{1D62AB1D-2426-6A9A-0849-84BB725063F0}"/>
          </ac:spMkLst>
        </pc:spChg>
        <pc:spChg chg="mod">
          <ac:chgData name="DOSHI, Reena Hemendra" userId="a000f633-1554-4c76-9779-d0878cdbdb83" providerId="ADAL" clId="{318FACE6-3410-45EB-A6D2-8371413625B2}" dt="2024-09-10T16:01:14.478" v="92" actId="1076"/>
          <ac:spMkLst>
            <pc:docMk/>
            <pc:sldMk cId="3428271215" sldId="2147483171"/>
            <ac:spMk id="721" creationId="{A8CCB35A-7E30-6DEB-FBDC-08116262B538}"/>
          </ac:spMkLst>
        </pc:spChg>
        <pc:spChg chg="mod">
          <ac:chgData name="DOSHI, Reena Hemendra" userId="a000f633-1554-4c76-9779-d0878cdbdb83" providerId="ADAL" clId="{318FACE6-3410-45EB-A6D2-8371413625B2}" dt="2024-09-10T16:01:14.478" v="92" actId="1076"/>
          <ac:spMkLst>
            <pc:docMk/>
            <pc:sldMk cId="3428271215" sldId="2147483171"/>
            <ac:spMk id="722" creationId="{1D88A8A2-422F-DA2F-2E86-C080E69B0E61}"/>
          </ac:spMkLst>
        </pc:spChg>
        <pc:spChg chg="mod">
          <ac:chgData name="DOSHI, Reena Hemendra" userId="a000f633-1554-4c76-9779-d0878cdbdb83" providerId="ADAL" clId="{318FACE6-3410-45EB-A6D2-8371413625B2}" dt="2024-09-10T16:01:14.478" v="92" actId="1076"/>
          <ac:spMkLst>
            <pc:docMk/>
            <pc:sldMk cId="3428271215" sldId="2147483171"/>
            <ac:spMk id="723" creationId="{0FBA5A54-1605-2CAD-F62D-93E85ABE5831}"/>
          </ac:spMkLst>
        </pc:spChg>
        <pc:spChg chg="mod">
          <ac:chgData name="DOSHI, Reena Hemendra" userId="a000f633-1554-4c76-9779-d0878cdbdb83" providerId="ADAL" clId="{318FACE6-3410-45EB-A6D2-8371413625B2}" dt="2024-09-10T16:01:14.478" v="92" actId="1076"/>
          <ac:spMkLst>
            <pc:docMk/>
            <pc:sldMk cId="3428271215" sldId="2147483171"/>
            <ac:spMk id="724" creationId="{E9C7C8CE-B92B-072D-CF58-8025D37A6DE4}"/>
          </ac:spMkLst>
        </pc:spChg>
        <pc:spChg chg="mod">
          <ac:chgData name="DOSHI, Reena Hemendra" userId="a000f633-1554-4c76-9779-d0878cdbdb83" providerId="ADAL" clId="{318FACE6-3410-45EB-A6D2-8371413625B2}" dt="2024-09-10T16:01:14.478" v="92" actId="1076"/>
          <ac:spMkLst>
            <pc:docMk/>
            <pc:sldMk cId="3428271215" sldId="2147483171"/>
            <ac:spMk id="725" creationId="{B61B914F-450C-A5FD-B683-C562C50110EB}"/>
          </ac:spMkLst>
        </pc:spChg>
        <pc:spChg chg="mod">
          <ac:chgData name="DOSHI, Reena Hemendra" userId="a000f633-1554-4c76-9779-d0878cdbdb83" providerId="ADAL" clId="{318FACE6-3410-45EB-A6D2-8371413625B2}" dt="2024-09-10T16:01:14.478" v="92" actId="1076"/>
          <ac:spMkLst>
            <pc:docMk/>
            <pc:sldMk cId="3428271215" sldId="2147483171"/>
            <ac:spMk id="726" creationId="{F490DAF1-308C-B59B-B92C-930A69346060}"/>
          </ac:spMkLst>
        </pc:spChg>
        <pc:spChg chg="mod">
          <ac:chgData name="DOSHI, Reena Hemendra" userId="a000f633-1554-4c76-9779-d0878cdbdb83" providerId="ADAL" clId="{318FACE6-3410-45EB-A6D2-8371413625B2}" dt="2024-09-10T16:01:14.478" v="92" actId="1076"/>
          <ac:spMkLst>
            <pc:docMk/>
            <pc:sldMk cId="3428271215" sldId="2147483171"/>
            <ac:spMk id="727" creationId="{98C598D6-07F7-D191-71A9-FF6134B9FF60}"/>
          </ac:spMkLst>
        </pc:spChg>
        <pc:spChg chg="mod">
          <ac:chgData name="DOSHI, Reena Hemendra" userId="a000f633-1554-4c76-9779-d0878cdbdb83" providerId="ADAL" clId="{318FACE6-3410-45EB-A6D2-8371413625B2}" dt="2024-09-10T16:01:14.478" v="92" actId="1076"/>
          <ac:spMkLst>
            <pc:docMk/>
            <pc:sldMk cId="3428271215" sldId="2147483171"/>
            <ac:spMk id="728" creationId="{0CF3E896-E113-7D4C-CEA1-9082DAF1620B}"/>
          </ac:spMkLst>
        </pc:spChg>
        <pc:spChg chg="mod">
          <ac:chgData name="DOSHI, Reena Hemendra" userId="a000f633-1554-4c76-9779-d0878cdbdb83" providerId="ADAL" clId="{318FACE6-3410-45EB-A6D2-8371413625B2}" dt="2024-09-10T16:01:14.478" v="92" actId="1076"/>
          <ac:spMkLst>
            <pc:docMk/>
            <pc:sldMk cId="3428271215" sldId="2147483171"/>
            <ac:spMk id="729" creationId="{7614425A-1A75-081B-ED4F-DDD9C6FB4CA1}"/>
          </ac:spMkLst>
        </pc:spChg>
        <pc:spChg chg="mod">
          <ac:chgData name="DOSHI, Reena Hemendra" userId="a000f633-1554-4c76-9779-d0878cdbdb83" providerId="ADAL" clId="{318FACE6-3410-45EB-A6D2-8371413625B2}" dt="2024-09-10T16:01:14.478" v="92" actId="1076"/>
          <ac:spMkLst>
            <pc:docMk/>
            <pc:sldMk cId="3428271215" sldId="2147483171"/>
            <ac:spMk id="730" creationId="{47BF5398-0841-20E7-A009-27C3492F3AF8}"/>
          </ac:spMkLst>
        </pc:spChg>
        <pc:spChg chg="mod">
          <ac:chgData name="DOSHI, Reena Hemendra" userId="a000f633-1554-4c76-9779-d0878cdbdb83" providerId="ADAL" clId="{318FACE6-3410-45EB-A6D2-8371413625B2}" dt="2024-09-10T16:01:14.478" v="92" actId="1076"/>
          <ac:spMkLst>
            <pc:docMk/>
            <pc:sldMk cId="3428271215" sldId="2147483171"/>
            <ac:spMk id="731" creationId="{6E31B8CA-A1DE-322C-A8A6-D36B19E8B722}"/>
          </ac:spMkLst>
        </pc:spChg>
        <pc:spChg chg="mod">
          <ac:chgData name="DOSHI, Reena Hemendra" userId="a000f633-1554-4c76-9779-d0878cdbdb83" providerId="ADAL" clId="{318FACE6-3410-45EB-A6D2-8371413625B2}" dt="2024-09-10T16:01:14.478" v="92" actId="1076"/>
          <ac:spMkLst>
            <pc:docMk/>
            <pc:sldMk cId="3428271215" sldId="2147483171"/>
            <ac:spMk id="732" creationId="{A90BD5F5-41CD-38CB-5C1B-BE5293314712}"/>
          </ac:spMkLst>
        </pc:spChg>
        <pc:spChg chg="mod">
          <ac:chgData name="DOSHI, Reena Hemendra" userId="a000f633-1554-4c76-9779-d0878cdbdb83" providerId="ADAL" clId="{318FACE6-3410-45EB-A6D2-8371413625B2}" dt="2024-09-10T16:01:14.478" v="92" actId="1076"/>
          <ac:spMkLst>
            <pc:docMk/>
            <pc:sldMk cId="3428271215" sldId="2147483171"/>
            <ac:spMk id="733" creationId="{2B2B4E3D-1941-34CB-82DE-B1DC98C91C0A}"/>
          </ac:spMkLst>
        </pc:spChg>
        <pc:spChg chg="mod">
          <ac:chgData name="DOSHI, Reena Hemendra" userId="a000f633-1554-4c76-9779-d0878cdbdb83" providerId="ADAL" clId="{318FACE6-3410-45EB-A6D2-8371413625B2}" dt="2024-09-10T16:01:14.478" v="92" actId="1076"/>
          <ac:spMkLst>
            <pc:docMk/>
            <pc:sldMk cId="3428271215" sldId="2147483171"/>
            <ac:spMk id="734" creationId="{165F614C-F395-491C-BFC3-D30369655700}"/>
          </ac:spMkLst>
        </pc:spChg>
        <pc:spChg chg="mod">
          <ac:chgData name="DOSHI, Reena Hemendra" userId="a000f633-1554-4c76-9779-d0878cdbdb83" providerId="ADAL" clId="{318FACE6-3410-45EB-A6D2-8371413625B2}" dt="2024-09-10T16:01:14.478" v="92" actId="1076"/>
          <ac:spMkLst>
            <pc:docMk/>
            <pc:sldMk cId="3428271215" sldId="2147483171"/>
            <ac:spMk id="735" creationId="{7B69957B-CF1F-E2E5-9B8C-289B78860926}"/>
          </ac:spMkLst>
        </pc:spChg>
        <pc:spChg chg="mod">
          <ac:chgData name="DOSHI, Reena Hemendra" userId="a000f633-1554-4c76-9779-d0878cdbdb83" providerId="ADAL" clId="{318FACE6-3410-45EB-A6D2-8371413625B2}" dt="2024-09-10T16:01:14.478" v="92" actId="1076"/>
          <ac:spMkLst>
            <pc:docMk/>
            <pc:sldMk cId="3428271215" sldId="2147483171"/>
            <ac:spMk id="736" creationId="{3CAD699E-50CC-42A9-42EC-0E9508F1199F}"/>
          </ac:spMkLst>
        </pc:spChg>
        <pc:spChg chg="mod">
          <ac:chgData name="DOSHI, Reena Hemendra" userId="a000f633-1554-4c76-9779-d0878cdbdb83" providerId="ADAL" clId="{318FACE6-3410-45EB-A6D2-8371413625B2}" dt="2024-09-10T16:01:14.478" v="92" actId="1076"/>
          <ac:spMkLst>
            <pc:docMk/>
            <pc:sldMk cId="3428271215" sldId="2147483171"/>
            <ac:spMk id="737" creationId="{A0DCCEB4-AC09-C0D8-E9BE-746BC41D82EF}"/>
          </ac:spMkLst>
        </pc:spChg>
        <pc:spChg chg="mod">
          <ac:chgData name="DOSHI, Reena Hemendra" userId="a000f633-1554-4c76-9779-d0878cdbdb83" providerId="ADAL" clId="{318FACE6-3410-45EB-A6D2-8371413625B2}" dt="2024-09-10T16:01:14.478" v="92" actId="1076"/>
          <ac:spMkLst>
            <pc:docMk/>
            <pc:sldMk cId="3428271215" sldId="2147483171"/>
            <ac:spMk id="738" creationId="{B3E77BCA-9277-364D-DEEB-0F5395DC741B}"/>
          </ac:spMkLst>
        </pc:spChg>
        <pc:spChg chg="mod">
          <ac:chgData name="DOSHI, Reena Hemendra" userId="a000f633-1554-4c76-9779-d0878cdbdb83" providerId="ADAL" clId="{318FACE6-3410-45EB-A6D2-8371413625B2}" dt="2024-09-10T16:01:14.478" v="92" actId="1076"/>
          <ac:spMkLst>
            <pc:docMk/>
            <pc:sldMk cId="3428271215" sldId="2147483171"/>
            <ac:spMk id="739" creationId="{DBBC1846-63C7-BA7D-EC79-C102AD35CEFB}"/>
          </ac:spMkLst>
        </pc:spChg>
        <pc:spChg chg="mod">
          <ac:chgData name="DOSHI, Reena Hemendra" userId="a000f633-1554-4c76-9779-d0878cdbdb83" providerId="ADAL" clId="{318FACE6-3410-45EB-A6D2-8371413625B2}" dt="2024-09-10T16:01:14.478" v="92" actId="1076"/>
          <ac:spMkLst>
            <pc:docMk/>
            <pc:sldMk cId="3428271215" sldId="2147483171"/>
            <ac:spMk id="740" creationId="{CD137AA0-0541-71A1-4E45-2181B7AF43D1}"/>
          </ac:spMkLst>
        </pc:spChg>
        <pc:spChg chg="mod">
          <ac:chgData name="DOSHI, Reena Hemendra" userId="a000f633-1554-4c76-9779-d0878cdbdb83" providerId="ADAL" clId="{318FACE6-3410-45EB-A6D2-8371413625B2}" dt="2024-09-10T16:01:14.478" v="92" actId="1076"/>
          <ac:spMkLst>
            <pc:docMk/>
            <pc:sldMk cId="3428271215" sldId="2147483171"/>
            <ac:spMk id="741" creationId="{09F4243C-2890-5163-607F-9477845F9305}"/>
          </ac:spMkLst>
        </pc:spChg>
        <pc:spChg chg="mod">
          <ac:chgData name="DOSHI, Reena Hemendra" userId="a000f633-1554-4c76-9779-d0878cdbdb83" providerId="ADAL" clId="{318FACE6-3410-45EB-A6D2-8371413625B2}" dt="2024-09-10T16:01:14.478" v="92" actId="1076"/>
          <ac:spMkLst>
            <pc:docMk/>
            <pc:sldMk cId="3428271215" sldId="2147483171"/>
            <ac:spMk id="742" creationId="{6E16278B-86F1-DFA5-40D4-1D1F633A5C60}"/>
          </ac:spMkLst>
        </pc:spChg>
        <pc:spChg chg="mod">
          <ac:chgData name="DOSHI, Reena Hemendra" userId="a000f633-1554-4c76-9779-d0878cdbdb83" providerId="ADAL" clId="{318FACE6-3410-45EB-A6D2-8371413625B2}" dt="2024-09-10T16:01:14.478" v="92" actId="1076"/>
          <ac:spMkLst>
            <pc:docMk/>
            <pc:sldMk cId="3428271215" sldId="2147483171"/>
            <ac:spMk id="743" creationId="{63582FA2-845B-A1FF-5E03-E9D6C957FA18}"/>
          </ac:spMkLst>
        </pc:spChg>
        <pc:spChg chg="mod">
          <ac:chgData name="DOSHI, Reena Hemendra" userId="a000f633-1554-4c76-9779-d0878cdbdb83" providerId="ADAL" clId="{318FACE6-3410-45EB-A6D2-8371413625B2}" dt="2024-09-10T16:01:14.478" v="92" actId="1076"/>
          <ac:spMkLst>
            <pc:docMk/>
            <pc:sldMk cId="3428271215" sldId="2147483171"/>
            <ac:spMk id="744" creationId="{4D3D41B2-FB93-FFCE-6F83-12A28BEF85A2}"/>
          </ac:spMkLst>
        </pc:spChg>
        <pc:spChg chg="mod">
          <ac:chgData name="DOSHI, Reena Hemendra" userId="a000f633-1554-4c76-9779-d0878cdbdb83" providerId="ADAL" clId="{318FACE6-3410-45EB-A6D2-8371413625B2}" dt="2024-09-10T16:01:14.478" v="92" actId="1076"/>
          <ac:spMkLst>
            <pc:docMk/>
            <pc:sldMk cId="3428271215" sldId="2147483171"/>
            <ac:spMk id="745" creationId="{F8507DEE-1D91-E819-A55C-8FEC10257DCF}"/>
          </ac:spMkLst>
        </pc:spChg>
        <pc:spChg chg="mod">
          <ac:chgData name="DOSHI, Reena Hemendra" userId="a000f633-1554-4c76-9779-d0878cdbdb83" providerId="ADAL" clId="{318FACE6-3410-45EB-A6D2-8371413625B2}" dt="2024-09-10T16:01:14.478" v="92" actId="1076"/>
          <ac:spMkLst>
            <pc:docMk/>
            <pc:sldMk cId="3428271215" sldId="2147483171"/>
            <ac:spMk id="746" creationId="{F32745F7-AB15-E27E-803A-9F8E632DF303}"/>
          </ac:spMkLst>
        </pc:spChg>
        <pc:spChg chg="mod">
          <ac:chgData name="DOSHI, Reena Hemendra" userId="a000f633-1554-4c76-9779-d0878cdbdb83" providerId="ADAL" clId="{318FACE6-3410-45EB-A6D2-8371413625B2}" dt="2024-09-10T16:01:14.478" v="92" actId="1076"/>
          <ac:spMkLst>
            <pc:docMk/>
            <pc:sldMk cId="3428271215" sldId="2147483171"/>
            <ac:spMk id="747" creationId="{BCEE7DF8-34ED-859E-C1D1-21048CC7279C}"/>
          </ac:spMkLst>
        </pc:spChg>
        <pc:spChg chg="mod">
          <ac:chgData name="DOSHI, Reena Hemendra" userId="a000f633-1554-4c76-9779-d0878cdbdb83" providerId="ADAL" clId="{318FACE6-3410-45EB-A6D2-8371413625B2}" dt="2024-09-10T16:01:14.478" v="92" actId="1076"/>
          <ac:spMkLst>
            <pc:docMk/>
            <pc:sldMk cId="3428271215" sldId="2147483171"/>
            <ac:spMk id="748" creationId="{1CA85B15-2D2A-F3A1-B407-50220DCE7B2C}"/>
          </ac:spMkLst>
        </pc:spChg>
        <pc:spChg chg="mod">
          <ac:chgData name="DOSHI, Reena Hemendra" userId="a000f633-1554-4c76-9779-d0878cdbdb83" providerId="ADAL" clId="{318FACE6-3410-45EB-A6D2-8371413625B2}" dt="2024-09-10T16:01:14.478" v="92" actId="1076"/>
          <ac:spMkLst>
            <pc:docMk/>
            <pc:sldMk cId="3428271215" sldId="2147483171"/>
            <ac:spMk id="749" creationId="{6D3202A4-19A0-AE6F-5789-8A3FBDE045C5}"/>
          </ac:spMkLst>
        </pc:spChg>
        <pc:spChg chg="mod">
          <ac:chgData name="DOSHI, Reena Hemendra" userId="a000f633-1554-4c76-9779-d0878cdbdb83" providerId="ADAL" clId="{318FACE6-3410-45EB-A6D2-8371413625B2}" dt="2024-09-10T16:01:14.478" v="92" actId="1076"/>
          <ac:spMkLst>
            <pc:docMk/>
            <pc:sldMk cId="3428271215" sldId="2147483171"/>
            <ac:spMk id="750" creationId="{B2C4B1D6-A056-6849-1CCE-6CF65A54C77E}"/>
          </ac:spMkLst>
        </pc:spChg>
        <pc:spChg chg="mod">
          <ac:chgData name="DOSHI, Reena Hemendra" userId="a000f633-1554-4c76-9779-d0878cdbdb83" providerId="ADAL" clId="{318FACE6-3410-45EB-A6D2-8371413625B2}" dt="2024-09-10T16:01:14.478" v="92" actId="1076"/>
          <ac:spMkLst>
            <pc:docMk/>
            <pc:sldMk cId="3428271215" sldId="2147483171"/>
            <ac:spMk id="751" creationId="{A1A829AC-307E-F9A9-2016-C5625C74FEC9}"/>
          </ac:spMkLst>
        </pc:spChg>
        <pc:spChg chg="mod">
          <ac:chgData name="DOSHI, Reena Hemendra" userId="a000f633-1554-4c76-9779-d0878cdbdb83" providerId="ADAL" clId="{318FACE6-3410-45EB-A6D2-8371413625B2}" dt="2024-09-10T16:01:14.478" v="92" actId="1076"/>
          <ac:spMkLst>
            <pc:docMk/>
            <pc:sldMk cId="3428271215" sldId="2147483171"/>
            <ac:spMk id="752" creationId="{D78569E8-9667-0C84-4144-A08ABF1B25B3}"/>
          </ac:spMkLst>
        </pc:spChg>
        <pc:spChg chg="mod">
          <ac:chgData name="DOSHI, Reena Hemendra" userId="a000f633-1554-4c76-9779-d0878cdbdb83" providerId="ADAL" clId="{318FACE6-3410-45EB-A6D2-8371413625B2}" dt="2024-09-10T16:01:14.478" v="92" actId="1076"/>
          <ac:spMkLst>
            <pc:docMk/>
            <pc:sldMk cId="3428271215" sldId="2147483171"/>
            <ac:spMk id="753" creationId="{A19B6C23-277C-5CD5-FDEA-3F1412841D1D}"/>
          </ac:spMkLst>
        </pc:spChg>
        <pc:spChg chg="mod">
          <ac:chgData name="DOSHI, Reena Hemendra" userId="a000f633-1554-4c76-9779-d0878cdbdb83" providerId="ADAL" clId="{318FACE6-3410-45EB-A6D2-8371413625B2}" dt="2024-09-10T16:01:14.478" v="92" actId="1076"/>
          <ac:spMkLst>
            <pc:docMk/>
            <pc:sldMk cId="3428271215" sldId="2147483171"/>
            <ac:spMk id="754" creationId="{483CCB24-DFD9-1735-0DD8-72034D4FDAB4}"/>
          </ac:spMkLst>
        </pc:spChg>
        <pc:spChg chg="mod">
          <ac:chgData name="DOSHI, Reena Hemendra" userId="a000f633-1554-4c76-9779-d0878cdbdb83" providerId="ADAL" clId="{318FACE6-3410-45EB-A6D2-8371413625B2}" dt="2024-09-10T16:01:14.478" v="92" actId="1076"/>
          <ac:spMkLst>
            <pc:docMk/>
            <pc:sldMk cId="3428271215" sldId="2147483171"/>
            <ac:spMk id="755" creationId="{35C7C8A0-83C6-3519-D4E3-5FB16E4B0309}"/>
          </ac:spMkLst>
        </pc:spChg>
        <pc:spChg chg="mod">
          <ac:chgData name="DOSHI, Reena Hemendra" userId="a000f633-1554-4c76-9779-d0878cdbdb83" providerId="ADAL" clId="{318FACE6-3410-45EB-A6D2-8371413625B2}" dt="2024-09-10T16:01:14.478" v="92" actId="1076"/>
          <ac:spMkLst>
            <pc:docMk/>
            <pc:sldMk cId="3428271215" sldId="2147483171"/>
            <ac:spMk id="756" creationId="{48EC401E-6B14-8619-9582-A51EACC1D998}"/>
          </ac:spMkLst>
        </pc:spChg>
        <pc:spChg chg="mod">
          <ac:chgData name="DOSHI, Reena Hemendra" userId="a000f633-1554-4c76-9779-d0878cdbdb83" providerId="ADAL" clId="{318FACE6-3410-45EB-A6D2-8371413625B2}" dt="2024-09-10T16:01:14.478" v="92" actId="1076"/>
          <ac:spMkLst>
            <pc:docMk/>
            <pc:sldMk cId="3428271215" sldId="2147483171"/>
            <ac:spMk id="757" creationId="{AB9297AB-8A53-05F5-8D8E-DED1405F4AE1}"/>
          </ac:spMkLst>
        </pc:spChg>
        <pc:spChg chg="mod">
          <ac:chgData name="DOSHI, Reena Hemendra" userId="a000f633-1554-4c76-9779-d0878cdbdb83" providerId="ADAL" clId="{318FACE6-3410-45EB-A6D2-8371413625B2}" dt="2024-09-10T16:01:14.478" v="92" actId="1076"/>
          <ac:spMkLst>
            <pc:docMk/>
            <pc:sldMk cId="3428271215" sldId="2147483171"/>
            <ac:spMk id="758" creationId="{3FCE292B-F0AF-16FD-3FE2-B3B22F38BC3F}"/>
          </ac:spMkLst>
        </pc:spChg>
        <pc:spChg chg="mod">
          <ac:chgData name="DOSHI, Reena Hemendra" userId="a000f633-1554-4c76-9779-d0878cdbdb83" providerId="ADAL" clId="{318FACE6-3410-45EB-A6D2-8371413625B2}" dt="2024-09-10T16:01:14.478" v="92" actId="1076"/>
          <ac:spMkLst>
            <pc:docMk/>
            <pc:sldMk cId="3428271215" sldId="2147483171"/>
            <ac:spMk id="759" creationId="{A854CCA7-0B7F-5985-4B10-A798881F893B}"/>
          </ac:spMkLst>
        </pc:spChg>
        <pc:spChg chg="mod">
          <ac:chgData name="DOSHI, Reena Hemendra" userId="a000f633-1554-4c76-9779-d0878cdbdb83" providerId="ADAL" clId="{318FACE6-3410-45EB-A6D2-8371413625B2}" dt="2024-09-10T16:01:14.478" v="92" actId="1076"/>
          <ac:spMkLst>
            <pc:docMk/>
            <pc:sldMk cId="3428271215" sldId="2147483171"/>
            <ac:spMk id="760" creationId="{C3840D38-5767-EC6A-AA12-35A39C5FA545}"/>
          </ac:spMkLst>
        </pc:spChg>
        <pc:spChg chg="mod">
          <ac:chgData name="DOSHI, Reena Hemendra" userId="a000f633-1554-4c76-9779-d0878cdbdb83" providerId="ADAL" clId="{318FACE6-3410-45EB-A6D2-8371413625B2}" dt="2024-09-10T16:01:14.478" v="92" actId="1076"/>
          <ac:spMkLst>
            <pc:docMk/>
            <pc:sldMk cId="3428271215" sldId="2147483171"/>
            <ac:spMk id="761" creationId="{D399E71C-C734-F12A-2A02-1E7D7D961A30}"/>
          </ac:spMkLst>
        </pc:spChg>
        <pc:spChg chg="mod">
          <ac:chgData name="DOSHI, Reena Hemendra" userId="a000f633-1554-4c76-9779-d0878cdbdb83" providerId="ADAL" clId="{318FACE6-3410-45EB-A6D2-8371413625B2}" dt="2024-09-10T16:01:14.478" v="92" actId="1076"/>
          <ac:spMkLst>
            <pc:docMk/>
            <pc:sldMk cId="3428271215" sldId="2147483171"/>
            <ac:spMk id="762" creationId="{75C9FFB5-0D15-C44D-2C2A-4AFF18007EA4}"/>
          </ac:spMkLst>
        </pc:spChg>
        <pc:spChg chg="mod">
          <ac:chgData name="DOSHI, Reena Hemendra" userId="a000f633-1554-4c76-9779-d0878cdbdb83" providerId="ADAL" clId="{318FACE6-3410-45EB-A6D2-8371413625B2}" dt="2024-09-10T16:01:14.478" v="92" actId="1076"/>
          <ac:spMkLst>
            <pc:docMk/>
            <pc:sldMk cId="3428271215" sldId="2147483171"/>
            <ac:spMk id="763" creationId="{D6C54B03-674A-8D25-8F94-496D00483B8B}"/>
          </ac:spMkLst>
        </pc:spChg>
        <pc:spChg chg="mod">
          <ac:chgData name="DOSHI, Reena Hemendra" userId="a000f633-1554-4c76-9779-d0878cdbdb83" providerId="ADAL" clId="{318FACE6-3410-45EB-A6D2-8371413625B2}" dt="2024-09-10T16:01:14.478" v="92" actId="1076"/>
          <ac:spMkLst>
            <pc:docMk/>
            <pc:sldMk cId="3428271215" sldId="2147483171"/>
            <ac:spMk id="764" creationId="{339EC6D9-2B1D-29FE-A4B2-02DD3C549DA9}"/>
          </ac:spMkLst>
        </pc:spChg>
        <pc:spChg chg="mod">
          <ac:chgData name="DOSHI, Reena Hemendra" userId="a000f633-1554-4c76-9779-d0878cdbdb83" providerId="ADAL" clId="{318FACE6-3410-45EB-A6D2-8371413625B2}" dt="2024-09-10T16:01:14.478" v="92" actId="1076"/>
          <ac:spMkLst>
            <pc:docMk/>
            <pc:sldMk cId="3428271215" sldId="2147483171"/>
            <ac:spMk id="765" creationId="{AB6256F9-CE17-1B38-6AE0-08ADB2511F73}"/>
          </ac:spMkLst>
        </pc:spChg>
        <pc:spChg chg="mod">
          <ac:chgData name="DOSHI, Reena Hemendra" userId="a000f633-1554-4c76-9779-d0878cdbdb83" providerId="ADAL" clId="{318FACE6-3410-45EB-A6D2-8371413625B2}" dt="2024-09-10T16:01:14.478" v="92" actId="1076"/>
          <ac:spMkLst>
            <pc:docMk/>
            <pc:sldMk cId="3428271215" sldId="2147483171"/>
            <ac:spMk id="766" creationId="{CF47015F-3261-2D67-E116-58B9B7516C24}"/>
          </ac:spMkLst>
        </pc:spChg>
        <pc:spChg chg="mod">
          <ac:chgData name="DOSHI, Reena Hemendra" userId="a000f633-1554-4c76-9779-d0878cdbdb83" providerId="ADAL" clId="{318FACE6-3410-45EB-A6D2-8371413625B2}" dt="2024-09-10T16:01:14.478" v="92" actId="1076"/>
          <ac:spMkLst>
            <pc:docMk/>
            <pc:sldMk cId="3428271215" sldId="2147483171"/>
            <ac:spMk id="767" creationId="{D005226B-F9AD-8DD6-7BCC-7D9F1A94C2DF}"/>
          </ac:spMkLst>
        </pc:spChg>
        <pc:spChg chg="mod">
          <ac:chgData name="DOSHI, Reena Hemendra" userId="a000f633-1554-4c76-9779-d0878cdbdb83" providerId="ADAL" clId="{318FACE6-3410-45EB-A6D2-8371413625B2}" dt="2024-09-10T16:01:14.478" v="92" actId="1076"/>
          <ac:spMkLst>
            <pc:docMk/>
            <pc:sldMk cId="3428271215" sldId="2147483171"/>
            <ac:spMk id="768" creationId="{8EA3D594-7218-DA74-9A6F-C83307C5AB9C}"/>
          </ac:spMkLst>
        </pc:spChg>
        <pc:spChg chg="mod">
          <ac:chgData name="DOSHI, Reena Hemendra" userId="a000f633-1554-4c76-9779-d0878cdbdb83" providerId="ADAL" clId="{318FACE6-3410-45EB-A6D2-8371413625B2}" dt="2024-09-10T16:01:14.478" v="92" actId="1076"/>
          <ac:spMkLst>
            <pc:docMk/>
            <pc:sldMk cId="3428271215" sldId="2147483171"/>
            <ac:spMk id="769" creationId="{C6BA3D6E-2AA5-3FD0-8592-3C5837C2E77A}"/>
          </ac:spMkLst>
        </pc:spChg>
        <pc:spChg chg="mod">
          <ac:chgData name="DOSHI, Reena Hemendra" userId="a000f633-1554-4c76-9779-d0878cdbdb83" providerId="ADAL" clId="{318FACE6-3410-45EB-A6D2-8371413625B2}" dt="2024-09-10T16:01:14.478" v="92" actId="1076"/>
          <ac:spMkLst>
            <pc:docMk/>
            <pc:sldMk cId="3428271215" sldId="2147483171"/>
            <ac:spMk id="770" creationId="{E7478CC1-37E9-DFB1-4873-21B282A22061}"/>
          </ac:spMkLst>
        </pc:spChg>
        <pc:spChg chg="mod">
          <ac:chgData name="DOSHI, Reena Hemendra" userId="a000f633-1554-4c76-9779-d0878cdbdb83" providerId="ADAL" clId="{318FACE6-3410-45EB-A6D2-8371413625B2}" dt="2024-09-10T16:01:14.478" v="92" actId="1076"/>
          <ac:spMkLst>
            <pc:docMk/>
            <pc:sldMk cId="3428271215" sldId="2147483171"/>
            <ac:spMk id="771" creationId="{6559698B-7D62-F114-CD32-0B152A567BAB}"/>
          </ac:spMkLst>
        </pc:spChg>
        <pc:spChg chg="mod">
          <ac:chgData name="DOSHI, Reena Hemendra" userId="a000f633-1554-4c76-9779-d0878cdbdb83" providerId="ADAL" clId="{318FACE6-3410-45EB-A6D2-8371413625B2}" dt="2024-09-10T16:01:14.478" v="92" actId="1076"/>
          <ac:spMkLst>
            <pc:docMk/>
            <pc:sldMk cId="3428271215" sldId="2147483171"/>
            <ac:spMk id="772" creationId="{5ACB809A-47F2-7B8A-FFBF-B23B16CD8AB2}"/>
          </ac:spMkLst>
        </pc:spChg>
        <pc:spChg chg="mod">
          <ac:chgData name="DOSHI, Reena Hemendra" userId="a000f633-1554-4c76-9779-d0878cdbdb83" providerId="ADAL" clId="{318FACE6-3410-45EB-A6D2-8371413625B2}" dt="2024-09-10T16:01:14.478" v="92" actId="1076"/>
          <ac:spMkLst>
            <pc:docMk/>
            <pc:sldMk cId="3428271215" sldId="2147483171"/>
            <ac:spMk id="773" creationId="{A276BEC5-BD18-B811-C608-12C5F9045F2F}"/>
          </ac:spMkLst>
        </pc:spChg>
        <pc:spChg chg="mod">
          <ac:chgData name="DOSHI, Reena Hemendra" userId="a000f633-1554-4c76-9779-d0878cdbdb83" providerId="ADAL" clId="{318FACE6-3410-45EB-A6D2-8371413625B2}" dt="2024-09-10T16:01:14.478" v="92" actId="1076"/>
          <ac:spMkLst>
            <pc:docMk/>
            <pc:sldMk cId="3428271215" sldId="2147483171"/>
            <ac:spMk id="774" creationId="{54383276-9B12-0CDD-3BA9-E03240FB6E9A}"/>
          </ac:spMkLst>
        </pc:spChg>
        <pc:spChg chg="mod">
          <ac:chgData name="DOSHI, Reena Hemendra" userId="a000f633-1554-4c76-9779-d0878cdbdb83" providerId="ADAL" clId="{318FACE6-3410-45EB-A6D2-8371413625B2}" dt="2024-09-10T16:01:14.478" v="92" actId="1076"/>
          <ac:spMkLst>
            <pc:docMk/>
            <pc:sldMk cId="3428271215" sldId="2147483171"/>
            <ac:spMk id="775" creationId="{C8690824-3677-2974-D3FA-8544C44F84A6}"/>
          </ac:spMkLst>
        </pc:spChg>
        <pc:spChg chg="mod">
          <ac:chgData name="DOSHI, Reena Hemendra" userId="a000f633-1554-4c76-9779-d0878cdbdb83" providerId="ADAL" clId="{318FACE6-3410-45EB-A6D2-8371413625B2}" dt="2024-09-10T16:01:14.478" v="92" actId="1076"/>
          <ac:spMkLst>
            <pc:docMk/>
            <pc:sldMk cId="3428271215" sldId="2147483171"/>
            <ac:spMk id="776" creationId="{E5662CF8-5497-677D-C179-C5C4276F13DB}"/>
          </ac:spMkLst>
        </pc:spChg>
        <pc:spChg chg="mod">
          <ac:chgData name="DOSHI, Reena Hemendra" userId="a000f633-1554-4c76-9779-d0878cdbdb83" providerId="ADAL" clId="{318FACE6-3410-45EB-A6D2-8371413625B2}" dt="2024-09-10T16:01:14.478" v="92" actId="1076"/>
          <ac:spMkLst>
            <pc:docMk/>
            <pc:sldMk cId="3428271215" sldId="2147483171"/>
            <ac:spMk id="777" creationId="{AFF0DE29-C3BE-E48A-A7E1-FC7BDBD60D71}"/>
          </ac:spMkLst>
        </pc:spChg>
        <pc:spChg chg="mod">
          <ac:chgData name="DOSHI, Reena Hemendra" userId="a000f633-1554-4c76-9779-d0878cdbdb83" providerId="ADAL" clId="{318FACE6-3410-45EB-A6D2-8371413625B2}" dt="2024-09-10T16:01:14.478" v="92" actId="1076"/>
          <ac:spMkLst>
            <pc:docMk/>
            <pc:sldMk cId="3428271215" sldId="2147483171"/>
            <ac:spMk id="778" creationId="{7D8FA19B-93E8-31F4-DDE5-C9449D1DAAD1}"/>
          </ac:spMkLst>
        </pc:spChg>
        <pc:spChg chg="mod">
          <ac:chgData name="DOSHI, Reena Hemendra" userId="a000f633-1554-4c76-9779-d0878cdbdb83" providerId="ADAL" clId="{318FACE6-3410-45EB-A6D2-8371413625B2}" dt="2024-09-10T16:01:14.478" v="92" actId="1076"/>
          <ac:spMkLst>
            <pc:docMk/>
            <pc:sldMk cId="3428271215" sldId="2147483171"/>
            <ac:spMk id="779" creationId="{DA973916-AA7E-AFE8-AD10-D7AE1A7CDF2B}"/>
          </ac:spMkLst>
        </pc:spChg>
        <pc:spChg chg="mod">
          <ac:chgData name="DOSHI, Reena Hemendra" userId="a000f633-1554-4c76-9779-d0878cdbdb83" providerId="ADAL" clId="{318FACE6-3410-45EB-A6D2-8371413625B2}" dt="2024-09-10T16:01:14.478" v="92" actId="1076"/>
          <ac:spMkLst>
            <pc:docMk/>
            <pc:sldMk cId="3428271215" sldId="2147483171"/>
            <ac:spMk id="780" creationId="{12D7FEA2-F8B4-7A66-8E01-F9FAA222D90D}"/>
          </ac:spMkLst>
        </pc:spChg>
        <pc:spChg chg="mod">
          <ac:chgData name="DOSHI, Reena Hemendra" userId="a000f633-1554-4c76-9779-d0878cdbdb83" providerId="ADAL" clId="{318FACE6-3410-45EB-A6D2-8371413625B2}" dt="2024-09-10T16:01:14.478" v="92" actId="1076"/>
          <ac:spMkLst>
            <pc:docMk/>
            <pc:sldMk cId="3428271215" sldId="2147483171"/>
            <ac:spMk id="781" creationId="{F8F1BC08-5D12-D117-FD1B-3358AA094AAD}"/>
          </ac:spMkLst>
        </pc:spChg>
        <pc:spChg chg="mod">
          <ac:chgData name="DOSHI, Reena Hemendra" userId="a000f633-1554-4c76-9779-d0878cdbdb83" providerId="ADAL" clId="{318FACE6-3410-45EB-A6D2-8371413625B2}" dt="2024-09-10T16:01:14.478" v="92" actId="1076"/>
          <ac:spMkLst>
            <pc:docMk/>
            <pc:sldMk cId="3428271215" sldId="2147483171"/>
            <ac:spMk id="782" creationId="{A2787E35-2E27-C672-5BD9-28EC320D5A3A}"/>
          </ac:spMkLst>
        </pc:spChg>
        <pc:spChg chg="mod">
          <ac:chgData name="DOSHI, Reena Hemendra" userId="a000f633-1554-4c76-9779-d0878cdbdb83" providerId="ADAL" clId="{318FACE6-3410-45EB-A6D2-8371413625B2}" dt="2024-09-10T16:01:14.478" v="92" actId="1076"/>
          <ac:spMkLst>
            <pc:docMk/>
            <pc:sldMk cId="3428271215" sldId="2147483171"/>
            <ac:spMk id="829" creationId="{5FCE03CF-A2E5-21F7-6EB9-630DC0D2DD82}"/>
          </ac:spMkLst>
        </pc:spChg>
        <pc:grpChg chg="mod">
          <ac:chgData name="DOSHI, Reena Hemendra" userId="a000f633-1554-4c76-9779-d0878cdbdb83" providerId="ADAL" clId="{318FACE6-3410-45EB-A6D2-8371413625B2}" dt="2024-09-10T16:01:49.975" v="97" actId="14100"/>
          <ac:grpSpMkLst>
            <pc:docMk/>
            <pc:sldMk cId="3428271215" sldId="2147483171"/>
            <ac:grpSpMk id="5" creationId="{B9E7A84E-43C4-4C28-83E8-613F01CCEF3F}"/>
          </ac:grpSpMkLst>
        </pc:grpChg>
        <pc:grpChg chg="mod">
          <ac:chgData name="DOSHI, Reena Hemendra" userId="a000f633-1554-4c76-9779-d0878cdbdb83" providerId="ADAL" clId="{318FACE6-3410-45EB-A6D2-8371413625B2}" dt="2024-09-10T16:01:14.478" v="92" actId="1076"/>
          <ac:grpSpMkLst>
            <pc:docMk/>
            <pc:sldMk cId="3428271215" sldId="2147483171"/>
            <ac:grpSpMk id="607" creationId="{A5512D53-2A4A-7ECA-5037-AAE4A26BA6AF}"/>
          </ac:grpSpMkLst>
        </pc:grpChg>
        <pc:grpChg chg="mod">
          <ac:chgData name="DOSHI, Reena Hemendra" userId="a000f633-1554-4c76-9779-d0878cdbdb83" providerId="ADAL" clId="{318FACE6-3410-45EB-A6D2-8371413625B2}" dt="2024-09-10T16:01:14.478" v="92" actId="1076"/>
          <ac:grpSpMkLst>
            <pc:docMk/>
            <pc:sldMk cId="3428271215" sldId="2147483171"/>
            <ac:grpSpMk id="610" creationId="{08EC791E-270B-1BC1-1777-42E9AFF5C6E6}"/>
          </ac:grpSpMkLst>
        </pc:grpChg>
        <pc:grpChg chg="mod">
          <ac:chgData name="DOSHI, Reena Hemendra" userId="a000f633-1554-4c76-9779-d0878cdbdb83" providerId="ADAL" clId="{318FACE6-3410-45EB-A6D2-8371413625B2}" dt="2024-09-10T16:01:18.855" v="93" actId="1076"/>
          <ac:grpSpMkLst>
            <pc:docMk/>
            <pc:sldMk cId="3428271215" sldId="2147483171"/>
            <ac:grpSpMk id="783" creationId="{A8964CD6-D858-B39A-691B-C9508A4C9312}"/>
          </ac:grpSpMkLst>
        </pc:grpChg>
        <pc:grpChg chg="mod">
          <ac:chgData name="DOSHI, Reena Hemendra" userId="a000f633-1554-4c76-9779-d0878cdbdb83" providerId="ADAL" clId="{318FACE6-3410-45EB-A6D2-8371413625B2}" dt="2024-09-10T16:01:23.581" v="94" actId="1076"/>
          <ac:grpSpMkLst>
            <pc:docMk/>
            <pc:sldMk cId="3428271215" sldId="2147483171"/>
            <ac:grpSpMk id="788" creationId="{2B0C4C20-F35E-DEE4-0CDB-C4A12EC5EC22}"/>
          </ac:grpSpMkLst>
        </pc:grpChg>
        <pc:grpChg chg="mod">
          <ac:chgData name="DOSHI, Reena Hemendra" userId="a000f633-1554-4c76-9779-d0878cdbdb83" providerId="ADAL" clId="{318FACE6-3410-45EB-A6D2-8371413625B2}" dt="2024-09-10T16:01:30.759" v="95" actId="1076"/>
          <ac:grpSpMkLst>
            <pc:docMk/>
            <pc:sldMk cId="3428271215" sldId="2147483171"/>
            <ac:grpSpMk id="810" creationId="{E835D5DA-CDA9-B8B7-4AD7-FDC25D78984F}"/>
          </ac:grpSpMkLst>
        </pc:grpChg>
        <pc:grpChg chg="mod">
          <ac:chgData name="DOSHI, Reena Hemendra" userId="a000f633-1554-4c76-9779-d0878cdbdb83" providerId="ADAL" clId="{318FACE6-3410-45EB-A6D2-8371413625B2}" dt="2024-09-10T16:01:14.478" v="92" actId="1076"/>
          <ac:grpSpMkLst>
            <pc:docMk/>
            <pc:sldMk cId="3428271215" sldId="2147483171"/>
            <ac:grpSpMk id="830" creationId="{97C4A23F-F39E-042F-EB03-00AA31F26819}"/>
          </ac:grpSpMkLst>
        </pc:grpChg>
        <pc:graphicFrameChg chg="mod">
          <ac:chgData name="DOSHI, Reena Hemendra" userId="a000f633-1554-4c76-9779-d0878cdbdb83" providerId="ADAL" clId="{318FACE6-3410-45EB-A6D2-8371413625B2}" dt="2024-09-10T15:59:48.229" v="91" actId="1076"/>
          <ac:graphicFrameMkLst>
            <pc:docMk/>
            <pc:sldMk cId="3428271215" sldId="2147483171"/>
            <ac:graphicFrameMk id="16" creationId="{F8D3813D-5DCE-0C84-3535-1A05582C616D}"/>
          </ac:graphicFrameMkLst>
        </pc:graphicFrameChg>
        <pc:picChg chg="mod">
          <ac:chgData name="DOSHI, Reena Hemendra" userId="a000f633-1554-4c76-9779-d0878cdbdb83" providerId="ADAL" clId="{318FACE6-3410-45EB-A6D2-8371413625B2}" dt="2024-09-10T16:01:14.478" v="92" actId="1076"/>
          <ac:picMkLst>
            <pc:docMk/>
            <pc:sldMk cId="3428271215" sldId="2147483171"/>
            <ac:picMk id="608" creationId="{392E4476-D472-4C58-85A7-91E8457DF8B1}"/>
          </ac:picMkLst>
        </pc:picChg>
        <pc:picChg chg="mod">
          <ac:chgData name="DOSHI, Reena Hemendra" userId="a000f633-1554-4c76-9779-d0878cdbdb83" providerId="ADAL" clId="{318FACE6-3410-45EB-A6D2-8371413625B2}" dt="2024-09-10T16:01:14.478" v="92" actId="1076"/>
          <ac:picMkLst>
            <pc:docMk/>
            <pc:sldMk cId="3428271215" sldId="2147483171"/>
            <ac:picMk id="611" creationId="{8C830A90-54DD-8DFA-8143-5AD6821B6C39}"/>
          </ac:picMkLst>
        </pc:picChg>
        <pc:picChg chg="mod">
          <ac:chgData name="DOSHI, Reena Hemendra" userId="a000f633-1554-4c76-9779-d0878cdbdb83" providerId="ADAL" clId="{318FACE6-3410-45EB-A6D2-8371413625B2}" dt="2024-09-10T16:01:14.478" v="92" actId="1076"/>
          <ac:picMkLst>
            <pc:docMk/>
            <pc:sldMk cId="3428271215" sldId="2147483171"/>
            <ac:picMk id="612" creationId="{177B3B30-DC68-D7BA-79A6-FA42FADB7A8B}"/>
          </ac:picMkLst>
        </pc:picChg>
        <pc:picChg chg="mod">
          <ac:chgData name="DOSHI, Reena Hemendra" userId="a000f633-1554-4c76-9779-d0878cdbdb83" providerId="ADAL" clId="{318FACE6-3410-45EB-A6D2-8371413625B2}" dt="2024-09-10T16:01:14.478" v="92" actId="1076"/>
          <ac:picMkLst>
            <pc:docMk/>
            <pc:sldMk cId="3428271215" sldId="2147483171"/>
            <ac:picMk id="613" creationId="{F38DAB2D-7400-5099-C22B-B39A23C1FC68}"/>
          </ac:picMkLst>
        </pc:picChg>
        <pc:picChg chg="mod">
          <ac:chgData name="DOSHI, Reena Hemendra" userId="a000f633-1554-4c76-9779-d0878cdbdb83" providerId="ADAL" clId="{318FACE6-3410-45EB-A6D2-8371413625B2}" dt="2024-09-10T15:51:49.241" v="72" actId="1076"/>
          <ac:picMkLst>
            <pc:docMk/>
            <pc:sldMk cId="3428271215" sldId="2147483171"/>
            <ac:picMk id="828" creationId="{E8B570C4-10FA-30C6-2E9A-7A85326FD06D}"/>
          </ac:picMkLst>
        </pc:picChg>
      </pc:sldChg>
      <pc:sldChg chg="addSp modSp mod chgLayout">
        <pc:chgData name="DOSHI, Reena Hemendra" userId="a000f633-1554-4c76-9779-d0878cdbdb83" providerId="ADAL" clId="{318FACE6-3410-45EB-A6D2-8371413625B2}" dt="2024-09-10T15:48:52.445" v="61" actId="1076"/>
        <pc:sldMkLst>
          <pc:docMk/>
          <pc:sldMk cId="3076320606" sldId="2147483174"/>
        </pc:sldMkLst>
        <pc:spChg chg="add mod">
          <ac:chgData name="DOSHI, Reena Hemendra" userId="a000f633-1554-4c76-9779-d0878cdbdb83" providerId="ADAL" clId="{318FACE6-3410-45EB-A6D2-8371413625B2}" dt="2024-09-02T14:36:24.063" v="57" actId="571"/>
          <ac:spMkLst>
            <pc:docMk/>
            <pc:sldMk cId="3076320606" sldId="2147483174"/>
            <ac:spMk id="2" creationId="{5B79C6C2-65E1-33D5-F2EB-F0139B9CC317}"/>
          </ac:spMkLst>
        </pc:spChg>
        <pc:spChg chg="mod ord">
          <ac:chgData name="DOSHI, Reena Hemendra" userId="a000f633-1554-4c76-9779-d0878cdbdb83" providerId="ADAL" clId="{318FACE6-3410-45EB-A6D2-8371413625B2}" dt="2024-09-10T15:48:49.653" v="60" actId="14100"/>
          <ac:spMkLst>
            <pc:docMk/>
            <pc:sldMk cId="3076320606" sldId="2147483174"/>
            <ac:spMk id="3" creationId="{00000000-0000-0000-0000-000000000000}"/>
          </ac:spMkLst>
        </pc:spChg>
        <pc:spChg chg="add mod">
          <ac:chgData name="DOSHI, Reena Hemendra" userId="a000f633-1554-4c76-9779-d0878cdbdb83" providerId="ADAL" clId="{318FACE6-3410-45EB-A6D2-8371413625B2}" dt="2024-09-02T14:36:23.176" v="56" actId="571"/>
          <ac:spMkLst>
            <pc:docMk/>
            <pc:sldMk cId="3076320606" sldId="2147483174"/>
            <ac:spMk id="5" creationId="{FC35C489-3DC2-D0C6-C381-2D00F35BEC54}"/>
          </ac:spMkLst>
        </pc:spChg>
        <pc:spChg chg="mod ord">
          <ac:chgData name="DOSHI, Reena Hemendra" userId="a000f633-1554-4c76-9779-d0878cdbdb83" providerId="ADAL" clId="{318FACE6-3410-45EB-A6D2-8371413625B2}" dt="2024-09-10T15:48:45.986" v="59" actId="700"/>
          <ac:spMkLst>
            <pc:docMk/>
            <pc:sldMk cId="3076320606" sldId="2147483174"/>
            <ac:spMk id="16" creationId="{00000000-0000-0000-0000-000000000000}"/>
          </ac:spMkLst>
        </pc:spChg>
        <pc:picChg chg="add mod">
          <ac:chgData name="DOSHI, Reena Hemendra" userId="a000f633-1554-4c76-9779-d0878cdbdb83" providerId="ADAL" clId="{318FACE6-3410-45EB-A6D2-8371413625B2}" dt="2024-09-02T14:36:23.176" v="56" actId="571"/>
          <ac:picMkLst>
            <pc:docMk/>
            <pc:sldMk cId="3076320606" sldId="2147483174"/>
            <ac:picMk id="4" creationId="{9050BECB-6A27-A7EF-0DFF-38CA35EE96F9}"/>
          </ac:picMkLst>
        </pc:picChg>
        <pc:picChg chg="mod">
          <ac:chgData name="DOSHI, Reena Hemendra" userId="a000f633-1554-4c76-9779-d0878cdbdb83" providerId="ADAL" clId="{318FACE6-3410-45EB-A6D2-8371413625B2}" dt="2024-09-10T15:48:52.445" v="61" actId="1076"/>
          <ac:picMkLst>
            <pc:docMk/>
            <pc:sldMk cId="3076320606" sldId="2147483174"/>
            <ac:picMk id="25" creationId="{4EEF927D-2399-9650-69FB-987A0406882B}"/>
          </ac:picMkLst>
        </pc:picChg>
      </pc:sldChg>
      <pc:sldChg chg="modSp mod chgLayout">
        <pc:chgData name="DOSHI, Reena Hemendra" userId="a000f633-1554-4c76-9779-d0878cdbdb83" providerId="ADAL" clId="{318FACE6-3410-45EB-A6D2-8371413625B2}" dt="2024-09-10T16:19:54.450" v="134" actId="700"/>
        <pc:sldMkLst>
          <pc:docMk/>
          <pc:sldMk cId="842019058" sldId="2147483176"/>
        </pc:sldMkLst>
        <pc:spChg chg="mod ord">
          <ac:chgData name="DOSHI, Reena Hemendra" userId="a000f633-1554-4c76-9779-d0878cdbdb83" providerId="ADAL" clId="{318FACE6-3410-45EB-A6D2-8371413625B2}" dt="2024-09-10T16:19:54.450" v="134" actId="700"/>
          <ac:spMkLst>
            <pc:docMk/>
            <pc:sldMk cId="842019058" sldId="2147483176"/>
            <ac:spMk id="2" creationId="{F8BE5CDD-B82C-5C08-ECC8-E043EF39480E}"/>
          </ac:spMkLst>
        </pc:spChg>
        <pc:spChg chg="mod ord">
          <ac:chgData name="DOSHI, Reena Hemendra" userId="a000f633-1554-4c76-9779-d0878cdbdb83" providerId="ADAL" clId="{318FACE6-3410-45EB-A6D2-8371413625B2}" dt="2024-09-10T16:19:54.450" v="134" actId="700"/>
          <ac:spMkLst>
            <pc:docMk/>
            <pc:sldMk cId="842019058" sldId="2147483176"/>
            <ac:spMk id="3" creationId="{1B056966-79D6-6EB2-B0CB-2AAD9D84C21B}"/>
          </ac:spMkLst>
        </pc:spChg>
      </pc:sldChg>
    </pc:docChg>
  </pc:docChgLst>
  <pc:docChgLst>
    <pc:chgData name="BAGAYOKO, Aminata" userId="S::abagayoko@who.int::af29668f-d808-46bb-8875-ad77a3a2fd81" providerId="AD" clId="Web-{3BF2F5A3-4472-ABF4-012F-737ECD391969}"/>
    <pc:docChg chg="modSld">
      <pc:chgData name="BAGAYOKO, Aminata" userId="S::abagayoko@who.int::af29668f-d808-46bb-8875-ad77a3a2fd81" providerId="AD" clId="Web-{3BF2F5A3-4472-ABF4-012F-737ECD391969}" dt="2024-09-11T14:53:52.861" v="14" actId="1076"/>
      <pc:docMkLst>
        <pc:docMk/>
      </pc:docMkLst>
      <pc:sldChg chg="modSp">
        <pc:chgData name="BAGAYOKO, Aminata" userId="S::abagayoko@who.int::af29668f-d808-46bb-8875-ad77a3a2fd81" providerId="AD" clId="Web-{3BF2F5A3-4472-ABF4-012F-737ECD391969}" dt="2024-09-11T14:50:18.400" v="1" actId="20577"/>
        <pc:sldMkLst>
          <pc:docMk/>
          <pc:sldMk cId="942245116" sldId="308"/>
        </pc:sldMkLst>
        <pc:spChg chg="mod">
          <ac:chgData name="BAGAYOKO, Aminata" userId="S::abagayoko@who.int::af29668f-d808-46bb-8875-ad77a3a2fd81" providerId="AD" clId="Web-{3BF2F5A3-4472-ABF4-012F-737ECD391969}" dt="2024-09-11T14:50:18.400" v="1" actId="20577"/>
          <ac:spMkLst>
            <pc:docMk/>
            <pc:sldMk cId="942245116" sldId="308"/>
            <ac:spMk id="3" creationId="{9E43FCA7-EA9F-1D8D-7091-0DA4AC8E08F2}"/>
          </ac:spMkLst>
        </pc:spChg>
      </pc:sldChg>
      <pc:sldChg chg="modSp">
        <pc:chgData name="BAGAYOKO, Aminata" userId="S::abagayoko@who.int::af29668f-d808-46bb-8875-ad77a3a2fd81" providerId="AD" clId="Web-{3BF2F5A3-4472-ABF4-012F-737ECD391969}" dt="2024-09-11T14:53:52.861" v="14" actId="1076"/>
        <pc:sldMkLst>
          <pc:docMk/>
          <pc:sldMk cId="332822174" sldId="1886"/>
        </pc:sldMkLst>
        <pc:spChg chg="mod">
          <ac:chgData name="BAGAYOKO, Aminata" userId="S::abagayoko@who.int::af29668f-d808-46bb-8875-ad77a3a2fd81" providerId="AD" clId="Web-{3BF2F5A3-4472-ABF4-012F-737ECD391969}" dt="2024-09-11T14:53:52.861" v="14" actId="1076"/>
          <ac:spMkLst>
            <pc:docMk/>
            <pc:sldMk cId="332822174" sldId="1886"/>
            <ac:spMk id="11" creationId="{EF05BEB1-E723-F0BC-7EBF-F1C92A62BA3E}"/>
          </ac:spMkLst>
        </pc:spChg>
        <pc:grpChg chg="mod">
          <ac:chgData name="BAGAYOKO, Aminata" userId="S::abagayoko@who.int::af29668f-d808-46bb-8875-ad77a3a2fd81" providerId="AD" clId="Web-{3BF2F5A3-4472-ABF4-012F-737ECD391969}" dt="2024-09-11T14:53:14.078" v="11" actId="1076"/>
          <ac:grpSpMkLst>
            <pc:docMk/>
            <pc:sldMk cId="332822174" sldId="1886"/>
            <ac:grpSpMk id="6" creationId="{46319E6D-6C3E-2F0B-78E9-CE449BDCB02E}"/>
          </ac:grpSpMkLst>
        </pc:grpChg>
      </pc:sldChg>
      <pc:sldChg chg="modSp">
        <pc:chgData name="BAGAYOKO, Aminata" userId="S::abagayoko@who.int::af29668f-d808-46bb-8875-ad77a3a2fd81" providerId="AD" clId="Web-{3BF2F5A3-4472-ABF4-012F-737ECD391969}" dt="2024-09-11T14:52:25.358" v="10" actId="20577"/>
        <pc:sldMkLst>
          <pc:docMk/>
          <pc:sldMk cId="1161321069" sldId="2147479236"/>
        </pc:sldMkLst>
        <pc:spChg chg="mod">
          <ac:chgData name="BAGAYOKO, Aminata" userId="S::abagayoko@who.int::af29668f-d808-46bb-8875-ad77a3a2fd81" providerId="AD" clId="Web-{3BF2F5A3-4472-ABF4-012F-737ECD391969}" dt="2024-09-11T14:52:25.358" v="10" actId="20577"/>
          <ac:spMkLst>
            <pc:docMk/>
            <pc:sldMk cId="1161321069" sldId="2147479236"/>
            <ac:spMk id="3" creationId="{DE025BE7-AAC7-0C82-CAA1-2CB2DEA4E078}"/>
          </ac:spMkLst>
        </pc:spChg>
      </pc:sldChg>
    </pc:docChg>
  </pc:docChgLst>
  <pc:docChgLst>
    <pc:chgData name="COSTA, Alejandro Javier" userId="S::costaa@who.int::824010de-59d8-40e2-875d-3d90f1e26cce" providerId="AD" clId="Web-{F79B69AD-F476-1126-3BE0-C6197745EDDC}"/>
    <pc:docChg chg="modSld">
      <pc:chgData name="COSTA, Alejandro Javier" userId="S::costaa@who.int::824010de-59d8-40e2-875d-3d90f1e26cce" providerId="AD" clId="Web-{F79B69AD-F476-1126-3BE0-C6197745EDDC}" dt="2024-07-10T13:56:43.207" v="3" actId="20577"/>
      <pc:docMkLst>
        <pc:docMk/>
      </pc:docMkLst>
      <pc:sldChg chg="modSp">
        <pc:chgData name="COSTA, Alejandro Javier" userId="S::costaa@who.int::824010de-59d8-40e2-875d-3d90f1e26cce" providerId="AD" clId="Web-{F79B69AD-F476-1126-3BE0-C6197745EDDC}" dt="2024-07-10T13:56:43.207" v="3" actId="20577"/>
        <pc:sldMkLst>
          <pc:docMk/>
          <pc:sldMk cId="1745541710" sldId="2147483186"/>
        </pc:sldMkLst>
        <pc:spChg chg="mod">
          <ac:chgData name="COSTA, Alejandro Javier" userId="S::costaa@who.int::824010de-59d8-40e2-875d-3d90f1e26cce" providerId="AD" clId="Web-{F79B69AD-F476-1126-3BE0-C6197745EDDC}" dt="2024-07-10T13:56:43.207" v="3" actId="20577"/>
          <ac:spMkLst>
            <pc:docMk/>
            <pc:sldMk cId="1745541710" sldId="2147483186"/>
            <ac:spMk id="3" creationId="{2DF7F4FA-6AF1-F377-4F5A-7DD4E341BF95}"/>
          </ac:spMkLst>
        </pc:spChg>
      </pc:sldChg>
    </pc:docChg>
  </pc:docChgLst>
  <pc:docChgLst>
    <pc:chgData name="DOSHI, Reena Hemendra" userId="S::rdoshi@who.int::a000f633-1554-4c76-9779-d0878cdbdb83" providerId="AD" clId="Web-{F7EE071E-3282-91E1-0C1C-45D3DF9C17F5}"/>
    <pc:docChg chg="modSld sldOrd">
      <pc:chgData name="DOSHI, Reena Hemendra" userId="S::rdoshi@who.int::a000f633-1554-4c76-9779-d0878cdbdb83" providerId="AD" clId="Web-{F7EE071E-3282-91E1-0C1C-45D3DF9C17F5}" dt="2024-07-09T09:45:49.881" v="1"/>
      <pc:docMkLst>
        <pc:docMk/>
      </pc:docMkLst>
      <pc:sldChg chg="modSp">
        <pc:chgData name="DOSHI, Reena Hemendra" userId="S::rdoshi@who.int::a000f633-1554-4c76-9779-d0878cdbdb83" providerId="AD" clId="Web-{F7EE071E-3282-91E1-0C1C-45D3DF9C17F5}" dt="2024-07-09T09:45:46.553" v="0" actId="20577"/>
        <pc:sldMkLst>
          <pc:docMk/>
          <pc:sldMk cId="3086809262" sldId="2147479239"/>
        </pc:sldMkLst>
        <pc:spChg chg="mod">
          <ac:chgData name="DOSHI, Reena Hemendra" userId="S::rdoshi@who.int::a000f633-1554-4c76-9779-d0878cdbdb83" providerId="AD" clId="Web-{F7EE071E-3282-91E1-0C1C-45D3DF9C17F5}" dt="2024-07-09T09:45:46.553" v="0" actId="20577"/>
          <ac:spMkLst>
            <pc:docMk/>
            <pc:sldMk cId="3086809262" sldId="2147479239"/>
            <ac:spMk id="5" creationId="{1C9F03E2-7637-4757-6AAC-601F26E467FE}"/>
          </ac:spMkLst>
        </pc:spChg>
      </pc:sldChg>
      <pc:sldChg chg="ord">
        <pc:chgData name="DOSHI, Reena Hemendra" userId="S::rdoshi@who.int::a000f633-1554-4c76-9779-d0878cdbdb83" providerId="AD" clId="Web-{F7EE071E-3282-91E1-0C1C-45D3DF9C17F5}" dt="2024-07-09T09:45:49.881" v="1"/>
        <pc:sldMkLst>
          <pc:docMk/>
          <pc:sldMk cId="990743743" sldId="2147483169"/>
        </pc:sldMkLst>
      </pc:sldChg>
    </pc:docChg>
  </pc:docChgLst>
  <pc:docChgLst>
    <pc:chgData name="DOSHI, Reena Hemendra" userId="S::rdoshi@who.int::a000f633-1554-4c76-9779-d0878cdbdb83" providerId="AD" clId="Web-{36C97739-C577-95D7-AFBF-3589B3FE8E26}"/>
    <pc:docChg chg="modSld">
      <pc:chgData name="DOSHI, Reena Hemendra" userId="S::rdoshi@who.int::a000f633-1554-4c76-9779-d0878cdbdb83" providerId="AD" clId="Web-{36C97739-C577-95D7-AFBF-3589B3FE8E26}" dt="2024-09-10T15:45:42.850" v="2" actId="20577"/>
      <pc:docMkLst>
        <pc:docMk/>
      </pc:docMkLst>
      <pc:sldChg chg="modSp">
        <pc:chgData name="DOSHI, Reena Hemendra" userId="S::rdoshi@who.int::a000f633-1554-4c76-9779-d0878cdbdb83" providerId="AD" clId="Web-{36C97739-C577-95D7-AFBF-3589B3FE8E26}" dt="2024-09-10T15:45:42.850" v="2" actId="20577"/>
        <pc:sldMkLst>
          <pc:docMk/>
          <pc:sldMk cId="1168008875" sldId="2147479212"/>
        </pc:sldMkLst>
        <pc:spChg chg="mod">
          <ac:chgData name="DOSHI, Reena Hemendra" userId="S::rdoshi@who.int::a000f633-1554-4c76-9779-d0878cdbdb83" providerId="AD" clId="Web-{36C97739-C577-95D7-AFBF-3589B3FE8E26}" dt="2024-09-10T15:45:42.850" v="2" actId="20577"/>
          <ac:spMkLst>
            <pc:docMk/>
            <pc:sldMk cId="1168008875" sldId="2147479212"/>
            <ac:spMk id="4" creationId="{B66F6E39-FF73-4813-0A69-7069FC8B26B6}"/>
          </ac:spMkLst>
        </pc:spChg>
      </pc:sldChg>
    </pc:docChg>
  </pc:docChgLst>
  <pc:docChgLst>
    <pc:chgData name="BAGAYOKO, Aminata" userId="S::abagayoko@who.int::af29668f-d808-46bb-8875-ad77a3a2fd81" providerId="AD" clId="Web-{7BECB04E-C646-809A-953F-3CA420FDC052}"/>
    <pc:docChg chg="modSld">
      <pc:chgData name="BAGAYOKO, Aminata" userId="S::abagayoko@who.int::af29668f-d808-46bb-8875-ad77a3a2fd81" providerId="AD" clId="Web-{7BECB04E-C646-809A-953F-3CA420FDC052}" dt="2024-09-09T12:03:27.274" v="170" actId="1076"/>
      <pc:docMkLst>
        <pc:docMk/>
      </pc:docMkLst>
      <pc:sldChg chg="modSp">
        <pc:chgData name="BAGAYOKO, Aminata" userId="S::abagayoko@who.int::af29668f-d808-46bb-8875-ad77a3a2fd81" providerId="AD" clId="Web-{7BECB04E-C646-809A-953F-3CA420FDC052}" dt="2024-09-09T10:24:22.799" v="107" actId="14100"/>
        <pc:sldMkLst>
          <pc:docMk/>
          <pc:sldMk cId="733445312" sldId="258"/>
        </pc:sldMkLst>
        <pc:spChg chg="mod">
          <ac:chgData name="BAGAYOKO, Aminata" userId="S::abagayoko@who.int::af29668f-d808-46bb-8875-ad77a3a2fd81" providerId="AD" clId="Web-{7BECB04E-C646-809A-953F-3CA420FDC052}" dt="2024-09-09T10:24:22.799" v="107" actId="14100"/>
          <ac:spMkLst>
            <pc:docMk/>
            <pc:sldMk cId="733445312" sldId="258"/>
            <ac:spMk id="3" creationId="{DE025BE7-AAC7-0C82-CAA1-2CB2DEA4E078}"/>
          </ac:spMkLst>
        </pc:spChg>
      </pc:sldChg>
      <pc:sldChg chg="modSp">
        <pc:chgData name="BAGAYOKO, Aminata" userId="S::abagayoko@who.int::af29668f-d808-46bb-8875-ad77a3a2fd81" providerId="AD" clId="Web-{7BECB04E-C646-809A-953F-3CA420FDC052}" dt="2024-09-09T10:23:09.297" v="102" actId="20577"/>
        <pc:sldMkLst>
          <pc:docMk/>
          <pc:sldMk cId="2561708093" sldId="294"/>
        </pc:sldMkLst>
        <pc:spChg chg="mod">
          <ac:chgData name="BAGAYOKO, Aminata" userId="S::abagayoko@who.int::af29668f-d808-46bb-8875-ad77a3a2fd81" providerId="AD" clId="Web-{7BECB04E-C646-809A-953F-3CA420FDC052}" dt="2024-09-09T10:23:09.297" v="102" actId="20577"/>
          <ac:spMkLst>
            <pc:docMk/>
            <pc:sldMk cId="2561708093" sldId="294"/>
            <ac:spMk id="4" creationId="{BA430783-1E88-4081-8170-ECD171DEEF89}"/>
          </ac:spMkLst>
        </pc:spChg>
      </pc:sldChg>
      <pc:sldChg chg="modSp">
        <pc:chgData name="BAGAYOKO, Aminata" userId="S::abagayoko@who.int::af29668f-d808-46bb-8875-ad77a3a2fd81" providerId="AD" clId="Web-{7BECB04E-C646-809A-953F-3CA420FDC052}" dt="2024-09-09T10:20:33.591" v="91" actId="14100"/>
        <pc:sldMkLst>
          <pc:docMk/>
          <pc:sldMk cId="3500017776" sldId="304"/>
        </pc:sldMkLst>
        <pc:spChg chg="mod">
          <ac:chgData name="BAGAYOKO, Aminata" userId="S::abagayoko@who.int::af29668f-d808-46bb-8875-ad77a3a2fd81" providerId="AD" clId="Web-{7BECB04E-C646-809A-953F-3CA420FDC052}" dt="2024-09-09T10:20:33.591" v="91" actId="14100"/>
          <ac:spMkLst>
            <pc:docMk/>
            <pc:sldMk cId="3500017776" sldId="304"/>
            <ac:spMk id="3" creationId="{00000000-0000-0000-0000-000000000000}"/>
          </ac:spMkLst>
        </pc:spChg>
        <pc:picChg chg="mod">
          <ac:chgData name="BAGAYOKO, Aminata" userId="S::abagayoko@who.int::af29668f-d808-46bb-8875-ad77a3a2fd81" providerId="AD" clId="Web-{7BECB04E-C646-809A-953F-3CA420FDC052}" dt="2024-09-09T10:20:29.419" v="90" actId="1076"/>
          <ac:picMkLst>
            <pc:docMk/>
            <pc:sldMk cId="3500017776" sldId="304"/>
            <ac:picMk id="5" creationId="{6FE6628F-2D75-1B20-13FC-268640DE82A1}"/>
          </ac:picMkLst>
        </pc:picChg>
      </pc:sldChg>
      <pc:sldChg chg="modSp">
        <pc:chgData name="BAGAYOKO, Aminata" userId="S::abagayoko@who.int::af29668f-d808-46bb-8875-ad77a3a2fd81" providerId="AD" clId="Web-{7BECB04E-C646-809A-953F-3CA420FDC052}" dt="2024-09-09T12:03:27.274" v="170" actId="1076"/>
        <pc:sldMkLst>
          <pc:docMk/>
          <pc:sldMk cId="3487203900" sldId="306"/>
        </pc:sldMkLst>
        <pc:spChg chg="mod">
          <ac:chgData name="BAGAYOKO, Aminata" userId="S::abagayoko@who.int::af29668f-d808-46bb-8875-ad77a3a2fd81" providerId="AD" clId="Web-{7BECB04E-C646-809A-953F-3CA420FDC052}" dt="2024-09-09T12:03:27.274" v="170" actId="1076"/>
          <ac:spMkLst>
            <pc:docMk/>
            <pc:sldMk cId="3487203900" sldId="306"/>
            <ac:spMk id="6" creationId="{C4AC5D1C-D733-C108-8CBF-AE0A358C4F55}"/>
          </ac:spMkLst>
        </pc:spChg>
        <pc:spChg chg="mod">
          <ac:chgData name="BAGAYOKO, Aminata" userId="S::abagayoko@who.int::af29668f-d808-46bb-8875-ad77a3a2fd81" providerId="AD" clId="Web-{7BECB04E-C646-809A-953F-3CA420FDC052}" dt="2024-09-09T11:35:37.630" v="147" actId="1076"/>
          <ac:spMkLst>
            <pc:docMk/>
            <pc:sldMk cId="3487203900" sldId="306"/>
            <ac:spMk id="9" creationId="{042C31F5-AA0B-07CA-84F6-454A2827E0CE}"/>
          </ac:spMkLst>
        </pc:spChg>
        <pc:spChg chg="mod">
          <ac:chgData name="BAGAYOKO, Aminata" userId="S::abagayoko@who.int::af29668f-d808-46bb-8875-ad77a3a2fd81" providerId="AD" clId="Web-{7BECB04E-C646-809A-953F-3CA420FDC052}" dt="2024-09-09T11:30:20.852" v="146" actId="1076"/>
          <ac:spMkLst>
            <pc:docMk/>
            <pc:sldMk cId="3487203900" sldId="306"/>
            <ac:spMk id="11" creationId="{84CC8C42-A708-0DBC-6348-1F417476DC76}"/>
          </ac:spMkLst>
        </pc:spChg>
        <pc:picChg chg="mod">
          <ac:chgData name="BAGAYOKO, Aminata" userId="S::abagayoko@who.int::af29668f-d808-46bb-8875-ad77a3a2fd81" providerId="AD" clId="Web-{7BECB04E-C646-809A-953F-3CA420FDC052}" dt="2024-09-09T11:35:40.380" v="148" actId="1076"/>
          <ac:picMkLst>
            <pc:docMk/>
            <pc:sldMk cId="3487203900" sldId="306"/>
            <ac:picMk id="4" creationId="{D822A431-A6CD-4718-AA7B-EFD0A145865C}"/>
          </ac:picMkLst>
        </pc:picChg>
      </pc:sldChg>
      <pc:sldChg chg="modSp">
        <pc:chgData name="BAGAYOKO, Aminata" userId="S::abagayoko@who.int::af29668f-d808-46bb-8875-ad77a3a2fd81" providerId="AD" clId="Web-{7BECB04E-C646-809A-953F-3CA420FDC052}" dt="2024-09-09T11:29:58.867" v="145" actId="14100"/>
        <pc:sldMkLst>
          <pc:docMk/>
          <pc:sldMk cId="942245116" sldId="308"/>
        </pc:sldMkLst>
        <pc:spChg chg="mod">
          <ac:chgData name="BAGAYOKO, Aminata" userId="S::abagayoko@who.int::af29668f-d808-46bb-8875-ad77a3a2fd81" providerId="AD" clId="Web-{7BECB04E-C646-809A-953F-3CA420FDC052}" dt="2024-09-09T11:29:58.867" v="145" actId="14100"/>
          <ac:spMkLst>
            <pc:docMk/>
            <pc:sldMk cId="942245116" sldId="308"/>
            <ac:spMk id="3" creationId="{9E43FCA7-EA9F-1D8D-7091-0DA4AC8E08F2}"/>
          </ac:spMkLst>
        </pc:spChg>
        <pc:picChg chg="mod">
          <ac:chgData name="BAGAYOKO, Aminata" userId="S::abagayoko@who.int::af29668f-d808-46bb-8875-ad77a3a2fd81" providerId="AD" clId="Web-{7BECB04E-C646-809A-953F-3CA420FDC052}" dt="2024-09-09T11:29:54.601" v="144" actId="1076"/>
          <ac:picMkLst>
            <pc:docMk/>
            <pc:sldMk cId="942245116" sldId="308"/>
            <ac:picMk id="4" creationId="{FE2DC659-78AB-AB26-D72B-78FE83D0811A}"/>
          </ac:picMkLst>
        </pc:picChg>
      </pc:sldChg>
      <pc:sldChg chg="modSp">
        <pc:chgData name="BAGAYOKO, Aminata" userId="S::abagayoko@who.int::af29668f-d808-46bb-8875-ad77a3a2fd81" providerId="AD" clId="Web-{7BECB04E-C646-809A-953F-3CA420FDC052}" dt="2024-09-09T11:20:21.391" v="121" actId="1076"/>
        <pc:sldMkLst>
          <pc:docMk/>
          <pc:sldMk cId="910066988" sldId="1245"/>
        </pc:sldMkLst>
        <pc:spChg chg="mod">
          <ac:chgData name="BAGAYOKO, Aminata" userId="S::abagayoko@who.int::af29668f-d808-46bb-8875-ad77a3a2fd81" providerId="AD" clId="Web-{7BECB04E-C646-809A-953F-3CA420FDC052}" dt="2024-09-09T10:25:58.098" v="108" actId="1076"/>
          <ac:spMkLst>
            <pc:docMk/>
            <pc:sldMk cId="910066988" sldId="1245"/>
            <ac:spMk id="37" creationId="{327087CF-1B02-4FFE-B3CE-B95BBC2B4462}"/>
          </ac:spMkLst>
        </pc:spChg>
        <pc:spChg chg="mod">
          <ac:chgData name="BAGAYOKO, Aminata" userId="S::abagayoko@who.int::af29668f-d808-46bb-8875-ad77a3a2fd81" providerId="AD" clId="Web-{7BECB04E-C646-809A-953F-3CA420FDC052}" dt="2024-09-09T11:19:57.968" v="119" actId="1076"/>
          <ac:spMkLst>
            <pc:docMk/>
            <pc:sldMk cId="910066988" sldId="1245"/>
            <ac:spMk id="45" creationId="{9BE4E94E-F117-4106-BB14-7261FF77D870}"/>
          </ac:spMkLst>
        </pc:spChg>
        <pc:spChg chg="mod">
          <ac:chgData name="BAGAYOKO, Aminata" userId="S::abagayoko@who.int::af29668f-d808-46bb-8875-ad77a3a2fd81" providerId="AD" clId="Web-{7BECB04E-C646-809A-953F-3CA420FDC052}" dt="2024-09-09T10:26:22.676" v="112" actId="1076"/>
          <ac:spMkLst>
            <pc:docMk/>
            <pc:sldMk cId="910066988" sldId="1245"/>
            <ac:spMk id="46" creationId="{8862FDFC-124B-4C52-9740-A57DB9AACB69}"/>
          </ac:spMkLst>
        </pc:spChg>
        <pc:spChg chg="mod">
          <ac:chgData name="BAGAYOKO, Aminata" userId="S::abagayoko@who.int::af29668f-d808-46bb-8875-ad77a3a2fd81" providerId="AD" clId="Web-{7BECB04E-C646-809A-953F-3CA420FDC052}" dt="2024-09-09T11:20:21.391" v="121" actId="1076"/>
          <ac:spMkLst>
            <pc:docMk/>
            <pc:sldMk cId="910066988" sldId="1245"/>
            <ac:spMk id="67" creationId="{E7FE1099-3A5C-422C-9B45-D6A88BCC1A66}"/>
          </ac:spMkLst>
        </pc:spChg>
        <pc:spChg chg="mod">
          <ac:chgData name="BAGAYOKO, Aminata" userId="S::abagayoko@who.int::af29668f-d808-46bb-8875-ad77a3a2fd81" providerId="AD" clId="Web-{7BECB04E-C646-809A-953F-3CA420FDC052}" dt="2024-09-09T11:20:05.812" v="120" actId="1076"/>
          <ac:spMkLst>
            <pc:docMk/>
            <pc:sldMk cId="910066988" sldId="1245"/>
            <ac:spMk id="68" creationId="{368E3C09-FF6D-4E75-BA66-250EBFD265E9}"/>
          </ac:spMkLst>
        </pc:spChg>
      </pc:sldChg>
      <pc:sldChg chg="modSp">
        <pc:chgData name="BAGAYOKO, Aminata" userId="S::abagayoko@who.int::af29668f-d808-46bb-8875-ad77a3a2fd81" providerId="AD" clId="Web-{7BECB04E-C646-809A-953F-3CA420FDC052}" dt="2024-09-09T11:40:36.329" v="164" actId="1076"/>
        <pc:sldMkLst>
          <pc:docMk/>
          <pc:sldMk cId="332822174" sldId="1886"/>
        </pc:sldMkLst>
        <pc:spChg chg="mod">
          <ac:chgData name="BAGAYOKO, Aminata" userId="S::abagayoko@who.int::af29668f-d808-46bb-8875-ad77a3a2fd81" providerId="AD" clId="Web-{7BECB04E-C646-809A-953F-3CA420FDC052}" dt="2024-09-09T11:40:36.329" v="164" actId="1076"/>
          <ac:spMkLst>
            <pc:docMk/>
            <pc:sldMk cId="332822174" sldId="1886"/>
            <ac:spMk id="11" creationId="{EF05BEB1-E723-F0BC-7EBF-F1C92A62BA3E}"/>
          </ac:spMkLst>
        </pc:spChg>
      </pc:sldChg>
      <pc:sldChg chg="modSp">
        <pc:chgData name="BAGAYOKO, Aminata" userId="S::abagayoko@who.int::af29668f-d808-46bb-8875-ad77a3a2fd81" providerId="AD" clId="Web-{7BECB04E-C646-809A-953F-3CA420FDC052}" dt="2024-09-09T10:14:26.521" v="83" actId="20577"/>
        <pc:sldMkLst>
          <pc:docMk/>
          <pc:sldMk cId="1168008875" sldId="2147479212"/>
        </pc:sldMkLst>
        <pc:spChg chg="mod">
          <ac:chgData name="BAGAYOKO, Aminata" userId="S::abagayoko@who.int::af29668f-d808-46bb-8875-ad77a3a2fd81" providerId="AD" clId="Web-{7BECB04E-C646-809A-953F-3CA420FDC052}" dt="2024-09-09T10:14:26.521" v="83" actId="20577"/>
          <ac:spMkLst>
            <pc:docMk/>
            <pc:sldMk cId="1168008875" sldId="2147479212"/>
            <ac:spMk id="2" creationId="{BA3FD7A7-8D94-3259-E229-AB23047BDC70}"/>
          </ac:spMkLst>
        </pc:spChg>
        <pc:spChg chg="mod">
          <ac:chgData name="BAGAYOKO, Aminata" userId="S::abagayoko@who.int::af29668f-d808-46bb-8875-ad77a3a2fd81" providerId="AD" clId="Web-{7BECB04E-C646-809A-953F-3CA420FDC052}" dt="2024-09-09T10:12:02.846" v="23" actId="20577"/>
          <ac:spMkLst>
            <pc:docMk/>
            <pc:sldMk cId="1168008875" sldId="2147479212"/>
            <ac:spMk id="4" creationId="{B66F6E39-FF73-4813-0A69-7069FC8B26B6}"/>
          </ac:spMkLst>
        </pc:spChg>
      </pc:sldChg>
      <pc:sldChg chg="modSp">
        <pc:chgData name="BAGAYOKO, Aminata" userId="S::abagayoko@who.int::af29668f-d808-46bb-8875-ad77a3a2fd81" providerId="AD" clId="Web-{7BECB04E-C646-809A-953F-3CA420FDC052}" dt="2024-09-09T10:31:48.480" v="115" actId="20577"/>
        <pc:sldMkLst>
          <pc:docMk/>
          <pc:sldMk cId="2296526247" sldId="2147479220"/>
        </pc:sldMkLst>
        <pc:spChg chg="mod">
          <ac:chgData name="BAGAYOKO, Aminata" userId="S::abagayoko@who.int::af29668f-d808-46bb-8875-ad77a3a2fd81" providerId="AD" clId="Web-{7BECB04E-C646-809A-953F-3CA420FDC052}" dt="2024-09-09T10:31:48.480" v="115" actId="20577"/>
          <ac:spMkLst>
            <pc:docMk/>
            <pc:sldMk cId="2296526247" sldId="2147479220"/>
            <ac:spMk id="3" creationId="{8DF6D4AB-CC87-EFDD-67EE-E896DFC02609}"/>
          </ac:spMkLst>
        </pc:spChg>
      </pc:sldChg>
      <pc:sldChg chg="modSp">
        <pc:chgData name="BAGAYOKO, Aminata" userId="S::abagayoko@who.int::af29668f-d808-46bb-8875-ad77a3a2fd81" providerId="AD" clId="Web-{7BECB04E-C646-809A-953F-3CA420FDC052}" dt="2024-09-09T11:37:31.275" v="151" actId="20577"/>
        <pc:sldMkLst>
          <pc:docMk/>
          <pc:sldMk cId="1161321069" sldId="2147479236"/>
        </pc:sldMkLst>
        <pc:spChg chg="mod">
          <ac:chgData name="BAGAYOKO, Aminata" userId="S::abagayoko@who.int::af29668f-d808-46bb-8875-ad77a3a2fd81" providerId="AD" clId="Web-{7BECB04E-C646-809A-953F-3CA420FDC052}" dt="2024-09-09T11:37:31.275" v="151" actId="20577"/>
          <ac:spMkLst>
            <pc:docMk/>
            <pc:sldMk cId="1161321069" sldId="2147479236"/>
            <ac:spMk id="3" creationId="{DE025BE7-AAC7-0C82-CAA1-2CB2DEA4E078}"/>
          </ac:spMkLst>
        </pc:spChg>
      </pc:sldChg>
      <pc:sldChg chg="modSp">
        <pc:chgData name="BAGAYOKO, Aminata" userId="S::abagayoko@who.int::af29668f-d808-46bb-8875-ad77a3a2fd81" providerId="AD" clId="Web-{7BECB04E-C646-809A-953F-3CA420FDC052}" dt="2024-09-09T11:39:23.155" v="163"/>
        <pc:sldMkLst>
          <pc:docMk/>
          <pc:sldMk cId="3395929020" sldId="2147479905"/>
        </pc:sldMkLst>
        <pc:graphicFrameChg chg="mod modGraphic">
          <ac:chgData name="BAGAYOKO, Aminata" userId="S::abagayoko@who.int::af29668f-d808-46bb-8875-ad77a3a2fd81" providerId="AD" clId="Web-{7BECB04E-C646-809A-953F-3CA420FDC052}" dt="2024-09-09T11:39:23.155" v="163"/>
          <ac:graphicFrameMkLst>
            <pc:docMk/>
            <pc:sldMk cId="3395929020" sldId="2147479905"/>
            <ac:graphicFrameMk id="4" creationId="{FB42ED14-6EC2-478D-A926-8D393882D9E7}"/>
          </ac:graphicFrameMkLst>
        </pc:graphicFrameChg>
      </pc:sldChg>
      <pc:sldChg chg="modSp">
        <pc:chgData name="BAGAYOKO, Aminata" userId="S::abagayoko@who.int::af29668f-d808-46bb-8875-ad77a3a2fd81" providerId="AD" clId="Web-{7BECB04E-C646-809A-953F-3CA420FDC052}" dt="2024-09-09T11:41:34.707" v="169" actId="14100"/>
        <pc:sldMkLst>
          <pc:docMk/>
          <pc:sldMk cId="2545257404" sldId="2147483125"/>
        </pc:sldMkLst>
        <pc:spChg chg="mod">
          <ac:chgData name="BAGAYOKO, Aminata" userId="S::abagayoko@who.int::af29668f-d808-46bb-8875-ad77a3a2fd81" providerId="AD" clId="Web-{7BECB04E-C646-809A-953F-3CA420FDC052}" dt="2024-09-09T11:41:16.800" v="166" actId="1076"/>
          <ac:spMkLst>
            <pc:docMk/>
            <pc:sldMk cId="2545257404" sldId="2147483125"/>
            <ac:spMk id="2" creationId="{95751DA7-208D-4856-8AD2-6F71E5767EE5}"/>
          </ac:spMkLst>
        </pc:spChg>
        <pc:spChg chg="mod">
          <ac:chgData name="BAGAYOKO, Aminata" userId="S::abagayoko@who.int::af29668f-d808-46bb-8875-ad77a3a2fd81" providerId="AD" clId="Web-{7BECB04E-C646-809A-953F-3CA420FDC052}" dt="2024-09-09T11:41:34.707" v="169" actId="14100"/>
          <ac:spMkLst>
            <pc:docMk/>
            <pc:sldMk cId="2545257404" sldId="2147483125"/>
            <ac:spMk id="10" creationId="{65EE224C-5D77-4B17-82BD-4A97066F9198}"/>
          </ac:spMkLst>
        </pc:spChg>
        <pc:graphicFrameChg chg="mod">
          <ac:chgData name="BAGAYOKO, Aminata" userId="S::abagayoko@who.int::af29668f-d808-46bb-8875-ad77a3a2fd81" providerId="AD" clId="Web-{7BECB04E-C646-809A-953F-3CA420FDC052}" dt="2024-09-09T11:41:19.925" v="167" actId="1076"/>
          <ac:graphicFrameMkLst>
            <pc:docMk/>
            <pc:sldMk cId="2545257404" sldId="2147483125"/>
            <ac:graphicFrameMk id="7" creationId="{2689612C-9282-432D-9465-7EA8412FEF42}"/>
          </ac:graphicFrameMkLst>
        </pc:graphicFrameChg>
      </pc:sldChg>
      <pc:sldChg chg="modSp">
        <pc:chgData name="BAGAYOKO, Aminata" userId="S::abagayoko@who.int::af29668f-d808-46bb-8875-ad77a3a2fd81" providerId="AD" clId="Web-{7BECB04E-C646-809A-953F-3CA420FDC052}" dt="2024-09-09T10:24:02.236" v="106"/>
        <pc:sldMkLst>
          <pc:docMk/>
          <pc:sldMk cId="3706631423" sldId="2147483134"/>
        </pc:sldMkLst>
        <pc:graphicFrameChg chg="mod modGraphic">
          <ac:chgData name="BAGAYOKO, Aminata" userId="S::abagayoko@who.int::af29668f-d808-46bb-8875-ad77a3a2fd81" providerId="AD" clId="Web-{7BECB04E-C646-809A-953F-3CA420FDC052}" dt="2024-09-09T10:24:02.236" v="106"/>
          <ac:graphicFrameMkLst>
            <pc:docMk/>
            <pc:sldMk cId="3706631423" sldId="2147483134"/>
            <ac:graphicFrameMk id="4" creationId="{CAE8F9A8-D786-4328-8917-AEC84B433E83}"/>
          </ac:graphicFrameMkLst>
        </pc:graphicFrameChg>
      </pc:sldChg>
      <pc:sldChg chg="modSp">
        <pc:chgData name="BAGAYOKO, Aminata" userId="S::abagayoko@who.int::af29668f-d808-46bb-8875-ad77a3a2fd81" providerId="AD" clId="Web-{7BECB04E-C646-809A-953F-3CA420FDC052}" dt="2024-09-09T10:21:23.358" v="97" actId="1076"/>
        <pc:sldMkLst>
          <pc:docMk/>
          <pc:sldMk cId="3428271215" sldId="2147483171"/>
        </pc:sldMkLst>
        <pc:spChg chg="mod">
          <ac:chgData name="BAGAYOKO, Aminata" userId="S::abagayoko@who.int::af29668f-d808-46bb-8875-ad77a3a2fd81" providerId="AD" clId="Web-{7BECB04E-C646-809A-953F-3CA420FDC052}" dt="2024-09-09T10:21:23.358" v="97" actId="1076"/>
          <ac:spMkLst>
            <pc:docMk/>
            <pc:sldMk cId="3428271215" sldId="2147483171"/>
            <ac:spMk id="3" creationId="{00000000-0000-0000-0000-000000000000}"/>
          </ac:spMkLst>
        </pc:spChg>
      </pc:sldChg>
      <pc:sldChg chg="modSp">
        <pc:chgData name="BAGAYOKO, Aminata" userId="S::abagayoko@who.int::af29668f-d808-46bb-8875-ad77a3a2fd81" providerId="AD" clId="Web-{7BECB04E-C646-809A-953F-3CA420FDC052}" dt="2024-09-09T10:21:02.967" v="96" actId="14100"/>
        <pc:sldMkLst>
          <pc:docMk/>
          <pc:sldMk cId="3076320606" sldId="2147483174"/>
        </pc:sldMkLst>
        <pc:spChg chg="mod">
          <ac:chgData name="BAGAYOKO, Aminata" userId="S::abagayoko@who.int::af29668f-d808-46bb-8875-ad77a3a2fd81" providerId="AD" clId="Web-{7BECB04E-C646-809A-953F-3CA420FDC052}" dt="2024-09-09T10:21:02.967" v="96" actId="14100"/>
          <ac:spMkLst>
            <pc:docMk/>
            <pc:sldMk cId="3076320606" sldId="2147483174"/>
            <ac:spMk id="3" creationId="{00000000-0000-0000-0000-000000000000}"/>
          </ac:spMkLst>
        </pc:spChg>
        <pc:picChg chg="mod">
          <ac:chgData name="BAGAYOKO, Aminata" userId="S::abagayoko@who.int::af29668f-d808-46bb-8875-ad77a3a2fd81" providerId="AD" clId="Web-{7BECB04E-C646-809A-953F-3CA420FDC052}" dt="2024-09-09T10:20:59.795" v="95" actId="1076"/>
          <ac:picMkLst>
            <pc:docMk/>
            <pc:sldMk cId="3076320606" sldId="2147483174"/>
            <ac:picMk id="25" creationId="{4EEF927D-2399-9650-69FB-987A0406882B}"/>
          </ac:picMkLst>
        </pc:picChg>
      </pc:sldChg>
      <pc:sldChg chg="modSp">
        <pc:chgData name="BAGAYOKO, Aminata" userId="S::abagayoko@who.int::af29668f-d808-46bb-8875-ad77a3a2fd81" providerId="AD" clId="Web-{7BECB04E-C646-809A-953F-3CA420FDC052}" dt="2024-09-09T10:53:24.574" v="117" actId="20577"/>
        <pc:sldMkLst>
          <pc:docMk/>
          <pc:sldMk cId="1745541710" sldId="2147483186"/>
        </pc:sldMkLst>
        <pc:spChg chg="mod">
          <ac:chgData name="BAGAYOKO, Aminata" userId="S::abagayoko@who.int::af29668f-d808-46bb-8875-ad77a3a2fd81" providerId="AD" clId="Web-{7BECB04E-C646-809A-953F-3CA420FDC052}" dt="2024-09-09T10:53:24.574" v="117" actId="20577"/>
          <ac:spMkLst>
            <pc:docMk/>
            <pc:sldMk cId="1745541710" sldId="2147483186"/>
            <ac:spMk id="3" creationId="{2DF7F4FA-6AF1-F377-4F5A-7DD4E341BF95}"/>
          </ac:spMkLst>
        </pc:spChg>
      </pc:sldChg>
    </pc:docChg>
  </pc:docChgLst>
  <pc:docChgLst>
    <pc:chgData name="BAGAYOKO, Aminata" userId="S::abagayoko@who.int::af29668f-d808-46bb-8875-ad77a3a2fd81" providerId="AD" clId="Web-{DDFABD57-55D9-BB81-9825-9F7178F13C2F}"/>
    <pc:docChg chg="modSld">
      <pc:chgData name="BAGAYOKO, Aminata" userId="S::abagayoko@who.int::af29668f-d808-46bb-8875-ad77a3a2fd81" providerId="AD" clId="Web-{DDFABD57-55D9-BB81-9825-9F7178F13C2F}" dt="2024-09-12T07:13:40.082" v="0" actId="20577"/>
      <pc:docMkLst>
        <pc:docMk/>
      </pc:docMkLst>
      <pc:sldChg chg="modSp">
        <pc:chgData name="BAGAYOKO, Aminata" userId="S::abagayoko@who.int::af29668f-d808-46bb-8875-ad77a3a2fd81" providerId="AD" clId="Web-{DDFABD57-55D9-BB81-9825-9F7178F13C2F}" dt="2024-09-12T07:13:40.082" v="0" actId="20577"/>
        <pc:sldMkLst>
          <pc:docMk/>
          <pc:sldMk cId="3086809262" sldId="2147479239"/>
        </pc:sldMkLst>
        <pc:spChg chg="mod">
          <ac:chgData name="BAGAYOKO, Aminata" userId="S::abagayoko@who.int::af29668f-d808-46bb-8875-ad77a3a2fd81" providerId="AD" clId="Web-{DDFABD57-55D9-BB81-9825-9F7178F13C2F}" dt="2024-09-12T07:13:40.082" v="0" actId="20577"/>
          <ac:spMkLst>
            <pc:docMk/>
            <pc:sldMk cId="3086809262" sldId="2147479239"/>
            <ac:spMk id="3" creationId="{5AEB5218-9DA8-09C8-5B23-909EC4BCB35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395E42-0958-4D53-8970-1D0A1DA4F159}" type="doc">
      <dgm:prSet loTypeId="urn:microsoft.com/office/officeart/2005/8/layout/hList1" loCatId="list" qsTypeId="urn:microsoft.com/office/officeart/2005/8/quickstyle/simple1" qsCatId="simple" csTypeId="urn:microsoft.com/office/officeart/2005/8/colors/accent1_2" csCatId="accent1" phldr="1"/>
      <dgm:spPr/>
      <dgm:t>
        <a:bodyPr rtlCol="0"/>
        <a:lstStyle/>
        <a:p>
          <a:pPr rtl="0"/>
          <a:endParaRPr lang="en-US"/>
        </a:p>
      </dgm:t>
    </dgm:pt>
    <dgm:pt modelId="{5352CFC8-D850-4F62-86A6-3027664BF25D}">
      <dgm:prSet phldrT="[Text]" custT="1"/>
      <dgm:spPr/>
      <dgm:t>
        <a:bodyPr rtlCol="0"/>
        <a:lstStyle/>
        <a:p>
          <a:pPr rtl="0"/>
          <a:r>
            <a:rPr lang="fr" sz="1600" b="0"/>
            <a:t>Épizooties chez l’animal</a:t>
          </a:r>
        </a:p>
      </dgm:t>
    </dgm:pt>
    <dgm:pt modelId="{054AD87B-6288-4DD3-BA56-CB0E60CE2D6A}" type="parTrans" cxnId="{CA09A69F-7255-4E0E-A5D7-6ECC270F8D71}">
      <dgm:prSet/>
      <dgm:spPr/>
      <dgm:t>
        <a:bodyPr rtlCol="0"/>
        <a:lstStyle/>
        <a:p>
          <a:pPr rtl="0"/>
          <a:endParaRPr lang="en-US"/>
        </a:p>
      </dgm:t>
    </dgm:pt>
    <dgm:pt modelId="{B3A23B95-87DC-4166-974A-FDDEFFC1FA92}" type="sibTrans" cxnId="{CA09A69F-7255-4E0E-A5D7-6ECC270F8D71}">
      <dgm:prSet/>
      <dgm:spPr/>
      <dgm:t>
        <a:bodyPr rtlCol="0"/>
        <a:lstStyle/>
        <a:p>
          <a:pPr rtl="0"/>
          <a:endParaRPr lang="en-US"/>
        </a:p>
      </dgm:t>
    </dgm:pt>
    <dgm:pt modelId="{1C0F08D5-8144-4B81-B321-A34B1EDC7AEA}">
      <dgm:prSet phldrT="[Text]" custT="1"/>
      <dgm:spPr>
        <a:solidFill>
          <a:schemeClr val="bg2">
            <a:alpha val="90000"/>
          </a:schemeClr>
        </a:solidFill>
      </dgm:spPr>
      <dgm:t>
        <a:bodyPr rtlCol="0"/>
        <a:lstStyle/>
        <a:p>
          <a:pPr rtl="0"/>
          <a:r>
            <a:rPr lang="fr" sz="1600"/>
            <a:t>Le réservoir (inconnu) transmet l’infection à d’autres animaux</a:t>
          </a:r>
        </a:p>
      </dgm:t>
    </dgm:pt>
    <dgm:pt modelId="{9E3D6481-97C3-41E4-82BA-0EE6707CB2C0}" type="parTrans" cxnId="{BC4E4991-5831-4099-88B6-E5597767DB46}">
      <dgm:prSet/>
      <dgm:spPr/>
      <dgm:t>
        <a:bodyPr rtlCol="0"/>
        <a:lstStyle/>
        <a:p>
          <a:pPr rtl="0"/>
          <a:endParaRPr lang="en-US"/>
        </a:p>
      </dgm:t>
    </dgm:pt>
    <dgm:pt modelId="{7033DB4F-8729-41D3-A236-8A39054382B8}" type="sibTrans" cxnId="{BC4E4991-5831-4099-88B6-E5597767DB46}">
      <dgm:prSet/>
      <dgm:spPr/>
      <dgm:t>
        <a:bodyPr rtlCol="0"/>
        <a:lstStyle/>
        <a:p>
          <a:pPr rtl="0"/>
          <a:endParaRPr lang="en-US"/>
        </a:p>
      </dgm:t>
    </dgm:pt>
    <dgm:pt modelId="{06EFD635-CB64-4299-8F71-554C678F5C66}">
      <dgm:prSet phldrT="[Text]" custT="1"/>
      <dgm:spPr/>
      <dgm:t>
        <a:bodyPr rtlCol="0"/>
        <a:lstStyle/>
        <a:p>
          <a:pPr rtl="0"/>
          <a:r>
            <a:rPr lang="fr" sz="1600"/>
            <a:t>Transmission humaine primaire</a:t>
          </a:r>
        </a:p>
      </dgm:t>
    </dgm:pt>
    <dgm:pt modelId="{156C32BC-5CF3-4E2A-83BA-D75B9061120A}" type="parTrans" cxnId="{DB6F054A-2F8B-4D62-B891-24DB2387EEFA}">
      <dgm:prSet/>
      <dgm:spPr/>
      <dgm:t>
        <a:bodyPr rtlCol="0"/>
        <a:lstStyle/>
        <a:p>
          <a:pPr rtl="0"/>
          <a:endParaRPr lang="en-US"/>
        </a:p>
      </dgm:t>
    </dgm:pt>
    <dgm:pt modelId="{A8402B76-356F-4845-9C03-FCB02B5AB6AD}" type="sibTrans" cxnId="{DB6F054A-2F8B-4D62-B891-24DB2387EEFA}">
      <dgm:prSet/>
      <dgm:spPr/>
      <dgm:t>
        <a:bodyPr rtlCol="0"/>
        <a:lstStyle/>
        <a:p>
          <a:pPr rtl="0"/>
          <a:endParaRPr lang="en-US"/>
        </a:p>
      </dgm:t>
    </dgm:pt>
    <dgm:pt modelId="{78D0C6CC-0560-43EA-A1D8-C1EE94D16C13}">
      <dgm:prSet phldrT="[Text]" custT="1"/>
      <dgm:spPr>
        <a:solidFill>
          <a:schemeClr val="bg2">
            <a:alpha val="90000"/>
          </a:schemeClr>
        </a:solidFill>
      </dgm:spPr>
      <dgm:t>
        <a:bodyPr rtlCol="0"/>
        <a:lstStyle/>
        <a:p>
          <a:pPr rtl="0">
            <a:buClrTx/>
          </a:pPr>
          <a:r>
            <a:rPr lang="fr" sz="1500" b="0" i="0">
              <a:solidFill>
                <a:srgbClr val="000000"/>
              </a:solidFill>
              <a:effectLst/>
            </a:rPr>
            <a:t>Les scientifiques pensent que les individus sont d’abord infectés par contact avec un animal porteur du virus, comme une chauve-souris frugivore ou un primate non humain (p ex., </a:t>
          </a:r>
          <a:r>
            <a:rPr lang="fr" sz="1500">
              <a:solidFill>
                <a:schemeClr val="tx1"/>
              </a:solidFill>
              <a:latin typeface="Calibri"/>
              <a:ea typeface="Calibri"/>
              <a:cs typeface="Calibri"/>
            </a:rPr>
            <a:t>des personnes peuvent manipuler des animaux infectés morts ou malades trouvés dans la forêt)</a:t>
          </a:r>
          <a:endParaRPr lang="en-US" sz="1500"/>
        </a:p>
      </dgm:t>
    </dgm:pt>
    <dgm:pt modelId="{5E7079DB-8C9C-4EDF-AD7D-304299620599}" type="parTrans" cxnId="{1FD72A1B-B00E-4CF2-B172-62E7851A35E1}">
      <dgm:prSet/>
      <dgm:spPr/>
      <dgm:t>
        <a:bodyPr rtlCol="0"/>
        <a:lstStyle/>
        <a:p>
          <a:pPr rtl="0"/>
          <a:endParaRPr lang="en-US"/>
        </a:p>
      </dgm:t>
    </dgm:pt>
    <dgm:pt modelId="{2FADFE14-AD5C-4969-8191-C6742F72D790}" type="sibTrans" cxnId="{1FD72A1B-B00E-4CF2-B172-62E7851A35E1}">
      <dgm:prSet/>
      <dgm:spPr/>
      <dgm:t>
        <a:bodyPr rtlCol="0"/>
        <a:lstStyle/>
        <a:p>
          <a:pPr rtl="0"/>
          <a:endParaRPr lang="en-US"/>
        </a:p>
      </dgm:t>
    </dgm:pt>
    <dgm:pt modelId="{F9367049-3963-40AF-AF7E-07D31929C6F1}">
      <dgm:prSet phldrT="[Text]" custT="1"/>
      <dgm:spPr/>
      <dgm:t>
        <a:bodyPr rtlCol="0"/>
        <a:lstStyle/>
        <a:p>
          <a:pPr rtl="0"/>
          <a:r>
            <a:rPr lang="fr" sz="1600"/>
            <a:t>Transmission humaine secondaire</a:t>
          </a:r>
        </a:p>
      </dgm:t>
    </dgm:pt>
    <dgm:pt modelId="{A7AF0A3D-19DC-4077-B2DE-8F3F492FF00A}" type="parTrans" cxnId="{68E9556E-BD9C-4371-AAEA-8EA9F821524B}">
      <dgm:prSet/>
      <dgm:spPr/>
      <dgm:t>
        <a:bodyPr rtlCol="0"/>
        <a:lstStyle/>
        <a:p>
          <a:pPr rtl="0"/>
          <a:endParaRPr lang="en-US"/>
        </a:p>
      </dgm:t>
    </dgm:pt>
    <dgm:pt modelId="{C8E2C994-D254-490B-9AC4-730DC709DB08}" type="sibTrans" cxnId="{68E9556E-BD9C-4371-AAEA-8EA9F821524B}">
      <dgm:prSet/>
      <dgm:spPr/>
      <dgm:t>
        <a:bodyPr rtlCol="0"/>
        <a:lstStyle/>
        <a:p>
          <a:pPr rtl="0"/>
          <a:endParaRPr lang="en-US"/>
        </a:p>
      </dgm:t>
    </dgm:pt>
    <dgm:pt modelId="{CF5CC348-A3A2-4059-8011-4EB2E2785E56}">
      <dgm:prSet phldrT="[Text]" custT="1"/>
      <dgm:spPr>
        <a:solidFill>
          <a:schemeClr val="bg2">
            <a:alpha val="90000"/>
          </a:schemeClr>
        </a:solidFill>
      </dgm:spPr>
      <dgm:t>
        <a:bodyPr rtlCol="0"/>
        <a:lstStyle/>
        <a:p>
          <a:pPr rtl="0"/>
          <a:r>
            <a:rPr lang="fr" sz="1500">
              <a:solidFill>
                <a:schemeClr val="tx1"/>
              </a:solidFill>
              <a:latin typeface="Calibri"/>
              <a:ea typeface="Calibri"/>
              <a:cs typeface="Calibri"/>
            </a:rPr>
            <a:t>Elle se produit par contact direct avec le sang, les sécrétions, les organes ou d’autres fluides corporels de personnes infectées</a:t>
          </a:r>
          <a:endParaRPr lang="en-US" sz="1500"/>
        </a:p>
      </dgm:t>
    </dgm:pt>
    <dgm:pt modelId="{0F6F4682-3920-4510-B6C4-6D3C68B09AEC}" type="parTrans" cxnId="{290DD636-93C7-4123-A868-58FFE71D1DEA}">
      <dgm:prSet/>
      <dgm:spPr/>
      <dgm:t>
        <a:bodyPr rtlCol="0"/>
        <a:lstStyle/>
        <a:p>
          <a:pPr rtl="0"/>
          <a:endParaRPr lang="en-US"/>
        </a:p>
      </dgm:t>
    </dgm:pt>
    <dgm:pt modelId="{820C09AB-F916-4923-9E64-85A9C391A342}" type="sibTrans" cxnId="{290DD636-93C7-4123-A868-58FFE71D1DEA}">
      <dgm:prSet/>
      <dgm:spPr/>
      <dgm:t>
        <a:bodyPr rtlCol="0"/>
        <a:lstStyle/>
        <a:p>
          <a:pPr rtl="0"/>
          <a:endParaRPr lang="en-US"/>
        </a:p>
      </dgm:t>
    </dgm:pt>
    <dgm:pt modelId="{06D297B9-5A67-4EFD-8883-131B1CCEC3AA}">
      <dgm:prSet phldrT="[Text]" custT="1"/>
      <dgm:spPr/>
      <dgm:t>
        <a:bodyPr rtlCol="0"/>
        <a:lstStyle/>
        <a:p>
          <a:pPr rtl="0"/>
          <a:r>
            <a:rPr lang="fr" sz="1600" b="0"/>
            <a:t>Persistance du virus</a:t>
          </a:r>
        </a:p>
      </dgm:t>
    </dgm:pt>
    <dgm:pt modelId="{ADE160E1-D31B-4F70-A6A5-6F6C694A685B}" type="parTrans" cxnId="{BD2D2221-390C-460D-AC8B-5D883DF18DBC}">
      <dgm:prSet/>
      <dgm:spPr/>
      <dgm:t>
        <a:bodyPr rtlCol="0"/>
        <a:lstStyle/>
        <a:p>
          <a:pPr rtl="0"/>
          <a:endParaRPr lang="en-US"/>
        </a:p>
      </dgm:t>
    </dgm:pt>
    <dgm:pt modelId="{4A10E0DF-D739-45F4-93B2-74FDDC761C27}" type="sibTrans" cxnId="{BD2D2221-390C-460D-AC8B-5D883DF18DBC}">
      <dgm:prSet/>
      <dgm:spPr/>
      <dgm:t>
        <a:bodyPr rtlCol="0"/>
        <a:lstStyle/>
        <a:p>
          <a:pPr rtl="0"/>
          <a:endParaRPr lang="en-US"/>
        </a:p>
      </dgm:t>
    </dgm:pt>
    <dgm:pt modelId="{7068E705-14DD-4405-91CA-7E221F8EA4F7}">
      <dgm:prSet phldrT="[Text]" custT="1"/>
      <dgm:spPr>
        <a:solidFill>
          <a:schemeClr val="bg2">
            <a:alpha val="90000"/>
          </a:schemeClr>
        </a:solidFill>
      </dgm:spPr>
      <dgm:t>
        <a:bodyPr rtlCol="0"/>
        <a:lstStyle/>
        <a:p>
          <a:pPr rtl="0">
            <a:buClrTx/>
          </a:pPr>
          <a:r>
            <a:rPr lang="fr" sz="1500">
              <a:solidFill>
                <a:schemeClr val="tx1"/>
              </a:solidFill>
              <a:latin typeface="Calibri"/>
              <a:ea typeface="Calibri"/>
              <a:cs typeface="Calibri"/>
            </a:rPr>
            <a:t>La persistance du virus Ebola dans les fluides corporels</a:t>
          </a:r>
          <a:r>
            <a:rPr lang="fr" sz="1500" b="0" i="0"/>
            <a:t> et sites immunologiquement privilégiés</a:t>
          </a:r>
          <a:r>
            <a:rPr lang="fr" sz="1500">
              <a:solidFill>
                <a:schemeClr val="tx1"/>
              </a:solidFill>
              <a:latin typeface="Calibri"/>
              <a:ea typeface="Calibri"/>
              <a:cs typeface="Calibri"/>
            </a:rPr>
            <a:t> des survivants de la maladie à virus Ebola représente un risque de transmission sexuelle et de transmission par le lait maternel ou de rechute</a:t>
          </a:r>
          <a:endParaRPr lang="en-US" sz="1500"/>
        </a:p>
      </dgm:t>
    </dgm:pt>
    <dgm:pt modelId="{11B0E50B-AA99-4456-9D7B-329180C37FB9}" type="parTrans" cxnId="{4C92B3F0-760D-47EC-AFC7-82A19BFFC7CC}">
      <dgm:prSet/>
      <dgm:spPr/>
      <dgm:t>
        <a:bodyPr rtlCol="0"/>
        <a:lstStyle/>
        <a:p>
          <a:pPr rtl="0"/>
          <a:endParaRPr lang="en-US"/>
        </a:p>
      </dgm:t>
    </dgm:pt>
    <dgm:pt modelId="{C9F9C3DA-041C-4C8E-ADFF-E68BAE70D68A}" type="sibTrans" cxnId="{4C92B3F0-760D-47EC-AFC7-82A19BFFC7CC}">
      <dgm:prSet/>
      <dgm:spPr/>
      <dgm:t>
        <a:bodyPr rtlCol="0"/>
        <a:lstStyle/>
        <a:p>
          <a:pPr rtl="0"/>
          <a:endParaRPr lang="en-US"/>
        </a:p>
      </dgm:t>
    </dgm:pt>
    <dgm:pt modelId="{1D76B787-FE0A-4505-BBC5-22D869709ACC}">
      <dgm:prSet custT="1"/>
      <dgm:spPr>
        <a:solidFill>
          <a:schemeClr val="bg2">
            <a:alpha val="90000"/>
          </a:schemeClr>
        </a:solidFill>
      </dgm:spPr>
      <dgm:t>
        <a:bodyPr rtlCol="0"/>
        <a:lstStyle/>
        <a:p>
          <a:pPr rtl="0"/>
          <a:r>
            <a:rPr lang="fr" sz="1600">
              <a:solidFill>
                <a:schemeClr val="tx1"/>
              </a:solidFill>
              <a:ea typeface="Calibri"/>
              <a:cs typeface="Calibri"/>
            </a:rPr>
            <a:t>Des épidémies à grande échelle peuvent survenir chez les primates ou les mammifères (p. ex., les antilopes des forêts)</a:t>
          </a:r>
        </a:p>
      </dgm:t>
    </dgm:pt>
    <dgm:pt modelId="{1D9F60E5-2945-44FE-89F2-33609F048B5B}" type="parTrans" cxnId="{8B7CEFCF-AF4E-42A2-9D14-40C3F1232C96}">
      <dgm:prSet/>
      <dgm:spPr/>
      <dgm:t>
        <a:bodyPr rtlCol="0"/>
        <a:lstStyle/>
        <a:p>
          <a:pPr rtl="0"/>
          <a:endParaRPr lang="en-US"/>
        </a:p>
      </dgm:t>
    </dgm:pt>
    <dgm:pt modelId="{ADC04D66-17C8-4410-A309-A7143F826DCF}" type="sibTrans" cxnId="{8B7CEFCF-AF4E-42A2-9D14-40C3F1232C96}">
      <dgm:prSet/>
      <dgm:spPr/>
      <dgm:t>
        <a:bodyPr rtlCol="0"/>
        <a:lstStyle/>
        <a:p>
          <a:pPr rtl="0"/>
          <a:endParaRPr lang="en-US"/>
        </a:p>
      </dgm:t>
    </dgm:pt>
    <dgm:pt modelId="{CF743691-94A1-4CC8-8A62-E90C1BC31D96}">
      <dgm:prSet custT="1"/>
      <dgm:spPr>
        <a:solidFill>
          <a:schemeClr val="bg2">
            <a:alpha val="90000"/>
          </a:schemeClr>
        </a:solidFill>
      </dgm:spPr>
      <dgm:t>
        <a:bodyPr rtlCol="0"/>
        <a:lstStyle/>
        <a:p>
          <a:pPr rtl="0"/>
          <a:r>
            <a:rPr lang="fr" sz="1500">
              <a:solidFill>
                <a:schemeClr val="tx1"/>
              </a:solidFill>
              <a:latin typeface="Calibri"/>
              <a:ea typeface="Calibri"/>
              <a:cs typeface="Calibri"/>
            </a:rPr>
            <a:t>Risque élevé de transmission lors de la fourniture de soins directs aux patients ou de la manipulation de cadavres (funérailles)</a:t>
          </a:r>
        </a:p>
      </dgm:t>
    </dgm:pt>
    <dgm:pt modelId="{D4F9668E-60BB-43A2-85A7-486303A0B2D8}" type="parTrans" cxnId="{607BD467-DB4C-4417-847D-4B058C51863F}">
      <dgm:prSet/>
      <dgm:spPr/>
      <dgm:t>
        <a:bodyPr rtlCol="0"/>
        <a:lstStyle/>
        <a:p>
          <a:pPr rtl="0"/>
          <a:endParaRPr lang="en-US"/>
        </a:p>
      </dgm:t>
    </dgm:pt>
    <dgm:pt modelId="{F0B93A00-1029-4F10-A8C1-EC36EF75DE12}" type="sibTrans" cxnId="{607BD467-DB4C-4417-847D-4B058C51863F}">
      <dgm:prSet/>
      <dgm:spPr/>
      <dgm:t>
        <a:bodyPr rtlCol="0"/>
        <a:lstStyle/>
        <a:p>
          <a:pPr rtl="0"/>
          <a:endParaRPr lang="en-US"/>
        </a:p>
      </dgm:t>
    </dgm:pt>
    <dgm:pt modelId="{C32F5DEA-E864-4BBE-B2FD-083C5873F9C6}" type="pres">
      <dgm:prSet presAssocID="{D7395E42-0958-4D53-8970-1D0A1DA4F159}" presName="Name0" presStyleCnt="0">
        <dgm:presLayoutVars>
          <dgm:dir/>
          <dgm:animLvl val="lvl"/>
          <dgm:resizeHandles val="exact"/>
        </dgm:presLayoutVars>
      </dgm:prSet>
      <dgm:spPr/>
    </dgm:pt>
    <dgm:pt modelId="{EA059D49-6BB8-4237-AB67-84EBB32FBF2B}" type="pres">
      <dgm:prSet presAssocID="{5352CFC8-D850-4F62-86A6-3027664BF25D}" presName="composite" presStyleCnt="0"/>
      <dgm:spPr/>
    </dgm:pt>
    <dgm:pt modelId="{6EBA66E4-6796-4961-B54E-29EA1A414801}" type="pres">
      <dgm:prSet presAssocID="{5352CFC8-D850-4F62-86A6-3027664BF25D}" presName="parTx" presStyleLbl="alignNode1" presStyleIdx="0" presStyleCnt="4">
        <dgm:presLayoutVars>
          <dgm:chMax val="0"/>
          <dgm:chPref val="0"/>
          <dgm:bulletEnabled val="1"/>
        </dgm:presLayoutVars>
      </dgm:prSet>
      <dgm:spPr/>
    </dgm:pt>
    <dgm:pt modelId="{F9F9DBD4-BE3B-49C5-98BA-DACA13A28AB7}" type="pres">
      <dgm:prSet presAssocID="{5352CFC8-D850-4F62-86A6-3027664BF25D}" presName="desTx" presStyleLbl="alignAccFollowNode1" presStyleIdx="0" presStyleCnt="4" custScaleX="105313" custScaleY="100000">
        <dgm:presLayoutVars>
          <dgm:bulletEnabled val="1"/>
        </dgm:presLayoutVars>
      </dgm:prSet>
      <dgm:spPr/>
    </dgm:pt>
    <dgm:pt modelId="{2805CA28-0D28-43CB-A616-D38246F0A8BF}" type="pres">
      <dgm:prSet presAssocID="{B3A23B95-87DC-4166-974A-FDDEFFC1FA92}" presName="space" presStyleCnt="0"/>
      <dgm:spPr/>
    </dgm:pt>
    <dgm:pt modelId="{72780BDE-0407-429F-89C4-35F417265EBC}" type="pres">
      <dgm:prSet presAssocID="{06EFD635-CB64-4299-8F71-554C678F5C66}" presName="composite" presStyleCnt="0"/>
      <dgm:spPr/>
    </dgm:pt>
    <dgm:pt modelId="{784EE65C-7A7A-4A9E-A0D0-024D18737F42}" type="pres">
      <dgm:prSet presAssocID="{06EFD635-CB64-4299-8F71-554C678F5C66}" presName="parTx" presStyleLbl="alignNode1" presStyleIdx="1" presStyleCnt="4">
        <dgm:presLayoutVars>
          <dgm:chMax val="0"/>
          <dgm:chPref val="0"/>
          <dgm:bulletEnabled val="1"/>
        </dgm:presLayoutVars>
      </dgm:prSet>
      <dgm:spPr/>
    </dgm:pt>
    <dgm:pt modelId="{DCE91A26-F082-42B0-993A-DA0E2EF05162}" type="pres">
      <dgm:prSet presAssocID="{06EFD635-CB64-4299-8F71-554C678F5C66}" presName="desTx" presStyleLbl="alignAccFollowNode1" presStyleIdx="1" presStyleCnt="4" custScaleX="100950" custScaleY="100000">
        <dgm:presLayoutVars>
          <dgm:bulletEnabled val="1"/>
        </dgm:presLayoutVars>
      </dgm:prSet>
      <dgm:spPr/>
    </dgm:pt>
    <dgm:pt modelId="{12E1A11B-F841-41F2-AB88-AFF2CFEAC29B}" type="pres">
      <dgm:prSet presAssocID="{A8402B76-356F-4845-9C03-FCB02B5AB6AD}" presName="space" presStyleCnt="0"/>
      <dgm:spPr/>
    </dgm:pt>
    <dgm:pt modelId="{73914490-D5F5-4B2E-A4C7-226DC14F59F3}" type="pres">
      <dgm:prSet presAssocID="{F9367049-3963-40AF-AF7E-07D31929C6F1}" presName="composite" presStyleCnt="0"/>
      <dgm:spPr/>
    </dgm:pt>
    <dgm:pt modelId="{FFA33F34-362C-4385-AC06-9AFA3356BD49}" type="pres">
      <dgm:prSet presAssocID="{F9367049-3963-40AF-AF7E-07D31929C6F1}" presName="parTx" presStyleLbl="alignNode1" presStyleIdx="2" presStyleCnt="4">
        <dgm:presLayoutVars>
          <dgm:chMax val="0"/>
          <dgm:chPref val="0"/>
          <dgm:bulletEnabled val="1"/>
        </dgm:presLayoutVars>
      </dgm:prSet>
      <dgm:spPr/>
    </dgm:pt>
    <dgm:pt modelId="{5081B6B5-2DB0-4451-96EF-DE6AEAD1AFD3}" type="pres">
      <dgm:prSet presAssocID="{F9367049-3963-40AF-AF7E-07D31929C6F1}" presName="desTx" presStyleLbl="alignAccFollowNode1" presStyleIdx="2" presStyleCnt="4" custScaleX="102122" custScaleY="104472">
        <dgm:presLayoutVars>
          <dgm:bulletEnabled val="1"/>
        </dgm:presLayoutVars>
      </dgm:prSet>
      <dgm:spPr/>
    </dgm:pt>
    <dgm:pt modelId="{91D4B868-8F5D-4717-B267-007725A10FF2}" type="pres">
      <dgm:prSet presAssocID="{C8E2C994-D254-490B-9AC4-730DC709DB08}" presName="space" presStyleCnt="0"/>
      <dgm:spPr/>
    </dgm:pt>
    <dgm:pt modelId="{E4B4603E-82F6-4F07-8FD2-765F5366B0C3}" type="pres">
      <dgm:prSet presAssocID="{06D297B9-5A67-4EFD-8883-131B1CCEC3AA}" presName="composite" presStyleCnt="0"/>
      <dgm:spPr/>
    </dgm:pt>
    <dgm:pt modelId="{42E54E07-545E-407E-AA16-CD31418AE1D8}" type="pres">
      <dgm:prSet presAssocID="{06D297B9-5A67-4EFD-8883-131B1CCEC3AA}" presName="parTx" presStyleLbl="alignNode1" presStyleIdx="3" presStyleCnt="4" custScaleX="109329" custLinFactNeighborX="53496" custLinFactNeighborY="-7339">
        <dgm:presLayoutVars>
          <dgm:chMax val="0"/>
          <dgm:chPref val="0"/>
          <dgm:bulletEnabled val="1"/>
        </dgm:presLayoutVars>
      </dgm:prSet>
      <dgm:spPr/>
    </dgm:pt>
    <dgm:pt modelId="{0A9DC0C1-AE8A-4A0F-AE73-CF2B5326A20A}" type="pres">
      <dgm:prSet presAssocID="{06D297B9-5A67-4EFD-8883-131B1CCEC3AA}" presName="desTx" presStyleLbl="alignAccFollowNode1" presStyleIdx="3" presStyleCnt="4" custScaleX="105968" custScaleY="100000">
        <dgm:presLayoutVars>
          <dgm:bulletEnabled val="1"/>
        </dgm:presLayoutVars>
      </dgm:prSet>
      <dgm:spPr/>
    </dgm:pt>
  </dgm:ptLst>
  <dgm:cxnLst>
    <dgm:cxn modelId="{1FD72A1B-B00E-4CF2-B172-62E7851A35E1}" srcId="{06EFD635-CB64-4299-8F71-554C678F5C66}" destId="{78D0C6CC-0560-43EA-A1D8-C1EE94D16C13}" srcOrd="0" destOrd="0" parTransId="{5E7079DB-8C9C-4EDF-AD7D-304299620599}" sibTransId="{2FADFE14-AD5C-4969-8191-C6742F72D790}"/>
    <dgm:cxn modelId="{BD2D2221-390C-460D-AC8B-5D883DF18DBC}" srcId="{D7395E42-0958-4D53-8970-1D0A1DA4F159}" destId="{06D297B9-5A67-4EFD-8883-131B1CCEC3AA}" srcOrd="3" destOrd="0" parTransId="{ADE160E1-D31B-4F70-A6A5-6F6C694A685B}" sibTransId="{4A10E0DF-D739-45F4-93B2-74FDDC761C27}"/>
    <dgm:cxn modelId="{290DD636-93C7-4123-A868-58FFE71D1DEA}" srcId="{F9367049-3963-40AF-AF7E-07D31929C6F1}" destId="{CF5CC348-A3A2-4059-8011-4EB2E2785E56}" srcOrd="0" destOrd="0" parTransId="{0F6F4682-3920-4510-B6C4-6D3C68B09AEC}" sibTransId="{820C09AB-F916-4923-9E64-85A9C391A342}"/>
    <dgm:cxn modelId="{607BD467-DB4C-4417-847D-4B058C51863F}" srcId="{F9367049-3963-40AF-AF7E-07D31929C6F1}" destId="{CF743691-94A1-4CC8-8A62-E90C1BC31D96}" srcOrd="1" destOrd="0" parTransId="{D4F9668E-60BB-43A2-85A7-486303A0B2D8}" sibTransId="{F0B93A00-1029-4F10-A8C1-EC36EF75DE12}"/>
    <dgm:cxn modelId="{DB6F054A-2F8B-4D62-B891-24DB2387EEFA}" srcId="{D7395E42-0958-4D53-8970-1D0A1DA4F159}" destId="{06EFD635-CB64-4299-8F71-554C678F5C66}" srcOrd="1" destOrd="0" parTransId="{156C32BC-5CF3-4E2A-83BA-D75B9061120A}" sibTransId="{A8402B76-356F-4845-9C03-FCB02B5AB6AD}"/>
    <dgm:cxn modelId="{68E9556E-BD9C-4371-AAEA-8EA9F821524B}" srcId="{D7395E42-0958-4D53-8970-1D0A1DA4F159}" destId="{F9367049-3963-40AF-AF7E-07D31929C6F1}" srcOrd="2" destOrd="0" parTransId="{A7AF0A3D-19DC-4077-B2DE-8F3F492FF00A}" sibTransId="{C8E2C994-D254-490B-9AC4-730DC709DB08}"/>
    <dgm:cxn modelId="{A0170676-5F8D-4614-B451-5C3E5A5E0F88}" type="presOf" srcId="{7068E705-14DD-4405-91CA-7E221F8EA4F7}" destId="{0A9DC0C1-AE8A-4A0F-AE73-CF2B5326A20A}" srcOrd="0" destOrd="0" presId="urn:microsoft.com/office/officeart/2005/8/layout/hList1"/>
    <dgm:cxn modelId="{D03A9857-54A9-43BD-99A9-F8DB02273FC9}" type="presOf" srcId="{D7395E42-0958-4D53-8970-1D0A1DA4F159}" destId="{C32F5DEA-E864-4BBE-B2FD-083C5873F9C6}" srcOrd="0" destOrd="0" presId="urn:microsoft.com/office/officeart/2005/8/layout/hList1"/>
    <dgm:cxn modelId="{BC4E4991-5831-4099-88B6-E5597767DB46}" srcId="{5352CFC8-D850-4F62-86A6-3027664BF25D}" destId="{1C0F08D5-8144-4B81-B321-A34B1EDC7AEA}" srcOrd="0" destOrd="0" parTransId="{9E3D6481-97C3-41E4-82BA-0EE6707CB2C0}" sibTransId="{7033DB4F-8729-41D3-A236-8A39054382B8}"/>
    <dgm:cxn modelId="{CA09A69F-7255-4E0E-A5D7-6ECC270F8D71}" srcId="{D7395E42-0958-4D53-8970-1D0A1DA4F159}" destId="{5352CFC8-D850-4F62-86A6-3027664BF25D}" srcOrd="0" destOrd="0" parTransId="{054AD87B-6288-4DD3-BA56-CB0E60CE2D6A}" sibTransId="{B3A23B95-87DC-4166-974A-FDDEFFC1FA92}"/>
    <dgm:cxn modelId="{84DDA0A8-F77F-4CAA-BB73-7A6C2A9C0CE1}" type="presOf" srcId="{78D0C6CC-0560-43EA-A1D8-C1EE94D16C13}" destId="{DCE91A26-F082-42B0-993A-DA0E2EF05162}" srcOrd="0" destOrd="0" presId="urn:microsoft.com/office/officeart/2005/8/layout/hList1"/>
    <dgm:cxn modelId="{648E9FAD-29EA-4F58-A4D1-0FF3B39B9BE3}" type="presOf" srcId="{1C0F08D5-8144-4B81-B321-A34B1EDC7AEA}" destId="{F9F9DBD4-BE3B-49C5-98BA-DACA13A28AB7}" srcOrd="0" destOrd="0" presId="urn:microsoft.com/office/officeart/2005/8/layout/hList1"/>
    <dgm:cxn modelId="{B6C012C2-B6D8-4D51-82D7-1B31C2009A00}" type="presOf" srcId="{5352CFC8-D850-4F62-86A6-3027664BF25D}" destId="{6EBA66E4-6796-4961-B54E-29EA1A414801}" srcOrd="0" destOrd="0" presId="urn:microsoft.com/office/officeart/2005/8/layout/hList1"/>
    <dgm:cxn modelId="{F534DDC8-C444-4510-A497-DE2F6DFE896E}" type="presOf" srcId="{CF743691-94A1-4CC8-8A62-E90C1BC31D96}" destId="{5081B6B5-2DB0-4451-96EF-DE6AEAD1AFD3}" srcOrd="0" destOrd="1" presId="urn:microsoft.com/office/officeart/2005/8/layout/hList1"/>
    <dgm:cxn modelId="{8B7CEFCF-AF4E-42A2-9D14-40C3F1232C96}" srcId="{5352CFC8-D850-4F62-86A6-3027664BF25D}" destId="{1D76B787-FE0A-4505-BBC5-22D869709ACC}" srcOrd="1" destOrd="0" parTransId="{1D9F60E5-2945-44FE-89F2-33609F048B5B}" sibTransId="{ADC04D66-17C8-4410-A309-A7143F826DCF}"/>
    <dgm:cxn modelId="{A92948D3-25C0-49B9-9560-251393CADB5B}" type="presOf" srcId="{06D297B9-5A67-4EFD-8883-131B1CCEC3AA}" destId="{42E54E07-545E-407E-AA16-CD31418AE1D8}" srcOrd="0" destOrd="0" presId="urn:microsoft.com/office/officeart/2005/8/layout/hList1"/>
    <dgm:cxn modelId="{7A2943DA-9EE9-4B55-A69D-E14E495C89E1}" type="presOf" srcId="{06EFD635-CB64-4299-8F71-554C678F5C66}" destId="{784EE65C-7A7A-4A9E-A0D0-024D18737F42}" srcOrd="0" destOrd="0" presId="urn:microsoft.com/office/officeart/2005/8/layout/hList1"/>
    <dgm:cxn modelId="{5C68DEE3-8458-4AD2-BBD1-A581BBF5C074}" type="presOf" srcId="{F9367049-3963-40AF-AF7E-07D31929C6F1}" destId="{FFA33F34-362C-4385-AC06-9AFA3356BD49}" srcOrd="0" destOrd="0" presId="urn:microsoft.com/office/officeart/2005/8/layout/hList1"/>
    <dgm:cxn modelId="{231561ED-FFFE-4994-AE9B-F558D2BF717A}" type="presOf" srcId="{1D76B787-FE0A-4505-BBC5-22D869709ACC}" destId="{F9F9DBD4-BE3B-49C5-98BA-DACA13A28AB7}" srcOrd="0" destOrd="1" presId="urn:microsoft.com/office/officeart/2005/8/layout/hList1"/>
    <dgm:cxn modelId="{FBE56FEF-9A75-4114-9D15-4BE582B7F025}" type="presOf" srcId="{CF5CC348-A3A2-4059-8011-4EB2E2785E56}" destId="{5081B6B5-2DB0-4451-96EF-DE6AEAD1AFD3}" srcOrd="0" destOrd="0" presId="urn:microsoft.com/office/officeart/2005/8/layout/hList1"/>
    <dgm:cxn modelId="{4C92B3F0-760D-47EC-AFC7-82A19BFFC7CC}" srcId="{06D297B9-5A67-4EFD-8883-131B1CCEC3AA}" destId="{7068E705-14DD-4405-91CA-7E221F8EA4F7}" srcOrd="0" destOrd="0" parTransId="{11B0E50B-AA99-4456-9D7B-329180C37FB9}" sibTransId="{C9F9C3DA-041C-4C8E-ADFF-E68BAE70D68A}"/>
    <dgm:cxn modelId="{979DF202-3D62-42C6-BE66-ADB5716652B1}" type="presParOf" srcId="{C32F5DEA-E864-4BBE-B2FD-083C5873F9C6}" destId="{EA059D49-6BB8-4237-AB67-84EBB32FBF2B}" srcOrd="0" destOrd="0" presId="urn:microsoft.com/office/officeart/2005/8/layout/hList1"/>
    <dgm:cxn modelId="{F31332A9-42DB-47E8-9221-9E076F3959DB}" type="presParOf" srcId="{EA059D49-6BB8-4237-AB67-84EBB32FBF2B}" destId="{6EBA66E4-6796-4961-B54E-29EA1A414801}" srcOrd="0" destOrd="0" presId="urn:microsoft.com/office/officeart/2005/8/layout/hList1"/>
    <dgm:cxn modelId="{E0DDD334-839D-4A10-803E-BF7BFE90AE70}" type="presParOf" srcId="{EA059D49-6BB8-4237-AB67-84EBB32FBF2B}" destId="{F9F9DBD4-BE3B-49C5-98BA-DACA13A28AB7}" srcOrd="1" destOrd="0" presId="urn:microsoft.com/office/officeart/2005/8/layout/hList1"/>
    <dgm:cxn modelId="{2F289AB8-9B69-499C-B638-CD9F8ED72420}" type="presParOf" srcId="{C32F5DEA-E864-4BBE-B2FD-083C5873F9C6}" destId="{2805CA28-0D28-43CB-A616-D38246F0A8BF}" srcOrd="1" destOrd="0" presId="urn:microsoft.com/office/officeart/2005/8/layout/hList1"/>
    <dgm:cxn modelId="{EAF16327-6C91-4FC9-8516-17282BEA466A}" type="presParOf" srcId="{C32F5DEA-E864-4BBE-B2FD-083C5873F9C6}" destId="{72780BDE-0407-429F-89C4-35F417265EBC}" srcOrd="2" destOrd="0" presId="urn:microsoft.com/office/officeart/2005/8/layout/hList1"/>
    <dgm:cxn modelId="{448E9A0F-1CAD-4445-A217-F7F8003B7B3C}" type="presParOf" srcId="{72780BDE-0407-429F-89C4-35F417265EBC}" destId="{784EE65C-7A7A-4A9E-A0D0-024D18737F42}" srcOrd="0" destOrd="0" presId="urn:microsoft.com/office/officeart/2005/8/layout/hList1"/>
    <dgm:cxn modelId="{CB759C85-2EC2-4096-8704-B0E8C920E60E}" type="presParOf" srcId="{72780BDE-0407-429F-89C4-35F417265EBC}" destId="{DCE91A26-F082-42B0-993A-DA0E2EF05162}" srcOrd="1" destOrd="0" presId="urn:microsoft.com/office/officeart/2005/8/layout/hList1"/>
    <dgm:cxn modelId="{38BCBF48-DDCD-4A74-88FF-DB35DE000F6E}" type="presParOf" srcId="{C32F5DEA-E864-4BBE-B2FD-083C5873F9C6}" destId="{12E1A11B-F841-41F2-AB88-AFF2CFEAC29B}" srcOrd="3" destOrd="0" presId="urn:microsoft.com/office/officeart/2005/8/layout/hList1"/>
    <dgm:cxn modelId="{42A44D4D-ED7D-441A-BB29-E601F648D0A6}" type="presParOf" srcId="{C32F5DEA-E864-4BBE-B2FD-083C5873F9C6}" destId="{73914490-D5F5-4B2E-A4C7-226DC14F59F3}" srcOrd="4" destOrd="0" presId="urn:microsoft.com/office/officeart/2005/8/layout/hList1"/>
    <dgm:cxn modelId="{0843FCFF-92F5-4FC2-A723-87A74E6C1F6F}" type="presParOf" srcId="{73914490-D5F5-4B2E-A4C7-226DC14F59F3}" destId="{FFA33F34-362C-4385-AC06-9AFA3356BD49}" srcOrd="0" destOrd="0" presId="urn:microsoft.com/office/officeart/2005/8/layout/hList1"/>
    <dgm:cxn modelId="{D425974F-4E84-4365-B614-8A79923C439A}" type="presParOf" srcId="{73914490-D5F5-4B2E-A4C7-226DC14F59F3}" destId="{5081B6B5-2DB0-4451-96EF-DE6AEAD1AFD3}" srcOrd="1" destOrd="0" presId="urn:microsoft.com/office/officeart/2005/8/layout/hList1"/>
    <dgm:cxn modelId="{702EDC14-4691-4B22-897B-C39563167FDD}" type="presParOf" srcId="{C32F5DEA-E864-4BBE-B2FD-083C5873F9C6}" destId="{91D4B868-8F5D-4717-B267-007725A10FF2}" srcOrd="5" destOrd="0" presId="urn:microsoft.com/office/officeart/2005/8/layout/hList1"/>
    <dgm:cxn modelId="{6755D222-CE1F-442D-A0D3-5DF70FC4F7A9}" type="presParOf" srcId="{C32F5DEA-E864-4BBE-B2FD-083C5873F9C6}" destId="{E4B4603E-82F6-4F07-8FD2-765F5366B0C3}" srcOrd="6" destOrd="0" presId="urn:microsoft.com/office/officeart/2005/8/layout/hList1"/>
    <dgm:cxn modelId="{900052F1-0144-4BD9-BF3B-E890DF25364F}" type="presParOf" srcId="{E4B4603E-82F6-4F07-8FD2-765F5366B0C3}" destId="{42E54E07-545E-407E-AA16-CD31418AE1D8}" srcOrd="0" destOrd="0" presId="urn:microsoft.com/office/officeart/2005/8/layout/hList1"/>
    <dgm:cxn modelId="{3C3C877F-4673-4239-9507-F7E64D64DBC9}" type="presParOf" srcId="{E4B4603E-82F6-4F07-8FD2-765F5366B0C3}" destId="{0A9DC0C1-AE8A-4A0F-AE73-CF2B5326A20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BA66E4-6796-4961-B54E-29EA1A414801}">
      <dsp:nvSpPr>
        <dsp:cNvPr id="0" name=""/>
        <dsp:cNvSpPr/>
      </dsp:nvSpPr>
      <dsp:spPr>
        <a:xfrm>
          <a:off x="74960" y="-294131"/>
          <a:ext cx="2374189" cy="5882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rtlCol="0" anchor="ctr" anchorCtr="0">
          <a:noAutofit/>
        </a:bodyPr>
        <a:lstStyle/>
        <a:p>
          <a:pPr marL="0" lvl="0" indent="0" algn="ctr" defTabSz="711200" rtl="0">
            <a:lnSpc>
              <a:spcPct val="90000"/>
            </a:lnSpc>
            <a:spcBef>
              <a:spcPct val="0"/>
            </a:spcBef>
            <a:spcAft>
              <a:spcPct val="35000"/>
            </a:spcAft>
            <a:buNone/>
          </a:pPr>
          <a:r>
            <a:rPr lang="fr" sz="1600" b="0" kern="1200"/>
            <a:t>Épizooties chez l’animal</a:t>
          </a:r>
        </a:p>
      </dsp:txBody>
      <dsp:txXfrm>
        <a:off x="74960" y="-294131"/>
        <a:ext cx="2374189" cy="588262"/>
      </dsp:txXfrm>
    </dsp:sp>
    <dsp:sp modelId="{F9F9DBD4-BE3B-49C5-98BA-DACA13A28AB7}">
      <dsp:nvSpPr>
        <dsp:cNvPr id="0" name=""/>
        <dsp:cNvSpPr/>
      </dsp:nvSpPr>
      <dsp:spPr>
        <a:xfrm>
          <a:off x="11890" y="294131"/>
          <a:ext cx="2500330" cy="2522653"/>
        </a:xfrm>
        <a:prstGeom prst="rect">
          <a:avLst/>
        </a:prstGeom>
        <a:solidFill>
          <a:schemeClr val="bg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rtlCol="0" anchor="t" anchorCtr="0">
          <a:noAutofit/>
        </a:bodyPr>
        <a:lstStyle/>
        <a:p>
          <a:pPr marL="171450" lvl="1" indent="-171450" algn="l" defTabSz="711200" rtl="0">
            <a:lnSpc>
              <a:spcPct val="90000"/>
            </a:lnSpc>
            <a:spcBef>
              <a:spcPct val="0"/>
            </a:spcBef>
            <a:spcAft>
              <a:spcPct val="15000"/>
            </a:spcAft>
            <a:buChar char="•"/>
          </a:pPr>
          <a:r>
            <a:rPr lang="fr" sz="1600" kern="1200"/>
            <a:t>Le réservoir (inconnu) transmet l’infection à d’autres animaux</a:t>
          </a:r>
        </a:p>
        <a:p>
          <a:pPr marL="171450" lvl="1" indent="-171450" algn="l" defTabSz="711200" rtl="0">
            <a:lnSpc>
              <a:spcPct val="90000"/>
            </a:lnSpc>
            <a:spcBef>
              <a:spcPct val="0"/>
            </a:spcBef>
            <a:spcAft>
              <a:spcPct val="15000"/>
            </a:spcAft>
            <a:buChar char="•"/>
          </a:pPr>
          <a:r>
            <a:rPr lang="fr" sz="1600" kern="1200">
              <a:solidFill>
                <a:schemeClr val="tx1"/>
              </a:solidFill>
              <a:ea typeface="Calibri"/>
              <a:cs typeface="Calibri"/>
            </a:rPr>
            <a:t>Des épidémies à grande échelle peuvent survenir chez les primates ou les mammifères (p. ex., les antilopes des forêts)</a:t>
          </a:r>
        </a:p>
      </dsp:txBody>
      <dsp:txXfrm>
        <a:off x="11890" y="294131"/>
        <a:ext cx="2500330" cy="2522653"/>
      </dsp:txXfrm>
    </dsp:sp>
    <dsp:sp modelId="{784EE65C-7A7A-4A9E-A0D0-024D18737F42}">
      <dsp:nvSpPr>
        <dsp:cNvPr id="0" name=""/>
        <dsp:cNvSpPr/>
      </dsp:nvSpPr>
      <dsp:spPr>
        <a:xfrm>
          <a:off x="2855559" y="-294131"/>
          <a:ext cx="2374189" cy="5882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rtlCol="0" anchor="ctr" anchorCtr="0">
          <a:noAutofit/>
        </a:bodyPr>
        <a:lstStyle/>
        <a:p>
          <a:pPr marL="0" lvl="0" indent="0" algn="ctr" defTabSz="711200" rtl="0">
            <a:lnSpc>
              <a:spcPct val="90000"/>
            </a:lnSpc>
            <a:spcBef>
              <a:spcPct val="0"/>
            </a:spcBef>
            <a:spcAft>
              <a:spcPct val="35000"/>
            </a:spcAft>
            <a:buNone/>
          </a:pPr>
          <a:r>
            <a:rPr lang="fr" sz="1600" kern="1200"/>
            <a:t>Transmission humaine primaire</a:t>
          </a:r>
        </a:p>
      </dsp:txBody>
      <dsp:txXfrm>
        <a:off x="2855559" y="-294131"/>
        <a:ext cx="2374189" cy="588262"/>
      </dsp:txXfrm>
    </dsp:sp>
    <dsp:sp modelId="{DCE91A26-F082-42B0-993A-DA0E2EF05162}">
      <dsp:nvSpPr>
        <dsp:cNvPr id="0" name=""/>
        <dsp:cNvSpPr/>
      </dsp:nvSpPr>
      <dsp:spPr>
        <a:xfrm>
          <a:off x="2844282" y="294131"/>
          <a:ext cx="2396744" cy="2522653"/>
        </a:xfrm>
        <a:prstGeom prst="rect">
          <a:avLst/>
        </a:prstGeom>
        <a:solidFill>
          <a:schemeClr val="bg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rtlCol="0" anchor="t" anchorCtr="0">
          <a:noAutofit/>
        </a:bodyPr>
        <a:lstStyle/>
        <a:p>
          <a:pPr marL="114300" lvl="1" indent="-114300" algn="l" defTabSz="666750" rtl="0">
            <a:lnSpc>
              <a:spcPct val="90000"/>
            </a:lnSpc>
            <a:spcBef>
              <a:spcPct val="0"/>
            </a:spcBef>
            <a:spcAft>
              <a:spcPct val="15000"/>
            </a:spcAft>
            <a:buClrTx/>
            <a:buChar char="•"/>
          </a:pPr>
          <a:r>
            <a:rPr lang="fr" sz="1500" b="0" i="0" kern="1200">
              <a:solidFill>
                <a:srgbClr val="000000"/>
              </a:solidFill>
              <a:effectLst/>
            </a:rPr>
            <a:t>Les scientifiques pensent que les individus sont d’abord infectés par contact avec un animal porteur du virus, comme une chauve-souris frugivore ou un primate non humain (p ex., </a:t>
          </a:r>
          <a:r>
            <a:rPr lang="fr" sz="1500" kern="1200">
              <a:solidFill>
                <a:schemeClr val="tx1"/>
              </a:solidFill>
              <a:latin typeface="Calibri"/>
              <a:ea typeface="Calibri"/>
              <a:cs typeface="Calibri"/>
            </a:rPr>
            <a:t>des personnes peuvent manipuler des animaux infectés morts ou malades trouvés dans la forêt)</a:t>
          </a:r>
          <a:endParaRPr lang="en-US" sz="1500" kern="1200"/>
        </a:p>
      </dsp:txBody>
      <dsp:txXfrm>
        <a:off x="2844282" y="294131"/>
        <a:ext cx="2396744" cy="2522653"/>
      </dsp:txXfrm>
    </dsp:sp>
    <dsp:sp modelId="{FFA33F34-362C-4385-AC06-9AFA3356BD49}">
      <dsp:nvSpPr>
        <dsp:cNvPr id="0" name=""/>
        <dsp:cNvSpPr/>
      </dsp:nvSpPr>
      <dsp:spPr>
        <a:xfrm>
          <a:off x="5598279" y="-331345"/>
          <a:ext cx="2374189" cy="5882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rtlCol="0" anchor="ctr" anchorCtr="0">
          <a:noAutofit/>
        </a:bodyPr>
        <a:lstStyle/>
        <a:p>
          <a:pPr marL="0" lvl="0" indent="0" algn="ctr" defTabSz="711200" rtl="0">
            <a:lnSpc>
              <a:spcPct val="90000"/>
            </a:lnSpc>
            <a:spcBef>
              <a:spcPct val="0"/>
            </a:spcBef>
            <a:spcAft>
              <a:spcPct val="35000"/>
            </a:spcAft>
            <a:buNone/>
          </a:pPr>
          <a:r>
            <a:rPr lang="fr" sz="1600" kern="1200"/>
            <a:t>Transmission humaine secondaire</a:t>
          </a:r>
        </a:p>
      </dsp:txBody>
      <dsp:txXfrm>
        <a:off x="5598279" y="-331345"/>
        <a:ext cx="2374189" cy="588262"/>
      </dsp:txXfrm>
    </dsp:sp>
    <dsp:sp modelId="{5081B6B5-2DB0-4451-96EF-DE6AEAD1AFD3}">
      <dsp:nvSpPr>
        <dsp:cNvPr id="0" name=""/>
        <dsp:cNvSpPr/>
      </dsp:nvSpPr>
      <dsp:spPr>
        <a:xfrm>
          <a:off x="5573089" y="200116"/>
          <a:ext cx="2424570" cy="2653881"/>
        </a:xfrm>
        <a:prstGeom prst="rect">
          <a:avLst/>
        </a:prstGeom>
        <a:solidFill>
          <a:schemeClr val="bg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rtlCol="0" anchor="t" anchorCtr="0">
          <a:noAutofit/>
        </a:bodyPr>
        <a:lstStyle/>
        <a:p>
          <a:pPr marL="114300" lvl="1" indent="-114300" algn="l" defTabSz="666750" rtl="0">
            <a:lnSpc>
              <a:spcPct val="90000"/>
            </a:lnSpc>
            <a:spcBef>
              <a:spcPct val="0"/>
            </a:spcBef>
            <a:spcAft>
              <a:spcPct val="15000"/>
            </a:spcAft>
            <a:buChar char="•"/>
          </a:pPr>
          <a:r>
            <a:rPr lang="fr" sz="1500" kern="1200">
              <a:solidFill>
                <a:schemeClr val="tx1"/>
              </a:solidFill>
              <a:latin typeface="Calibri"/>
              <a:ea typeface="Calibri"/>
              <a:cs typeface="Calibri"/>
            </a:rPr>
            <a:t>Elle se produit par contact direct avec le sang, les sécrétions, les organes ou d’autres fluides corporels de personnes infectées</a:t>
          </a:r>
          <a:endParaRPr lang="en-US" sz="1500" kern="1200"/>
        </a:p>
        <a:p>
          <a:pPr marL="114300" lvl="1" indent="-114300" algn="l" defTabSz="666750" rtl="0">
            <a:lnSpc>
              <a:spcPct val="90000"/>
            </a:lnSpc>
            <a:spcBef>
              <a:spcPct val="0"/>
            </a:spcBef>
            <a:spcAft>
              <a:spcPct val="15000"/>
            </a:spcAft>
            <a:buChar char="•"/>
          </a:pPr>
          <a:r>
            <a:rPr lang="fr" sz="1500" kern="1200">
              <a:solidFill>
                <a:schemeClr val="tx1"/>
              </a:solidFill>
              <a:latin typeface="Calibri"/>
              <a:ea typeface="Calibri"/>
              <a:cs typeface="Calibri"/>
            </a:rPr>
            <a:t>Risque élevé de transmission lors de la fourniture de soins directs aux patients ou de la manipulation de cadavres (funérailles)</a:t>
          </a:r>
        </a:p>
      </dsp:txBody>
      <dsp:txXfrm>
        <a:off x="5573089" y="200116"/>
        <a:ext cx="2424570" cy="2653881"/>
      </dsp:txXfrm>
    </dsp:sp>
    <dsp:sp modelId="{42E54E07-545E-407E-AA16-CD31418AE1D8}">
      <dsp:nvSpPr>
        <dsp:cNvPr id="0" name=""/>
        <dsp:cNvSpPr/>
      </dsp:nvSpPr>
      <dsp:spPr>
        <a:xfrm>
          <a:off x="8341611" y="-302944"/>
          <a:ext cx="2595677" cy="5882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rtlCol="0" anchor="ctr" anchorCtr="0">
          <a:noAutofit/>
        </a:bodyPr>
        <a:lstStyle/>
        <a:p>
          <a:pPr marL="0" lvl="0" indent="0" algn="ctr" defTabSz="711200" rtl="0">
            <a:lnSpc>
              <a:spcPct val="90000"/>
            </a:lnSpc>
            <a:spcBef>
              <a:spcPct val="0"/>
            </a:spcBef>
            <a:spcAft>
              <a:spcPct val="35000"/>
            </a:spcAft>
            <a:buNone/>
          </a:pPr>
          <a:r>
            <a:rPr lang="fr" sz="1600" b="0" kern="1200"/>
            <a:t>Persistance du virus</a:t>
          </a:r>
        </a:p>
      </dsp:txBody>
      <dsp:txXfrm>
        <a:off x="8341611" y="-302944"/>
        <a:ext cx="2595677" cy="588262"/>
      </dsp:txXfrm>
    </dsp:sp>
    <dsp:sp modelId="{0A9DC0C1-AE8A-4A0F-AE73-CF2B5326A20A}">
      <dsp:nvSpPr>
        <dsp:cNvPr id="0" name=""/>
        <dsp:cNvSpPr/>
      </dsp:nvSpPr>
      <dsp:spPr>
        <a:xfrm>
          <a:off x="8369619" y="285317"/>
          <a:ext cx="2515881" cy="2540280"/>
        </a:xfrm>
        <a:prstGeom prst="rect">
          <a:avLst/>
        </a:prstGeom>
        <a:solidFill>
          <a:schemeClr val="bg2">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rtlCol="0" anchor="t" anchorCtr="0">
          <a:noAutofit/>
        </a:bodyPr>
        <a:lstStyle/>
        <a:p>
          <a:pPr marL="114300" lvl="1" indent="-114300" algn="l" defTabSz="666750" rtl="0">
            <a:lnSpc>
              <a:spcPct val="90000"/>
            </a:lnSpc>
            <a:spcBef>
              <a:spcPct val="0"/>
            </a:spcBef>
            <a:spcAft>
              <a:spcPct val="15000"/>
            </a:spcAft>
            <a:buClrTx/>
            <a:buChar char="•"/>
          </a:pPr>
          <a:r>
            <a:rPr lang="fr" sz="1500" kern="1200">
              <a:solidFill>
                <a:schemeClr val="tx1"/>
              </a:solidFill>
              <a:latin typeface="Calibri"/>
              <a:ea typeface="Calibri"/>
              <a:cs typeface="Calibri"/>
            </a:rPr>
            <a:t>La persistance du virus Ebola dans les fluides corporels</a:t>
          </a:r>
          <a:r>
            <a:rPr lang="fr" sz="1500" b="0" i="0" kern="1200"/>
            <a:t> et sites immunologiquement privilégiés</a:t>
          </a:r>
          <a:r>
            <a:rPr lang="fr" sz="1500" kern="1200">
              <a:solidFill>
                <a:schemeClr val="tx1"/>
              </a:solidFill>
              <a:latin typeface="Calibri"/>
              <a:ea typeface="Calibri"/>
              <a:cs typeface="Calibri"/>
            </a:rPr>
            <a:t> des survivants de la maladie à virus Ebola représente un risque de transmission sexuelle et de transmission par le lait maternel ou de rechute</a:t>
          </a:r>
          <a:endParaRPr lang="en-US" sz="1500" kern="1200"/>
        </a:p>
      </dsp:txBody>
      <dsp:txXfrm>
        <a:off x="8369619" y="285317"/>
        <a:ext cx="2515881" cy="25402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65E887-92C8-AD89-9693-CAD38F167C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9D3D0433-AFA3-CAF7-D5C4-4398FFE127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4353B50C-BEBF-47AC-8B93-70CBA6A2F48A}" type="datetimeFigureOut">
              <a:rPr lang="en-US" smtClean="0"/>
              <a:t>9/12/2024</a:t>
            </a:fld>
            <a:endParaRPr lang="en-US"/>
          </a:p>
        </p:txBody>
      </p:sp>
      <p:sp>
        <p:nvSpPr>
          <p:cNvPr id="4" name="Footer Placeholder 3">
            <a:extLst>
              <a:ext uri="{FF2B5EF4-FFF2-40B4-BE49-F238E27FC236}">
                <a16:creationId xmlns:a16="http://schemas.microsoft.com/office/drawing/2014/main" id="{46AFCA37-F007-9E2D-C22E-843CD8D311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F2113E11-4477-2C43-DCB4-4F356C74294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B77808B3-9D13-4905-85AC-473BE257ACCB}" type="slidenum">
              <a:rPr lang="en-US" smtClean="0"/>
              <a:t>‹N°›</a:t>
            </a:fld>
            <a:endParaRPr lang="en-US"/>
          </a:p>
        </p:txBody>
      </p:sp>
    </p:spTree>
    <p:extLst>
      <p:ext uri="{BB962C8B-B14F-4D97-AF65-F5344CB8AC3E}">
        <p14:creationId xmlns:p14="http://schemas.microsoft.com/office/powerpoint/2010/main" val="1496238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399D8D69-9081-CC4C-AA9A-8A91BE58FF5B}" type="datetimeFigureOut">
              <a:rPr lang="en-US" smtClean="0"/>
              <a:t>9/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A0A817AA-0E04-6A40-B2F8-6BF7D849D761}" type="slidenum">
              <a:rPr lang="en-US" smtClean="0"/>
              <a:t>‹N°›</a:t>
            </a:fld>
            <a:endParaRPr lang="en-US"/>
          </a:p>
        </p:txBody>
      </p:sp>
    </p:spTree>
    <p:extLst>
      <p:ext uri="{BB962C8B-B14F-4D97-AF65-F5344CB8AC3E}">
        <p14:creationId xmlns:p14="http://schemas.microsoft.com/office/powerpoint/2010/main" val="3524137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a:t>
            </a:fld>
            <a:endParaRPr lang="en-US"/>
          </a:p>
        </p:txBody>
      </p:sp>
    </p:spTree>
    <p:extLst>
      <p:ext uri="{BB962C8B-B14F-4D97-AF65-F5344CB8AC3E}">
        <p14:creationId xmlns:p14="http://schemas.microsoft.com/office/powerpoint/2010/main" val="848813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sz="1200" b="0" i="0" kern="1200">
                <a:solidFill>
                  <a:schemeClr val="tx1"/>
                </a:solidFill>
                <a:effectLst/>
                <a:latin typeface="+mn-lt"/>
                <a:ea typeface="+mn-ea"/>
                <a:cs typeface="+mn-cs"/>
              </a:rPr>
              <a:t>OMS / Sean Hawkey</a:t>
            </a:r>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3</a:t>
            </a:fld>
            <a:endParaRPr lang="en-US"/>
          </a:p>
        </p:txBody>
      </p:sp>
    </p:spTree>
    <p:extLst>
      <p:ext uri="{BB962C8B-B14F-4D97-AF65-F5344CB8AC3E}">
        <p14:creationId xmlns:p14="http://schemas.microsoft.com/office/powerpoint/2010/main" val="3128217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fr"/>
              <a:t>En novembre 2019, le vaccin a été homologué sous le nom Ervebo par l’EMA et préqualifié par l’OMS, en décembre 2019, il a été approuvé par la FDA. À l’heure actuelle, il n’existe a pas de doses homologuées disponibles</a:t>
            </a:r>
            <a:r>
              <a:rPr lang="fr" sz="2400"/>
              <a:t>, de sorte que seules des doses expérimentales peuvent être utilisées pour le moment. </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sz="2400"/>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fr" sz="2400"/>
              <a:t>Le vaccin a été et continu d’être utilisé dans le cadre d’un protocole d’utilisation compassionnelle et d’un accès élargi.</a:t>
            </a:r>
            <a:endParaRPr lang="en-US"/>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en-US" sz="1100" b="1" i="0" u="none" strike="noStrike" cap="none">
              <a:solidFill>
                <a:srgbClr val="000000"/>
              </a:solidFill>
              <a:effectLst/>
              <a:latin typeface="Arial"/>
              <a:ea typeface="Arial"/>
              <a:cs typeface="Arial"/>
              <a:sym typeface="Arial"/>
            </a:endParaRP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fr" sz="1100" b="1" i="0" u="none" strike="noStrike" cap="none">
                <a:solidFill>
                  <a:srgbClr val="000000"/>
                </a:solidFill>
                <a:effectLst/>
                <a:latin typeface="Arial"/>
                <a:ea typeface="Arial"/>
                <a:cs typeface="Arial"/>
                <a:sym typeface="Arial"/>
              </a:rPr>
              <a:t>L’accès élargi</a:t>
            </a:r>
            <a:r>
              <a:rPr lang="fr" sz="1100" b="0" i="0" u="none" strike="noStrike" cap="none">
                <a:solidFill>
                  <a:srgbClr val="000000"/>
                </a:solidFill>
                <a:effectLst/>
                <a:latin typeface="Arial"/>
                <a:ea typeface="Arial"/>
                <a:cs typeface="Arial"/>
                <a:sym typeface="Arial"/>
              </a:rPr>
              <a:t>, également appelé</a:t>
            </a:r>
            <a:r>
              <a:rPr lang="fr" sz="1100" b="1" i="0" u="none" strike="noStrike" cap="none">
                <a:solidFill>
                  <a:srgbClr val="000000"/>
                </a:solidFill>
                <a:effectLst/>
                <a:latin typeface="Arial"/>
                <a:ea typeface="Arial"/>
                <a:cs typeface="Arial"/>
                <a:sym typeface="Arial"/>
              </a:rPr>
              <a:t> « </a:t>
            </a:r>
            <a:r>
              <a:rPr lang="fr" sz="1100" b="0" i="0" u="none" strike="noStrike" cap="none">
                <a:solidFill>
                  <a:srgbClr val="000000"/>
                </a:solidFill>
                <a:effectLst/>
                <a:latin typeface="Arial"/>
                <a:ea typeface="Arial"/>
                <a:cs typeface="Arial"/>
                <a:sym typeface="Arial"/>
              </a:rPr>
              <a:t>utilisation compassionnelle</a:t>
            </a:r>
            <a:r>
              <a:rPr lang="fr" sz="1100" b="1" i="0" u="none" strike="noStrike" cap="none">
                <a:solidFill>
                  <a:srgbClr val="000000"/>
                </a:solidFill>
                <a:effectLst/>
                <a:latin typeface="Arial"/>
                <a:ea typeface="Arial"/>
                <a:cs typeface="Arial"/>
                <a:sym typeface="Arial"/>
              </a:rPr>
              <a:t> </a:t>
            </a:r>
            <a:r>
              <a:rPr lang="fr" sz="1100" b="0" i="0" u="none" strike="noStrike" cap="none">
                <a:solidFill>
                  <a:srgbClr val="000000"/>
                </a:solidFill>
                <a:effectLst/>
                <a:latin typeface="Arial"/>
                <a:ea typeface="Arial"/>
                <a:cs typeface="Arial"/>
                <a:sym typeface="Arial"/>
              </a:rPr>
              <a:t>», permet aux patients d’avoir accès à  des médicaments expérimentaux, des produits biologiques et à des dispositifs médicaux utilisés pour diagnostiquer, surveiller ou traiter les patients atteints de maladies ou d’affections graves pour lesquelles il n’existe aucune option thérapeutique comparable ou satisfaisante à l’extérieur. Le vaccin n’était pas homologué au moment de l’épidémie. </a:t>
            </a:r>
          </a:p>
          <a:p>
            <a:pPr marL="158750" indent="0" rtl="0">
              <a:buNone/>
            </a:pPr>
            <a:endParaRPr lang="en-US"/>
          </a:p>
        </p:txBody>
      </p:sp>
    </p:spTree>
    <p:extLst>
      <p:ext uri="{BB962C8B-B14F-4D97-AF65-F5344CB8AC3E}">
        <p14:creationId xmlns:p14="http://schemas.microsoft.com/office/powerpoint/2010/main" val="2646939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eaLnBrk="1" hangingPunct="1">
              <a:buFont typeface="Arial" panose="020B0604020202020204" pitchFamily="34" charset="0"/>
              <a:buNone/>
            </a:pPr>
            <a:r>
              <a:rPr lang="fr"/>
              <a:t>Le vaccin présente de bons antécédents précliniques en matière d’innocuité — permettait d’assurer la protection et ne causait pas d’effets toxiques détectables. C’est le seul vaccin contre Ebola pour lequel des données sur l’efficacité clinique chez l’homme ont été étudiées dans plus de 10 pays. Trois essais de phase 3 ont été réalisés pendant la flambée épidémique en Afrique de l’Ouest. L’essai en ceinture « Ça suffit » mené en Guinée s’est avéré d’une très grande efficacité, à 100 %, avec un large intervalle de confiance de 95 % allant de 68,9 à 100 %.</a:t>
            </a:r>
          </a:p>
          <a:p>
            <a:pPr marL="171450" indent="-171450" rtl="0" eaLnBrk="1" hangingPunct="1">
              <a:buFont typeface="Arial" panose="020B0604020202020204" pitchFamily="34" charset="0"/>
              <a:buChar char="•"/>
            </a:pPr>
            <a:r>
              <a:rPr lang="fr"/>
              <a:t>Le vaccin est administré en une seule dose, ce qui est un avantage, et une dose de 2 x 10^7 d’ufp a finalement été adoptée après la phase 1</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fr"/>
              <a:t>Toutefois, il se conserve à -60 ou en deçà, ce qui n’est certainement PAS un avantage. Cette condition de conservation stricte est le résultat des efforts déployés pour passer très rapidement aux essais – le fabricant n’a pas eu le temps d’effectuer le travail de formulation qui aurait normalement été effectué avant la transposition des essais à une plus grande échelle. </a:t>
            </a:r>
          </a:p>
          <a:p>
            <a:pPr marL="171450" indent="-171450" rtl="0" eaLnBrk="1" hangingPunct="1">
              <a:buFont typeface="Arial" panose="020B0604020202020204" pitchFamily="34" charset="0"/>
              <a:buChar char="•"/>
            </a:pPr>
            <a:r>
              <a:rPr lang="fr"/>
              <a:t>On pense que le vaccin confère une immunité après 10 jours</a:t>
            </a:r>
          </a:p>
        </p:txBody>
      </p:sp>
    </p:spTree>
    <p:extLst>
      <p:ext uri="{BB962C8B-B14F-4D97-AF65-F5344CB8AC3E}">
        <p14:creationId xmlns:p14="http://schemas.microsoft.com/office/powerpoint/2010/main" val="2617458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En ce qui concerne ERVEBO, les réponses en anticorps ont été maintenues jusqu’à 3 ans après la vaccination. Le temps de suivi dans un certain nombre d’études a été prolongé à 5 ans et devrait être publié prochainement.</a:t>
            </a:r>
          </a:p>
          <a:p>
            <a:pPr rtl="0"/>
            <a:endParaRPr lang="en-US"/>
          </a:p>
          <a:p>
            <a:pPr rtl="0"/>
            <a:r>
              <a:rPr lang="fr"/>
              <a:t>De plus, PREPARE évalue l’immunogénicité avec une dose de rappel à 18 mois, les résultats sont attendus sous peu.</a:t>
            </a:r>
          </a:p>
          <a:p>
            <a:pPr rtl="0"/>
            <a:endParaRPr lang="en-US"/>
          </a:p>
          <a:p>
            <a:pPr rtl="0"/>
            <a:r>
              <a:rPr lang="fr"/>
              <a:t>Le schéma thérapeutique zabdeno et mvabea a permis d’enregistrer des données d’immunogénicité allant jusqu’à 4 à 5 ans et un rappel avec zabdeno déclenche une réponse anamnestique</a:t>
            </a: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6</a:t>
            </a:fld>
            <a:endParaRPr lang="en-US"/>
          </a:p>
        </p:txBody>
      </p:sp>
    </p:spTree>
    <p:extLst>
      <p:ext uri="{BB962C8B-B14F-4D97-AF65-F5344CB8AC3E}">
        <p14:creationId xmlns:p14="http://schemas.microsoft.com/office/powerpoint/2010/main" val="1410408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9</a:t>
            </a:fld>
            <a:endParaRPr lang="en-US"/>
          </a:p>
        </p:txBody>
      </p:sp>
    </p:spTree>
    <p:extLst>
      <p:ext uri="{BB962C8B-B14F-4D97-AF65-F5344CB8AC3E}">
        <p14:creationId xmlns:p14="http://schemas.microsoft.com/office/powerpoint/2010/main" val="49025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20</a:t>
            </a:fld>
            <a:endParaRPr lang="en-US"/>
          </a:p>
        </p:txBody>
      </p:sp>
    </p:spTree>
    <p:extLst>
      <p:ext uri="{BB962C8B-B14F-4D97-AF65-F5344CB8AC3E}">
        <p14:creationId xmlns:p14="http://schemas.microsoft.com/office/powerpoint/2010/main" val="1773942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fr"/>
              <a:t>Le premier vaccin, le rVSV-ZEBOV, a été</a:t>
            </a:r>
            <a:r>
              <a:rPr lang="fr" sz="1800">
                <a:effectLst/>
                <a:latin typeface="Times New Roman" panose="02020603050405020304" pitchFamily="18" charset="0"/>
                <a:ea typeface="Times New Roman" panose="02020603050405020304" pitchFamily="18" charset="0"/>
              </a:rPr>
              <a:t> homologué par la FDA et l’EMA pour toute personne âgée de 1 an et plus. Une étude d’efficacité a été réalisée en Guinée. Bien que la durabilité soit inconnue, nous savons, grâce à des études d’immunogénicité, que les anticorps demeurent jusqu’à 5 an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800">
                <a:effectLst/>
                <a:latin typeface="Times New Roman" panose="02020603050405020304" pitchFamily="18" charset="0"/>
                <a:ea typeface="Times New Roman" panose="02020603050405020304" pitchFamily="18" charset="0"/>
              </a:rPr>
              <a:t>Le deuxième vaccin a été homologué par l’EMA sur la base du règlement relatif aux essais sur les animaux. Il s’agit d’un schéma thérapeutique hétérologue à deux doses administré à 56 jours d’intervalle aux individus âgés d’au moins un an. L’EMA a indiqué qu’une dose supplémentaire devrait être envisagée pour les personnes présentant un risque imminent d’exposition si le schéma de vaccination primaire date de plus de 4 mois. Il n’existe pas d’essais d’efficacité réalisés chez l’homme, mais les anticorps demeurent jusqu’à 5 ans selon les données d’immunogénicité. </a:t>
            </a:r>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21</a:t>
            </a:fld>
            <a:endParaRPr lang="en-US"/>
          </a:p>
        </p:txBody>
      </p:sp>
    </p:spTree>
    <p:extLst>
      <p:ext uri="{BB962C8B-B14F-4D97-AF65-F5344CB8AC3E}">
        <p14:creationId xmlns:p14="http://schemas.microsoft.com/office/powerpoint/2010/main" val="1237695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Voici un tableau présentant l’utilisation du vaccin Ebola de 2021 à 2023. Les demandes de vaccins ont été partiellement ou complètement approuvées en RDC, en Ouganda et en Guinée-Bissau. Les agents de santé et les travailleurs de première ligne ont été ciblés dans tous les pays et la couverture de la population cible variait entre 53 et 99 %, selon les estimations</a:t>
            </a: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23</a:t>
            </a:fld>
            <a:endParaRPr lang="en-US"/>
          </a:p>
        </p:txBody>
      </p:sp>
    </p:spTree>
    <p:extLst>
      <p:ext uri="{BB962C8B-B14F-4D97-AF65-F5344CB8AC3E}">
        <p14:creationId xmlns:p14="http://schemas.microsoft.com/office/powerpoint/2010/main" val="3984424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fr"/>
              <a:t>Il existe quatre espèces de virus Ebola qui causent la maladie chez l’homme. La majorité des flambées épidémiques sont causées par le virus Ebola ou la maladie à virus Ebola appartenant à l’espèce Zaïre C’est cette espèce que nous allons examiner aujourd’hui,</a:t>
            </a:r>
            <a:r>
              <a:rPr lang="fr"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car c’est la seule pour laquelle un vaccin préventif existe</a:t>
            </a:r>
            <a:endParaRPr lang="en-US" sz="1800">
              <a:effectLst/>
              <a:latin typeface="Times New Roman" panose="02020603050405020304" pitchFamily="18" charset="0"/>
              <a:ea typeface="Times New Roman" panose="02020603050405020304" pitchFamily="18" charset="0"/>
            </a:endParaRPr>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2</a:t>
            </a:fld>
            <a:endParaRPr lang="en-US"/>
          </a:p>
        </p:txBody>
      </p:sp>
    </p:spTree>
    <p:extLst>
      <p:ext uri="{BB962C8B-B14F-4D97-AF65-F5344CB8AC3E}">
        <p14:creationId xmlns:p14="http://schemas.microsoft.com/office/powerpoint/2010/main" val="3747359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85000" lnSpcReduction="10000"/>
          </a:bodyPr>
          <a:lstStyle/>
          <a:p>
            <a:pPr marL="285750" lvl="1" rtl="0" eaLnBrk="1" fontAlgn="auto" hangingPunct="1">
              <a:spcBef>
                <a:spcPts val="0"/>
              </a:spcBef>
              <a:spcAft>
                <a:spcPts val="1200"/>
              </a:spcAft>
              <a:buClr>
                <a:srgbClr val="8E8D01"/>
              </a:buClr>
              <a:defRPr/>
            </a:pPr>
            <a:r>
              <a:rPr lang="fr" sz="1800">
                <a:solidFill>
                  <a:srgbClr val="000000"/>
                </a:solidFill>
                <a:cs typeface="Times New Roman" panose="02020603050405020304" pitchFamily="18" charset="0"/>
              </a:rPr>
              <a:t>En 1989, le virus Reston a été découvert chez des singes de laboratoire importés des Philippines aux États-Unis. Cette découverte a permis de révéler que les virus Ebola n’étaient plus uniquement circonscrits à l’Afrique, mais qu’ils étaient également présents en Asie. </a:t>
            </a:r>
            <a:endParaRPr lang="es-BO" sz="1800">
              <a:solidFill>
                <a:srgbClr val="000000"/>
              </a:solidFill>
              <a:cs typeface="Times New Roman" panose="02020603050405020304" pitchFamily="18" charset="0"/>
            </a:endParaRPr>
          </a:p>
          <a:p>
            <a:pPr marL="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En 1994, une nouvelle espèce d’Ebola a été découverte, le virus Ebola de la Forêt de </a:t>
            </a:r>
            <a:r>
              <a:rPr lang="fr" sz="1800" i="1">
                <a:effectLst/>
                <a:latin typeface="Calibri" panose="020F0502020204030204" pitchFamily="34" charset="0"/>
                <a:ea typeface="Calibri" panose="020F0502020204030204" pitchFamily="34" charset="0"/>
                <a:cs typeface="Times New Roman" panose="02020603050405020304" pitchFamily="18" charset="0"/>
              </a:rPr>
              <a:t>Ta</a:t>
            </a:r>
            <a:r>
              <a:rPr lang="fr" sz="1800" i="1">
                <a:effectLst/>
                <a:latin typeface="Calibri" panose="020F0502020204030204" pitchFamily="34" charset="0"/>
                <a:ea typeface="Calibri" panose="020F0502020204030204" pitchFamily="34" charset="0"/>
                <a:cs typeface="Calibri" panose="020F0502020204030204" pitchFamily="34" charset="0"/>
              </a:rPr>
              <a:t>ï</a:t>
            </a:r>
            <a:r>
              <a:rPr lang="fr" sz="1800" i="1">
                <a:effectLst/>
                <a:latin typeface="Calibri" panose="020F0502020204030204" pitchFamily="34" charset="0"/>
                <a:ea typeface="Calibri" panose="020F0502020204030204" pitchFamily="34" charset="0"/>
                <a:cs typeface="Times New Roman" panose="02020603050405020304" pitchFamily="18" charset="0"/>
              </a:rPr>
              <a:t>.</a:t>
            </a:r>
            <a:r>
              <a:rPr lang="fr" sz="1800">
                <a:effectLst/>
                <a:latin typeface="Calibri" panose="020F0502020204030204" pitchFamily="34" charset="0"/>
                <a:ea typeface="Calibri" panose="020F0502020204030204" pitchFamily="34" charset="0"/>
                <a:cs typeface="Times New Roman" panose="02020603050405020304" pitchFamily="18" charset="0"/>
              </a:rPr>
              <a:t> Un enquêteur de terrain a été infecté par cette nouvelle espèce lors de l’autopsie d’un chimpanzé sauvage dans une région de la C</a:t>
            </a:r>
            <a:r>
              <a:rPr lang="fr" sz="1800">
                <a:effectLst/>
                <a:latin typeface="Calibri" panose="020F0502020204030204" pitchFamily="34" charset="0"/>
                <a:ea typeface="Calibri" panose="020F0502020204030204" pitchFamily="34" charset="0"/>
                <a:cs typeface="Calibri" panose="020F0502020204030204" pitchFamily="34" charset="0"/>
              </a:rPr>
              <a:t>ô</a:t>
            </a:r>
            <a:r>
              <a:rPr lang="fr" sz="1800">
                <a:effectLst/>
                <a:latin typeface="Calibri" panose="020F0502020204030204" pitchFamily="34" charset="0"/>
                <a:ea typeface="Calibri" panose="020F0502020204030204" pitchFamily="34" charset="0"/>
                <a:cs typeface="Times New Roman" panose="02020603050405020304" pitchFamily="18" charset="0"/>
              </a:rPr>
              <a:t>te d’Ivoire qui avait rapporté un nombre élevé de décès de chimpanzés. Ce cas unique et non mortel est le seul cas humain connu de virus de la Forêt de Tai à ce jour.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1800" b="1">
                <a:effectLst/>
                <a:latin typeface="Calibri" panose="020F0502020204030204" pitchFamily="34" charset="0"/>
                <a:ea typeface="Calibri" panose="020F0502020204030204" pitchFamily="34" charset="0"/>
                <a:cs typeface="Times New Roman" panose="02020603050405020304" pitchFamily="18" charset="0"/>
              </a:rPr>
              <a:t>On compte 8 flambées épidémiques connues de maladie à virus Ebola entre 1989 et 1996. Au cours de ces flambées épidémiques, 468 cas et 353 décès ont été signalés.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endParaRPr lang="es-BO"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rtlCol="0"/>
          <a:lstStyle/>
          <a:p>
            <a:pPr rtl="0"/>
            <a:fld id="{7E82054C-5FFB-4925-88B8-34BFE44764D6}" type="slidenum">
              <a:rPr lang="en-US" smtClean="0"/>
              <a:pPr rtl="0"/>
              <a:t>4</a:t>
            </a:fld>
            <a:endParaRPr lang="en-US"/>
          </a:p>
        </p:txBody>
      </p:sp>
    </p:spTree>
    <p:extLst>
      <p:ext uri="{BB962C8B-B14F-4D97-AF65-F5344CB8AC3E}">
        <p14:creationId xmlns:p14="http://schemas.microsoft.com/office/powerpoint/2010/main" val="297402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85000" lnSpcReduction="20000"/>
          </a:bodyPr>
          <a:lstStyle/>
          <a:p>
            <a:pPr marL="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Au début du XXI</a:t>
            </a:r>
            <a:r>
              <a:rPr lang="fr" sz="1800" baseline="30000">
                <a:effectLst/>
                <a:latin typeface="Calibri" panose="020F0502020204030204" pitchFamily="34" charset="0"/>
                <a:ea typeface="Calibri" panose="020F0502020204030204" pitchFamily="34" charset="0"/>
                <a:cs typeface="Times New Roman" panose="02020603050405020304" pitchFamily="18" charset="0"/>
              </a:rPr>
              <a:t>e</a:t>
            </a:r>
            <a:r>
              <a:rPr lang="fr" sz="1800">
                <a:effectLst/>
                <a:latin typeface="Calibri" panose="020F0502020204030204" pitchFamily="34" charset="0"/>
                <a:ea typeface="Calibri" panose="020F0502020204030204" pitchFamily="34" charset="0"/>
                <a:cs typeface="Times New Roman" panose="02020603050405020304" pitchFamily="18" charset="0"/>
              </a:rPr>
              <a:t> siècle, de nouvelles régions d’Afrique centrale ont connu des flambées épidémiques de maladie à virus Ebola où le virus n’avait pas été observé auparavant. En 2000, </a:t>
            </a:r>
            <a:r>
              <a:rPr lang="fr" sz="1800" i="0">
                <a:effectLst/>
                <a:latin typeface="Calibri" panose="020F0502020204030204" pitchFamily="34" charset="0"/>
                <a:ea typeface="Calibri" panose="020F0502020204030204" pitchFamily="34" charset="0"/>
                <a:cs typeface="Times New Roman" panose="02020603050405020304" pitchFamily="18" charset="0"/>
              </a:rPr>
              <a:t>le virus Soudan</a:t>
            </a:r>
            <a:r>
              <a:rPr lang="fr" sz="1800">
                <a:effectLst/>
                <a:latin typeface="Calibri" panose="020F0502020204030204" pitchFamily="34" charset="0"/>
                <a:ea typeface="Calibri" panose="020F0502020204030204" pitchFamily="34" charset="0"/>
                <a:cs typeface="Times New Roman" panose="02020603050405020304" pitchFamily="18" charset="0"/>
              </a:rPr>
              <a:t> a été découvert en Ouganda, marquant les premiers cas signalés de maladie à virus Ebola dans le pays. Un an plus tard, en 2001, les premiers cas d’Ebola (espèce </a:t>
            </a:r>
            <a:r>
              <a:rPr lang="fr" sz="1800" i="1">
                <a:effectLst/>
                <a:latin typeface="Calibri" panose="020F0502020204030204" pitchFamily="34" charset="0"/>
                <a:ea typeface="Calibri" panose="020F0502020204030204" pitchFamily="34" charset="0"/>
                <a:cs typeface="Times New Roman" panose="02020603050405020304" pitchFamily="18" charset="0"/>
              </a:rPr>
              <a:t>ebolavirus Zaïre</a:t>
            </a:r>
            <a:r>
              <a:rPr lang="fr" sz="1800">
                <a:effectLst/>
                <a:latin typeface="Calibri" panose="020F0502020204030204" pitchFamily="34" charset="0"/>
                <a:ea typeface="Calibri" panose="020F0502020204030204" pitchFamily="34" charset="0"/>
                <a:cs typeface="Times New Roman" panose="02020603050405020304" pitchFamily="18" charset="0"/>
              </a:rPr>
              <a:t>) sont apparus en République du Congo, le long de la frontière avec le Gabon.</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En outre, un nouveau virus Ebola, le virus Bundibugyo, a été découvert en Ouganda en 2007 (photo du district de Bundibugyo ici à droite).</a:t>
            </a:r>
            <a:r>
              <a:rPr lang="fr" sz="1800" i="1">
                <a:effectLst/>
                <a:latin typeface="Calibri" panose="020F0502020204030204" pitchFamily="34" charset="0"/>
                <a:ea typeface="Calibri" panose="020F0502020204030204" pitchFamily="34" charset="0"/>
                <a:cs typeface="Times New Roman" panose="02020603050405020304" pitchFamily="18" charset="0"/>
              </a:rPr>
              <a:t> </a:t>
            </a:r>
            <a:r>
              <a:rPr lang="fr" sz="1800">
                <a:effectLst/>
                <a:latin typeface="Calibri" panose="020F0502020204030204" pitchFamily="34" charset="0"/>
                <a:ea typeface="Calibri" panose="020F0502020204030204" pitchFamily="34" charset="0"/>
                <a:cs typeface="Times New Roman" panose="02020603050405020304" pitchFamily="18" charset="0"/>
              </a:rPr>
              <a:t> Bien que les caractéristiques de cette nouvelle espèce étaient similaires à celles du </a:t>
            </a:r>
            <a:r>
              <a:rPr lang="fr" sz="1800" i="1">
                <a:effectLst/>
                <a:latin typeface="Calibri" panose="020F0502020204030204" pitchFamily="34" charset="0"/>
                <a:ea typeface="Calibri" panose="020F0502020204030204" pitchFamily="34" charset="0"/>
                <a:cs typeface="Times New Roman" panose="02020603050405020304" pitchFamily="18" charset="0"/>
              </a:rPr>
              <a:t>virus Ebola appartenant à l’espèce Zaïre</a:t>
            </a:r>
            <a:r>
              <a:rPr lang="fr" sz="1800">
                <a:effectLst/>
                <a:latin typeface="Calibri" panose="020F0502020204030204" pitchFamily="34" charset="0"/>
                <a:ea typeface="Calibri" panose="020F0502020204030204" pitchFamily="34" charset="0"/>
                <a:cs typeface="Times New Roman" panose="02020603050405020304" pitchFamily="18" charset="0"/>
              </a:rPr>
              <a:t>, elle était moins mortelle, avec un taux de létalité de 32 %, soit 42 décès sur un total de 131 cas</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1800" b="1">
                <a:effectLst/>
                <a:latin typeface="Calibri" panose="020F0502020204030204" pitchFamily="34" charset="0"/>
                <a:ea typeface="Calibri" panose="020F0502020204030204" pitchFamily="34" charset="0"/>
                <a:cs typeface="Times New Roman" panose="02020603050405020304" pitchFamily="18" charset="0"/>
              </a:rPr>
              <a:t>Entre 2000 et 2008, un total de 12 flambées épidémiques connues de la maladie à virus Ebola ont été enregistrées. Au cours de ces flambées épidémiques, 1 190 cas et 740 décès ont été recensés.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rtlCol="0"/>
          <a:lstStyle/>
          <a:p>
            <a:pPr rtl="0"/>
            <a:fld id="{7E82054C-5FFB-4925-88B8-34BFE44764D6}" type="slidenum">
              <a:rPr lang="en-US" smtClean="0"/>
              <a:pPr rtl="0"/>
              <a:t>5</a:t>
            </a:fld>
            <a:endParaRPr lang="en-US"/>
          </a:p>
        </p:txBody>
      </p:sp>
    </p:spTree>
    <p:extLst>
      <p:ext uri="{BB962C8B-B14F-4D97-AF65-F5344CB8AC3E}">
        <p14:creationId xmlns:p14="http://schemas.microsoft.com/office/powerpoint/2010/main" val="642661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70000" lnSpcReduction="20000"/>
          </a:bodyPr>
          <a:lstStyle/>
          <a:p>
            <a:pPr marL="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Entre 2011 et 2012, l’Ouganda a connu trois flambées épidémiques d’Ebola causées par le virus appartenant à l’espèce Soudan, qui ont toutes été rapidement maîtrisées et sont restées relativement limitées.</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Cette période est également marquée par les deux plus grandes épidémies d’Ebola connues de l’histoire. Au cours de la flambée épidémique qui a touché l’Afrique de l’Ouest entre 2014 et 2016, 28 652 cas et 11 325 décès ont été enregistrés. Si l’épidémie s’est propagée à d’autres régions d’Afrique, d’Europe et des États-Unis, la plupart des cas ont été observés en Guinée, au Libéria et en Sierra Leone.  </a:t>
            </a:r>
          </a:p>
          <a:p>
            <a:pPr marL="0" marR="0" lvl="0" indent="0" algn="l" defTabSz="914400" rtl="0" eaLnBrk="1" fontAlgn="base" latinLnBrk="0" hangingPunct="1">
              <a:lnSpc>
                <a:spcPct val="107000"/>
              </a:lnSpc>
              <a:spcBef>
                <a:spcPts val="0"/>
              </a:spcBef>
              <a:spcAft>
                <a:spcPts val="800"/>
              </a:spcAft>
              <a:buClrTx/>
              <a:buSzTx/>
              <a:buFontTx/>
              <a:buNone/>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Deux ans plus tard, et pour la première fois depuis plus d’une décennie, une nouvelle espèce d’Ebola a été identifiée en 2018 lorsque</a:t>
            </a:r>
            <a:r>
              <a:rPr lang="fr" sz="1800" i="0">
                <a:effectLst/>
                <a:latin typeface="Calibri" panose="020F0502020204030204" pitchFamily="34" charset="0"/>
                <a:ea typeface="Calibri" panose="020F0502020204030204" pitchFamily="34" charset="0"/>
                <a:cs typeface="Times New Roman" panose="02020603050405020304" pitchFamily="18" charset="0"/>
              </a:rPr>
              <a:t> le virus Bombali</a:t>
            </a:r>
            <a:r>
              <a:rPr lang="fr" sz="1800">
                <a:effectLst/>
                <a:latin typeface="Calibri" panose="020F0502020204030204" pitchFamily="34" charset="0"/>
                <a:ea typeface="Calibri" panose="020F0502020204030204" pitchFamily="34" charset="0"/>
                <a:cs typeface="Times New Roman" panose="02020603050405020304" pitchFamily="18" charset="0"/>
              </a:rPr>
              <a:t> a été détecté chez des chauves-souris en Sierra Leone. </a:t>
            </a:r>
          </a:p>
          <a:p>
            <a:pPr marL="0" marR="0" lvl="0" indent="0" algn="l" defTabSz="914400" rtl="0" eaLnBrk="1" fontAlgn="base" latinLnBrk="0" hangingPunct="1">
              <a:lnSpc>
                <a:spcPct val="107000"/>
              </a:lnSpc>
              <a:spcBef>
                <a:spcPts val="0"/>
              </a:spcBef>
              <a:spcAft>
                <a:spcPts val="800"/>
              </a:spcAft>
              <a:buClrTx/>
              <a:buSzTx/>
              <a:buFontTx/>
              <a:buNone/>
              <a:tabLst/>
              <a:defRPr/>
            </a:pPr>
            <a:r>
              <a:rPr lang="fr" sz="1800">
                <a:effectLst/>
                <a:latin typeface="Calibri" panose="020F0502020204030204" pitchFamily="34" charset="0"/>
                <a:ea typeface="Calibri" panose="020F0502020204030204" pitchFamily="34" charset="0"/>
                <a:cs typeface="Times New Roman" panose="02020603050405020304" pitchFamily="18" charset="0"/>
              </a:rPr>
              <a:t>La même année, la partie est de la RDC a signalé 3 470 cas et 2 287 décès liés à l’épidémie de 2018-2020 qui a touché le pays.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1800" b="1">
                <a:effectLst/>
                <a:latin typeface="Calibri" panose="020F0502020204030204" pitchFamily="34" charset="0"/>
                <a:ea typeface="Calibri" panose="020F0502020204030204" pitchFamily="34" charset="0"/>
                <a:cs typeface="Times New Roman" panose="02020603050405020304" pitchFamily="18" charset="0"/>
              </a:rPr>
              <a:t>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685800" marR="0" rtl="0">
              <a:lnSpc>
                <a:spcPct val="107000"/>
              </a:lnSpc>
              <a:spcBef>
                <a:spcPts val="0"/>
              </a:spcBef>
              <a:spcAft>
                <a:spcPts val="0"/>
              </a:spcAft>
            </a:pPr>
            <a:r>
              <a:rPr lang="fr" sz="1800">
                <a:effectLst/>
                <a:latin typeface="Calibri" panose="020F0502020204030204" pitchFamily="34" charset="0"/>
                <a:ea typeface="Calibri" panose="020F0502020204030204" pitchFamily="34" charset="0"/>
                <a:cs typeface="Times New Roman" panose="02020603050405020304" pitchFamily="18" charset="0"/>
              </a:rPr>
              <a:t>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68580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rtlCol="0"/>
          <a:lstStyle/>
          <a:p>
            <a:pPr rtl="0"/>
            <a:fld id="{7E82054C-5FFB-4925-88B8-34BFE44764D6}" type="slidenum">
              <a:rPr lang="en-US" smtClean="0"/>
              <a:pPr rtl="0"/>
              <a:t>6</a:t>
            </a:fld>
            <a:endParaRPr lang="en-US"/>
          </a:p>
        </p:txBody>
      </p:sp>
    </p:spTree>
    <p:extLst>
      <p:ext uri="{BB962C8B-B14F-4D97-AF65-F5344CB8AC3E}">
        <p14:creationId xmlns:p14="http://schemas.microsoft.com/office/powerpoint/2010/main" val="31986828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fontScale="25000" lnSpcReduction="20000"/>
          </a:bodyPr>
          <a:lstStyle/>
          <a:p>
            <a:pPr marL="0" marR="0" rtl="0">
              <a:lnSpc>
                <a:spcPct val="107000"/>
              </a:lnSpc>
              <a:spcBef>
                <a:spcPts val="0"/>
              </a:spcBef>
              <a:spcAft>
                <a:spcPts val="800"/>
              </a:spcAft>
            </a:pPr>
            <a:r>
              <a:rPr lang="fr" sz="4000" b="0" i="0">
                <a:solidFill>
                  <a:srgbClr val="000000"/>
                </a:solidFill>
                <a:effectLst/>
                <a:latin typeface="Open Sans" panose="020B0606030504020204" pitchFamily="34" charset="0"/>
              </a:rPr>
              <a:t>Parlant de développements plus récents, l’année 2021 a commencé avec des flambées épidémiques simultanées du virus Ebola (espèce</a:t>
            </a:r>
            <a:r>
              <a:rPr lang="fr" sz="4000" b="0" i="1">
                <a:solidFill>
                  <a:srgbClr val="000000"/>
                </a:solidFill>
                <a:effectLst/>
                <a:latin typeface="Open Sans" panose="020B0606030504020204" pitchFamily="34" charset="0"/>
              </a:rPr>
              <a:t> </a:t>
            </a:r>
            <a:r>
              <a:rPr lang="fr" sz="4000" b="0" i="0">
                <a:solidFill>
                  <a:srgbClr val="000000"/>
                </a:solidFill>
                <a:effectLst/>
                <a:latin typeface="Open Sans" panose="020B0606030504020204" pitchFamily="34" charset="0"/>
              </a:rPr>
              <a:t>ebolavirus Zaïre) en RDC et en Guinée. Le 7 février 2021, le Ministère de la santé de la RDC a annoncé une épidémie d’Ebola dans la province du Nord-Kivu.  Cette dernière avait déjà été touchée par la maladie à virus Ebola lors de l’épidémie de 2018-2020. Le séquençage des échantillons laisse supposer que les cas enregistrés lors de cette flambée épidémique étaient liés à des cas signalés dans la région au cours de l’épidémie de 2018-2020 et résultaient probablement d’une infection persistante chez un survivant qui a entraîné soit une rechute, soit une transmission sexuelle du virus. La fin de la flambée a été déclarée le 3 mai 2021</a:t>
            </a:r>
          </a:p>
          <a:p>
            <a:pPr marL="0" marR="0" rtl="0">
              <a:lnSpc>
                <a:spcPct val="107000"/>
              </a:lnSpc>
              <a:spcBef>
                <a:spcPts val="0"/>
              </a:spcBef>
              <a:spcAft>
                <a:spcPts val="800"/>
              </a:spcAft>
            </a:pPr>
            <a:endParaRPr lang="en-US" sz="4000" b="0" i="0">
              <a:solidFill>
                <a:srgbClr val="000000"/>
              </a:solidFill>
              <a:effectLst/>
              <a:latin typeface="Open Sans" panose="020B0606030504020204" pitchFamily="34" charset="0"/>
            </a:endParaRPr>
          </a:p>
          <a:p>
            <a:pPr marL="0" marR="0" rtl="0">
              <a:lnSpc>
                <a:spcPct val="107000"/>
              </a:lnSpc>
              <a:spcBef>
                <a:spcPts val="0"/>
              </a:spcBef>
              <a:spcAft>
                <a:spcPts val="800"/>
              </a:spcAft>
            </a:pPr>
            <a:r>
              <a:rPr lang="fr" sz="4000" b="0" i="0">
                <a:solidFill>
                  <a:srgbClr val="000000"/>
                </a:solidFill>
                <a:effectLst/>
                <a:latin typeface="Open Sans" panose="020B0606030504020204" pitchFamily="34" charset="0"/>
              </a:rPr>
              <a:t>À peine sept jours plus tard, le 14 février 2021, le Ministère de la santé de Guinée annonçait une épidémie d’Ebola dans la préfecture de N’Zérékoré, une zone rurale boisée au sud-est du pays. Il s’agit des premiers cas d’Ebola confirmés en Guinée depuis la fin de l’épidémie de 2014-2016 en Afrique de l’Ouest. Le séquençage des échantillons de la flambée épidémique a été effectué et comparé aux séquences des cas enregistrés lors de l’épidémie de 2014-2016 en Afrique de l’Ouest. Bien que les chercheurs ne puissent pas déterminer avec certitude la cause de l’épidémie, comme cela a été le cas pour l’épidémie simultanée en RDC, les résultats obtenus appuient fortement la conclusion selon laquelle elle a probablement été causée par une source persistante d’infection chez un survivant et non par une nouvelle introduction du virus à partir du réservoir animal. La fin de flambée épidémique a été déclarée le 19 juin 2021.</a:t>
            </a:r>
          </a:p>
          <a:p>
            <a:pPr marL="0" marR="0" rtl="0">
              <a:lnSpc>
                <a:spcPct val="107000"/>
              </a:lnSpc>
              <a:spcBef>
                <a:spcPts val="0"/>
              </a:spcBef>
              <a:spcAft>
                <a:spcPts val="800"/>
              </a:spcAft>
            </a:pPr>
            <a:endParaRPr lang="en-US" sz="2800" b="0" i="0">
              <a:solidFill>
                <a:srgbClr val="000000"/>
              </a:solidFill>
              <a:effectLst/>
              <a:latin typeface="Open Sans" panose="020B0606030504020204" pitchFamily="34" charset="0"/>
            </a:endParaRPr>
          </a:p>
          <a:p>
            <a:pPr marL="0" marR="0" rtl="0">
              <a:lnSpc>
                <a:spcPct val="107000"/>
              </a:lnSpc>
              <a:spcBef>
                <a:spcPts val="0"/>
              </a:spcBef>
              <a:spcAft>
                <a:spcPts val="800"/>
              </a:spcAft>
            </a:pPr>
            <a:r>
              <a:rPr lang="fr" sz="2800" b="0" i="0">
                <a:solidFill>
                  <a:srgbClr val="000000"/>
                </a:solidFill>
                <a:effectLst/>
                <a:latin typeface="Open Sans" panose="020B0606030504020204" pitchFamily="34" charset="0"/>
              </a:rPr>
              <a:t>Plus récemment, le 20 septembre 2022, le Ministère de la santé de l’Ouganda a confirmé une flambée épidémique d’Ebola (virus Soudan) dans le district de Mubende, dans l’ouest du pays. Il s’agissait de la sixième épidémie d’Ebola en Ouganda et de la cinquième causée par le virus appartenant à l’espèce Soudan. La fin de la flambée épidémique a été déclarée le 11 janvier 2023, avec 142 cas (et 22 probables) et 55 décès confirmés (soit un taux de létalité de 34 %)</a:t>
            </a:r>
          </a:p>
          <a:p>
            <a:pPr marL="0" marR="0" rtl="0">
              <a:lnSpc>
                <a:spcPct val="107000"/>
              </a:lnSpc>
              <a:spcBef>
                <a:spcPts val="0"/>
              </a:spcBef>
              <a:spcAft>
                <a:spcPts val="800"/>
              </a:spcAft>
            </a:pPr>
            <a:r>
              <a:rPr lang="fr" sz="1800" b="1">
                <a:effectLst/>
                <a:latin typeface="Calibri" panose="020F0502020204030204" pitchFamily="34" charset="0"/>
                <a:ea typeface="Calibri" panose="020F0502020204030204" pitchFamily="34" charset="0"/>
                <a:cs typeface="Times New Roman" panose="02020603050405020304" pitchFamily="18" charset="0"/>
              </a:rPr>
              <a:t>Un total de 13 flambées épidémiques d’Ebola ont été recensées depuis 2022 jusqu’à ce jour. Au cours de ces flambées épidémiques, 32 673 cas et 13 877 décès ont été enregistrés.</a:t>
            </a:r>
          </a:p>
          <a:p>
            <a:pPr marL="0" marR="0" rtl="0">
              <a:lnSpc>
                <a:spcPct val="107000"/>
              </a:lnSpc>
              <a:spcBef>
                <a:spcPts val="0"/>
              </a:spcBef>
              <a:spcAft>
                <a:spcPts val="800"/>
              </a:spcAft>
            </a:pP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p>
            <a:pPr marL="0" marR="0" rtl="0">
              <a:lnSpc>
                <a:spcPct val="107000"/>
              </a:lnSpc>
              <a:spcBef>
                <a:spcPts val="0"/>
              </a:spcBef>
              <a:spcAft>
                <a:spcPts val="800"/>
              </a:spcAft>
            </a:pPr>
            <a:r>
              <a:rPr lang="fr" sz="2800" b="0" i="0">
                <a:solidFill>
                  <a:srgbClr val="000000"/>
                </a:solidFill>
                <a:effectLst/>
                <a:latin typeface="Open Sans" panose="020B0606030504020204" pitchFamily="34" charset="0"/>
              </a:rPr>
              <a:t>La carte ci-contre montre la répartition des flambées épidémiques d’Ebola en Afrique depuis leur apparition en 1976 jusqu’à la récente poussée épidémique en Ouganda qui a été déclarée terminée en janvier de cette année.</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a:p>
            <a:pPr marL="685800" marR="0" rtl="0">
              <a:lnSpc>
                <a:spcPct val="107000"/>
              </a:lnSpc>
              <a:spcBef>
                <a:spcPts val="0"/>
              </a:spcBef>
              <a:spcAft>
                <a:spcPts val="800"/>
              </a:spcAft>
            </a:pPr>
            <a:r>
              <a:rPr lang="fr" sz="1800">
                <a:effectLst/>
                <a:latin typeface="Calibri" panose="020F0502020204030204" pitchFamily="34" charset="0"/>
                <a:ea typeface="Calibri" panose="020F0502020204030204" pitchFamily="34" charset="0"/>
                <a:cs typeface="Times New Roman" panose="02020603050405020304" pitchFamily="18" charset="0"/>
              </a:rPr>
              <a:t> </a:t>
            </a:r>
            <a:endParaRPr lang="es-BO"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rtlCol="0"/>
          <a:lstStyle/>
          <a:p>
            <a:pPr rtl="0"/>
            <a:fld id="{7E82054C-5FFB-4925-88B8-34BFE44764D6}" type="slidenum">
              <a:rPr lang="en-US" smtClean="0"/>
              <a:pPr rtl="0"/>
              <a:t>7</a:t>
            </a:fld>
            <a:endParaRPr lang="en-US"/>
          </a:p>
        </p:txBody>
      </p:sp>
    </p:spTree>
    <p:extLst>
      <p:ext uri="{BB962C8B-B14F-4D97-AF65-F5344CB8AC3E}">
        <p14:creationId xmlns:p14="http://schemas.microsoft.com/office/powerpoint/2010/main" val="27355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fr"/>
              <a:t>Sur cette diapositive, je souligne uniquement deux éléments sur la façon dont les épidémies peuvent commencer. Le premier est l’infection de l’homme par un animal porteur du virus, ce qui peut alors conduire à une transmission secondaire et à une épidémie. Le second, qui est un concept plus récent, est la persistance virale qui peut survenir chez les survivants. </a:t>
            </a:r>
          </a:p>
          <a:p>
            <a:pPr rtl="0"/>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fr" sz="1200">
                <a:solidFill>
                  <a:schemeClr val="tx1"/>
                </a:solidFill>
                <a:latin typeface="Calibri"/>
                <a:ea typeface="Calibri"/>
                <a:cs typeface="Calibri"/>
              </a:rPr>
              <a:t>La persistance du virus Ebola dans les fluides corporels</a:t>
            </a:r>
            <a:r>
              <a:rPr lang="fr" sz="1200" b="0" i="0"/>
              <a:t> et sites immunologiquement privilégiés</a:t>
            </a:r>
            <a:r>
              <a:rPr lang="fr" sz="1200">
                <a:solidFill>
                  <a:schemeClr val="tx1"/>
                </a:solidFill>
                <a:latin typeface="Calibri"/>
                <a:ea typeface="Calibri"/>
                <a:cs typeface="Calibri"/>
              </a:rPr>
              <a:t> des survivants de la maladie à virus Ebola représente un risque de transmission sexuelle et de transmission par le lait maternel ou de rechute</a:t>
            </a:r>
            <a:endParaRPr lang="en-US" sz="1200"/>
          </a:p>
          <a:p>
            <a:pPr rtl="0"/>
            <a:endParaRPr lang="en-US"/>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8</a:t>
            </a:fld>
            <a:endParaRPr lang="en-US"/>
          </a:p>
        </p:txBody>
      </p:sp>
    </p:spTree>
    <p:extLst>
      <p:ext uri="{BB962C8B-B14F-4D97-AF65-F5344CB8AC3E}">
        <p14:creationId xmlns:p14="http://schemas.microsoft.com/office/powerpoint/2010/main" val="2680312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rtl="0">
              <a:spcBef>
                <a:spcPts val="0"/>
              </a:spcBef>
              <a:spcAft>
                <a:spcPts val="0"/>
              </a:spcAft>
            </a:pPr>
            <a:r>
              <a:rPr lang="fr" sz="1800">
                <a:effectLst/>
                <a:latin typeface="Times New Roman" panose="02020603050405020304" pitchFamily="18" charset="0"/>
                <a:ea typeface="Times New Roman" panose="02020603050405020304" pitchFamily="18" charset="0"/>
              </a:rPr>
              <a:t>Cette liste présente les épidémies d’Ebola survenues au cours des 10 dernières années, et indique le lieu, le nombre de cas et la cause présumée.</a:t>
            </a:r>
            <a:r>
              <a:rPr lang="fr" sz="1800" kern="1200">
                <a:solidFill>
                  <a:srgbClr val="000000"/>
                </a:solidFill>
                <a:effectLst/>
                <a:latin typeface="Times New Roman" panose="02020603050405020304" pitchFamily="18" charset="0"/>
                <a:ea typeface="Times New Roman" panose="02020603050405020304" pitchFamily="18" charset="0"/>
              </a:rPr>
              <a:t> </a:t>
            </a:r>
            <a:r>
              <a:rPr lang="fr" sz="1800"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 2014, nous avons connu la plus grande épidémie et depuis lors, 10 autres épidémies (toutes -à l’exception d’une- causées par l’espèce Zaïre) ont été signalées. Elles ont varié en taille, la majorité se trouvant en RDC, soit dans l’Équateur, soit dans le Nord-Kivu. Nous constatons également une augmentation des épidémies liées à la persistance du virus chez un survivant au début de l’année 2020</a:t>
            </a:r>
            <a:endParaRPr lang="en-US"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0</a:t>
            </a:fld>
            <a:endParaRPr lang="en-US"/>
          </a:p>
        </p:txBody>
      </p:sp>
    </p:spTree>
    <p:extLst>
      <p:ext uri="{BB962C8B-B14F-4D97-AF65-F5344CB8AC3E}">
        <p14:creationId xmlns:p14="http://schemas.microsoft.com/office/powerpoint/2010/main" val="2245385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indent="0" rtl="0">
              <a:buClr>
                <a:schemeClr val="accent1"/>
              </a:buClr>
              <a:buNone/>
            </a:pPr>
            <a:r>
              <a:rPr lang="fr">
                <a:ea typeface="Calibri"/>
                <a:cs typeface="Calibri"/>
              </a:rPr>
              <a:t>Il existe deux vaccins homologués</a:t>
            </a:r>
            <a:r>
              <a:rPr lang="fr" sz="1200"/>
              <a:t> et</a:t>
            </a:r>
            <a:r>
              <a:rPr lang="fr" sz="1200" b="1">
                <a:solidFill>
                  <a:srgbClr val="0070C0"/>
                </a:solidFill>
              </a:rPr>
              <a:t> préqualifiés par l’OMS</a:t>
            </a:r>
            <a:r>
              <a:rPr lang="fr" sz="1200"/>
              <a:t> pour prévenir la maladie à virus Ebola (causée par le virus appartenant à l’espèce Zaïre) :</a:t>
            </a:r>
            <a:endParaRPr lang="en-AU" sz="1200">
              <a:ea typeface="Calibri"/>
            </a:endParaRPr>
          </a:p>
          <a:p>
            <a:pPr rtl="0"/>
            <a:r>
              <a:rPr lang="fr" sz="1200"/>
              <a:t>1 dose : Virus recombinant de la stomatite vésiculaire , ebolavirus Zaïre, commercialisé sous le nom </a:t>
            </a:r>
            <a:r>
              <a:rPr lang="fr" sz="1200" b="1"/>
              <a:t>ERVEBO®</a:t>
            </a:r>
            <a:r>
              <a:rPr lang="fr" sz="1200"/>
              <a:t> produit par Merck</a:t>
            </a:r>
          </a:p>
          <a:p>
            <a:pPr rtl="0"/>
            <a:endParaRPr lang="en-US" sz="1200">
              <a:ea typeface="Calibri"/>
            </a:endParaRPr>
          </a:p>
          <a:p>
            <a:pPr rtl="0"/>
            <a:r>
              <a:rPr lang="fr" sz="1200"/>
              <a:t>schéma thérapeutique à 2 doses (à 56 jours d’intervalle) : adénovirus humain de sérotype 26 (Ad26) exprimant la glycoprotéine de la variante Mayinga du virus Ebola, Ad26.ZEBOV (</a:t>
            </a:r>
            <a:r>
              <a:rPr lang="fr" sz="1200" b="1"/>
              <a:t>Zabdeno®</a:t>
            </a:r>
            <a:r>
              <a:rPr lang="fr" sz="1200"/>
              <a:t>) et le Virus de la vaccine Ankara – Bavarian Nordic modifiée (MVA-BN) contre les filovirus, MVA-BN-Filo (</a:t>
            </a:r>
            <a:r>
              <a:rPr lang="fr" sz="1200" b="1"/>
              <a:t>Mvabea®</a:t>
            </a:r>
            <a:r>
              <a:rPr lang="fr" sz="1200"/>
              <a:t>, </a:t>
            </a:r>
            <a:r>
              <a:rPr lang="fr" sz="1200" b="1"/>
              <a:t>aussi appelé</a:t>
            </a:r>
            <a:r>
              <a:rPr lang="fr" sz="1200"/>
              <a:t> Zabdeno/Mvabea produit par Johnson and Johnson)</a:t>
            </a:r>
          </a:p>
          <a:p>
            <a:pPr rtl="0"/>
            <a:endParaRPr lang="fr-CH">
              <a:ea typeface="Calibri"/>
              <a:cs typeface="Calibri"/>
            </a:endParaRPr>
          </a:p>
        </p:txBody>
      </p:sp>
      <p:sp>
        <p:nvSpPr>
          <p:cNvPr id="4" name="Slide Number Placeholder 3"/>
          <p:cNvSpPr>
            <a:spLocks noGrp="1"/>
          </p:cNvSpPr>
          <p:nvPr>
            <p:ph type="sldNum" sz="quarter" idx="5"/>
          </p:nvPr>
        </p:nvSpPr>
        <p:spPr/>
        <p:txBody>
          <a:bodyPr rtlCol="0"/>
          <a:lstStyle/>
          <a:p>
            <a:pPr rtl="0"/>
            <a:fld id="{A0A817AA-0E04-6A40-B2F8-6BF7D849D761}" type="slidenum">
              <a:rPr lang="en-US" smtClean="0"/>
              <a:t>11</a:t>
            </a:fld>
            <a:endParaRPr lang="en-US"/>
          </a:p>
        </p:txBody>
      </p:sp>
    </p:spTree>
    <p:extLst>
      <p:ext uri="{BB962C8B-B14F-4D97-AF65-F5344CB8AC3E}">
        <p14:creationId xmlns:p14="http://schemas.microsoft.com/office/powerpoint/2010/main" val="39882092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11" Type="http://schemas.openxmlformats.org/officeDocument/2006/relationships/image" Target="../media/image6.jpe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3.bin"/><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10.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13.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tx2"/>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rtlCol="0"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pPr rtl="0"/>
            <a:r>
              <a:rPr lang="fr"/>
              <a:t>Title (image is to be replaced accordingly) </a:t>
            </a:r>
          </a:p>
        </p:txBody>
      </p:sp>
      <p:grpSp>
        <p:nvGrpSpPr>
          <p:cNvPr id="2" name="Group 1">
            <a:extLst>
              <a:ext uri="{FF2B5EF4-FFF2-40B4-BE49-F238E27FC236}">
                <a16:creationId xmlns:a16="http://schemas.microsoft.com/office/drawing/2014/main" id="{AAE9653F-8E1D-3A20-D814-74E5E84A2B1C}"/>
              </a:ext>
            </a:extLst>
          </p:cNvPr>
          <p:cNvGrpSpPr/>
          <p:nvPr userDrawn="1"/>
        </p:nvGrpSpPr>
        <p:grpSpPr>
          <a:xfrm>
            <a:off x="1" y="5791200"/>
            <a:ext cx="12191999" cy="1066800"/>
            <a:chOff x="1" y="5791200"/>
            <a:chExt cx="12191999" cy="1066800"/>
          </a:xfrm>
        </p:grpSpPr>
        <p:sp>
          <p:nvSpPr>
            <p:cNvPr id="5" name="Rectangle 4">
              <a:extLst>
                <a:ext uri="{FF2B5EF4-FFF2-40B4-BE49-F238E27FC236}">
                  <a16:creationId xmlns:a16="http://schemas.microsoft.com/office/drawing/2014/main" id="{5E7538BF-B748-812A-1B2A-860D32A16D0C}"/>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6" name="Graphic 5">
              <a:extLst>
                <a:ext uri="{FF2B5EF4-FFF2-40B4-BE49-F238E27FC236}">
                  <a16:creationId xmlns:a16="http://schemas.microsoft.com/office/drawing/2014/main" id="{FE15D251-3668-4744-F305-9B7D713E8E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907" y="5861645"/>
              <a:ext cx="1815553" cy="944388"/>
            </a:xfrm>
            <a:prstGeom prst="rect">
              <a:avLst/>
            </a:prstGeom>
          </p:spPr>
        </p:pic>
        <p:pic>
          <p:nvPicPr>
            <p:cNvPr id="7" name="Picture 6">
              <a:extLst>
                <a:ext uri="{FF2B5EF4-FFF2-40B4-BE49-F238E27FC236}">
                  <a16:creationId xmlns:a16="http://schemas.microsoft.com/office/drawing/2014/main" id="{455495F6-1DB4-9019-4D10-A9E86E1C566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7E25F8D1-8B80-3998-E76C-FF73B3F8EC9B}"/>
              </a:ext>
            </a:extLst>
          </p:cNvPr>
          <p:cNvPicPr>
            <a:picLocks noChangeAspect="1"/>
          </p:cNvPicPr>
          <p:nvPr userDrawn="1"/>
        </p:nvPicPr>
        <p:blipFill>
          <a:blip r:embed="rId9"/>
          <a:stretch>
            <a:fillRect/>
          </a:stretch>
        </p:blipFill>
        <p:spPr>
          <a:xfrm>
            <a:off x="182879" y="0"/>
            <a:ext cx="7720150" cy="4820195"/>
          </a:xfrm>
          <a:prstGeom prst="rect">
            <a:avLst/>
          </a:prstGeom>
        </p:spPr>
      </p:pic>
      <p:pic>
        <p:nvPicPr>
          <p:cNvPr id="11" name="Picture 10" descr="A poster on a surface&#10;&#10;Description automatically generated">
            <a:extLst>
              <a:ext uri="{FF2B5EF4-FFF2-40B4-BE49-F238E27FC236}">
                <a16:creationId xmlns:a16="http://schemas.microsoft.com/office/drawing/2014/main" id="{14C0F20C-EF5D-F293-4C35-8998FE423482}"/>
              </a:ext>
            </a:extLst>
          </p:cNvPr>
          <p:cNvPicPr>
            <a:picLocks noChangeAspect="1"/>
          </p:cNvPicPr>
          <p:nvPr userDrawn="1"/>
        </p:nvPicPr>
        <p:blipFill>
          <a:blip r:embed="rId10"/>
          <a:stretch>
            <a:fillRect/>
          </a:stretch>
        </p:blipFill>
        <p:spPr>
          <a:xfrm rot="5400000">
            <a:off x="7636691" y="292464"/>
            <a:ext cx="4847772" cy="4262846"/>
          </a:xfrm>
          <a:prstGeom prst="rect">
            <a:avLst/>
          </a:prstGeom>
        </p:spPr>
      </p:pic>
    </p:spTree>
    <p:extLst>
      <p:ext uri="{BB962C8B-B14F-4D97-AF65-F5344CB8AC3E}">
        <p14:creationId xmlns:p14="http://schemas.microsoft.com/office/powerpoint/2010/main" val="374803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3776" y="432774"/>
            <a:ext cx="10364450" cy="873952"/>
          </a:xfrm>
          <a:noFill/>
          <a:ln>
            <a:noFill/>
          </a:ln>
        </p:spPr>
        <p:txBody>
          <a:bodyPr rtlCol="0">
            <a:normAutofit/>
          </a:bodyPr>
          <a:lstStyle>
            <a:lvl1pPr algn="l">
              <a:defRPr sz="3446" b="1" i="0" cap="none" spc="-123" baseline="0">
                <a:solidFill>
                  <a:srgbClr val="636DA6"/>
                </a:solidFill>
                <a:latin typeface="Arial" panose="020B0604020202020204" pitchFamily="34" charset="0"/>
                <a:ea typeface="Arial" panose="020B0604020202020204" pitchFamily="34" charset="0"/>
                <a:cs typeface="Arial" panose="020B0604020202020204" pitchFamily="34" charset="0"/>
              </a:defRPr>
            </a:lvl1pPr>
          </a:lstStyle>
          <a:p>
            <a:pPr rtl="0"/>
            <a:r>
              <a:rPr lang="fr"/>
              <a:t>Click to edit master title style</a:t>
            </a:r>
          </a:p>
        </p:txBody>
      </p:sp>
      <p:sp>
        <p:nvSpPr>
          <p:cNvPr id="12" name="Content Placeholder 2"/>
          <p:cNvSpPr>
            <a:spLocks noGrp="1"/>
          </p:cNvSpPr>
          <p:nvPr>
            <p:ph sz="quarter" idx="13" hasCustomPrompt="1"/>
          </p:nvPr>
        </p:nvSpPr>
        <p:spPr>
          <a:xfrm>
            <a:off x="913774" y="1408669"/>
            <a:ext cx="10363826" cy="4396916"/>
          </a:xfrm>
        </p:spPr>
        <p:txBody>
          <a:bodyPr rtlCol="0"/>
          <a:lstStyle>
            <a:lvl1pPr marL="281368" indent="-281368">
              <a:lnSpc>
                <a:spcPct val="100000"/>
              </a:lnSpc>
              <a:buClr>
                <a:srgbClr val="626DA6"/>
              </a:buClr>
              <a:buFont typeface="Arial" panose="020B0604020202020204" pitchFamily="34" charset="0"/>
              <a:buChar char="•"/>
              <a:defRPr sz="2462" b="1" cap="none">
                <a:latin typeface="+mj-lt"/>
              </a:defRPr>
            </a:lvl1pPr>
            <a:lvl2pPr marL="844105" indent="-281368">
              <a:lnSpc>
                <a:spcPct val="100000"/>
              </a:lnSpc>
              <a:buClr>
                <a:srgbClr val="636DA6"/>
              </a:buClr>
              <a:buSzPct val="65000"/>
              <a:buFont typeface="Courier New" panose="02070309020205020404" pitchFamily="49" charset="0"/>
              <a:buChar char="o"/>
              <a:defRPr sz="2215" cap="none">
                <a:solidFill>
                  <a:schemeClr val="tx1">
                    <a:lumMod val="65000"/>
                    <a:lumOff val="35000"/>
                  </a:schemeClr>
                </a:solidFill>
              </a:defRPr>
            </a:lvl2pPr>
            <a:lvl3pPr marL="1477173" indent="-351701">
              <a:lnSpc>
                <a:spcPct val="100000"/>
              </a:lnSpc>
              <a:buClr>
                <a:srgbClr val="636DA6"/>
              </a:buClr>
              <a:buSzPct val="80000"/>
              <a:buFont typeface="LucidaGrande" panose="020B0600040502020204" pitchFamily="34" charset="0"/>
              <a:buChar char="-"/>
              <a:defRPr sz="1723" cap="none"/>
            </a:lvl3pPr>
            <a:lvl4pPr>
              <a:defRPr sz="1477" cap="none"/>
            </a:lvl4pPr>
            <a:lvl5pPr>
              <a:defRPr sz="1231" cap="none"/>
            </a:lvl5pPr>
          </a:lstStyle>
          <a:p>
            <a:pPr lvl="0" rtl="0"/>
            <a:r>
              <a:rPr lang="fr"/>
              <a:t>Click to edit master text styles</a:t>
            </a:r>
          </a:p>
          <a:p>
            <a:pPr lvl="1" rtl="0"/>
            <a:r>
              <a:rPr lang="fr"/>
              <a:t>Second level</a:t>
            </a:r>
          </a:p>
          <a:p>
            <a:pPr lvl="2" rtl="0"/>
            <a:r>
              <a:rPr lang="fr"/>
              <a:t>Third level</a:t>
            </a:r>
          </a:p>
        </p:txBody>
      </p:sp>
      <p:sp>
        <p:nvSpPr>
          <p:cNvPr id="6" name="Slide Number Placeholder 5"/>
          <p:cNvSpPr>
            <a:spLocks noGrp="1"/>
          </p:cNvSpPr>
          <p:nvPr>
            <p:ph type="sldNum" sz="quarter" idx="12"/>
          </p:nvPr>
        </p:nvSpPr>
        <p:spPr>
          <a:xfrm>
            <a:off x="10980573" y="6485213"/>
            <a:ext cx="764215" cy="250830"/>
          </a:xfrm>
        </p:spPr>
        <p:txBody>
          <a:bodyPr rtlCol="0"/>
          <a:lstStyle>
            <a:lvl1pPr>
              <a:defRPr sz="1477">
                <a:solidFill>
                  <a:schemeClr val="bg1">
                    <a:lumMod val="85000"/>
                  </a:schemeClr>
                </a:solidFill>
              </a:defRPr>
            </a:lvl1pPr>
          </a:lstStyle>
          <a:p>
            <a:pPr rtl="0"/>
            <a:fld id="{6D22F896-40B5-4ADD-8801-0D06FADFA095}" type="slidenum">
              <a:rPr lang="en-US" smtClean="0"/>
              <a:pPr rtl="0"/>
              <a:t>‹N°›</a:t>
            </a:fld>
            <a:endParaRPr lang="en-US"/>
          </a:p>
        </p:txBody>
      </p:sp>
      <p:cxnSp>
        <p:nvCxnSpPr>
          <p:cNvPr id="8" name="Straight Connector 7"/>
          <p:cNvCxnSpPr/>
          <p:nvPr userDrawn="1"/>
        </p:nvCxnSpPr>
        <p:spPr>
          <a:xfrm>
            <a:off x="913775" y="1258438"/>
            <a:ext cx="103644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rawing&#10;&#10;Description automatically generated">
            <a:extLst>
              <a:ext uri="{FF2B5EF4-FFF2-40B4-BE49-F238E27FC236}">
                <a16:creationId xmlns:a16="http://schemas.microsoft.com/office/drawing/2014/main" id="{701E337F-3EE6-A549-9ABD-1C47027B9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860" y="6423237"/>
            <a:ext cx="1227202" cy="373863"/>
          </a:xfrm>
          <a:prstGeom prst="rect">
            <a:avLst/>
          </a:prstGeom>
        </p:spPr>
      </p:pic>
    </p:spTree>
    <p:extLst>
      <p:ext uri="{BB962C8B-B14F-4D97-AF65-F5344CB8AC3E}">
        <p14:creationId xmlns:p14="http://schemas.microsoft.com/office/powerpoint/2010/main" val="539903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rtlCol="0"/>
          <a:lstStyle>
            <a:lvl1pPr>
              <a:defRPr/>
            </a:lvl1pPr>
          </a:lstStyle>
          <a:p>
            <a:pPr rtl="0">
              <a:defRPr/>
            </a:pPr>
            <a:endParaRPr lang="en-US">
              <a:solidFill>
                <a:srgbClr val="000000"/>
              </a:solidFill>
            </a:endParaRPr>
          </a:p>
        </p:txBody>
      </p:sp>
      <p:sp>
        <p:nvSpPr>
          <p:cNvPr id="3" name="Rectangle 5"/>
          <p:cNvSpPr>
            <a:spLocks noGrp="1" noChangeArrowheads="1"/>
          </p:cNvSpPr>
          <p:nvPr>
            <p:ph type="ftr" sz="quarter" idx="11"/>
          </p:nvPr>
        </p:nvSpPr>
        <p:spPr>
          <a:ln/>
        </p:spPr>
        <p:txBody>
          <a:bodyPr rtlCol="0"/>
          <a:lstStyle>
            <a:lvl1pPr>
              <a:defRPr/>
            </a:lvl1pPr>
          </a:lstStyle>
          <a:p>
            <a:pPr rtl="0">
              <a:defRPr/>
            </a:pPr>
            <a:endParaRPr lang="en-US">
              <a:solidFill>
                <a:srgbClr val="000000"/>
              </a:solidFill>
            </a:endParaRPr>
          </a:p>
        </p:txBody>
      </p:sp>
      <p:sp>
        <p:nvSpPr>
          <p:cNvPr id="4" name="Rectangle 6"/>
          <p:cNvSpPr>
            <a:spLocks noGrp="1" noChangeArrowheads="1"/>
          </p:cNvSpPr>
          <p:nvPr>
            <p:ph type="sldNum" sz="quarter" idx="12"/>
          </p:nvPr>
        </p:nvSpPr>
        <p:spPr>
          <a:ln/>
        </p:spPr>
        <p:txBody>
          <a:bodyPr rtlCol="0"/>
          <a:lstStyle>
            <a:lvl1pPr>
              <a:defRPr/>
            </a:lvl1pPr>
          </a:lstStyle>
          <a:p>
            <a:pPr rtl="0">
              <a:defRPr/>
            </a:pPr>
            <a:fld id="{C078E275-5945-4A9D-A727-B1CB696B0AC3}" type="slidenum">
              <a:rPr lang="en-GB">
                <a:solidFill>
                  <a:srgbClr val="000000"/>
                </a:solidFill>
              </a:rPr>
              <a:pPr rtl="0">
                <a:defRPr/>
              </a:pPr>
              <a:t>‹N°›</a:t>
            </a:fld>
            <a:endParaRPr lang="en-GB">
              <a:solidFill>
                <a:srgbClr val="000000"/>
              </a:solidFill>
            </a:endParaRPr>
          </a:p>
        </p:txBody>
      </p:sp>
    </p:spTree>
    <p:extLst>
      <p:ext uri="{BB962C8B-B14F-4D97-AF65-F5344CB8AC3E}">
        <p14:creationId xmlns:p14="http://schemas.microsoft.com/office/powerpoint/2010/main" val="3705175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p:nvPr>
        </p:nvSpPr>
        <p:spPr>
          <a:xfrm>
            <a:off x="576262" y="787791"/>
            <a:ext cx="11006137" cy="4529796"/>
          </a:xfrm>
        </p:spPr>
        <p:txBody>
          <a:bodyPr rtlCol="0"/>
          <a:lstStyle>
            <a:lvl1pPr>
              <a:spcAft>
                <a:spcPts val="1200"/>
              </a:spcAft>
              <a:buNone/>
              <a:defRPr sz="3600" b="1">
                <a:solidFill>
                  <a:srgbClr val="DA521E"/>
                </a:solidFill>
              </a:defRPr>
            </a:lvl1pPr>
            <a:lvl2pPr marL="290513" indent="-290513">
              <a:spcBef>
                <a:spcPts val="600"/>
              </a:spcBef>
              <a:spcAft>
                <a:spcPts val="600"/>
              </a:spcAft>
              <a:buClr>
                <a:srgbClr val="8E8D01"/>
              </a:buClr>
              <a:buFont typeface="Wingdings" panose="05000000000000000000" pitchFamily="2" charset="2"/>
              <a:buChar char="§"/>
              <a:defRPr sz="2800"/>
            </a:lvl2pPr>
            <a:lvl3pPr marL="623888" indent="-333375">
              <a:spcBef>
                <a:spcPts val="600"/>
              </a:spcBef>
              <a:spcAft>
                <a:spcPts val="600"/>
              </a:spcAft>
              <a:buClr>
                <a:srgbClr val="008641"/>
              </a:buClr>
              <a:defRPr sz="2400"/>
            </a:lvl3pPr>
            <a:lvl4pPr marL="914400" indent="-231775">
              <a:spcBef>
                <a:spcPts val="600"/>
              </a:spcBef>
              <a:spcAft>
                <a:spcPts val="600"/>
              </a:spcAft>
              <a:defRPr/>
            </a:lvl4pPr>
          </a:lstStyle>
          <a:p>
            <a:pPr lvl="0" rtl="0"/>
            <a:r>
              <a:rPr lang="fr"/>
              <a:t>Click to edit Master text styles</a:t>
            </a:r>
          </a:p>
          <a:p>
            <a:pPr lvl="1" rtl="0"/>
            <a:r>
              <a:rPr lang="fr"/>
              <a:t>Second level</a:t>
            </a:r>
          </a:p>
          <a:p>
            <a:pPr lvl="2" rtl="0"/>
            <a:r>
              <a:rPr lang="fr"/>
              <a:t>Third level</a:t>
            </a:r>
          </a:p>
          <a:p>
            <a:pPr lvl="3" rtl="0"/>
            <a:r>
              <a:rPr lang="fr"/>
              <a:t>Fourth level</a:t>
            </a:r>
          </a:p>
        </p:txBody>
      </p:sp>
      <p:grpSp>
        <p:nvGrpSpPr>
          <p:cNvPr id="4" name="Group 3">
            <a:extLst>
              <a:ext uri="{FF2B5EF4-FFF2-40B4-BE49-F238E27FC236}">
                <a16:creationId xmlns:a16="http://schemas.microsoft.com/office/drawing/2014/main" id="{1D32BAF1-D5A0-4C6E-94D5-1127F95EE41A}"/>
              </a:ext>
            </a:extLst>
          </p:cNvPr>
          <p:cNvGrpSpPr/>
          <p:nvPr userDrawn="1"/>
        </p:nvGrpSpPr>
        <p:grpSpPr>
          <a:xfrm>
            <a:off x="0" y="6710290"/>
            <a:ext cx="12192000" cy="147710"/>
            <a:chOff x="0" y="6710290"/>
            <a:chExt cx="12192000" cy="147710"/>
          </a:xfrm>
        </p:grpSpPr>
        <p:sp>
          <p:nvSpPr>
            <p:cNvPr id="27" name="Rectangle 26">
              <a:extLst>
                <a:ext uri="{FF2B5EF4-FFF2-40B4-BE49-F238E27FC236}">
                  <a16:creationId xmlns:a16="http://schemas.microsoft.com/office/drawing/2014/main" id="{5E8DEADA-D26F-425D-96A4-8A0235A9D750}"/>
                </a:ext>
              </a:extLst>
            </p:cNvPr>
            <p:cNvSpPr>
              <a:spLocks noChangeArrowheads="1"/>
            </p:cNvSpPr>
            <p:nvPr userDrawn="1"/>
          </p:nvSpPr>
          <p:spPr bwMode="auto">
            <a:xfrm>
              <a:off x="8110221" y="6710290"/>
              <a:ext cx="804110" cy="147710"/>
            </a:xfrm>
            <a:prstGeom prst="rect">
              <a:avLst/>
            </a:prstGeom>
            <a:solidFill>
              <a:srgbClr val="8D3102"/>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8" name="Rectangle 27">
              <a:extLst>
                <a:ext uri="{FF2B5EF4-FFF2-40B4-BE49-F238E27FC236}">
                  <a16:creationId xmlns:a16="http://schemas.microsoft.com/office/drawing/2014/main" id="{94778224-688A-46DC-A288-0220AE5AEC22}"/>
                </a:ext>
              </a:extLst>
            </p:cNvPr>
            <p:cNvSpPr>
              <a:spLocks noChangeArrowheads="1"/>
            </p:cNvSpPr>
            <p:nvPr userDrawn="1"/>
          </p:nvSpPr>
          <p:spPr bwMode="auto">
            <a:xfrm>
              <a:off x="8903845" y="6710290"/>
              <a:ext cx="804110" cy="147710"/>
            </a:xfrm>
            <a:prstGeom prst="rect">
              <a:avLst/>
            </a:prstGeom>
            <a:solidFill>
              <a:srgbClr val="016A70"/>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29" name="Rectangle 28">
              <a:extLst>
                <a:ext uri="{FF2B5EF4-FFF2-40B4-BE49-F238E27FC236}">
                  <a16:creationId xmlns:a16="http://schemas.microsoft.com/office/drawing/2014/main" id="{60A45C29-57BD-486B-8A7A-8FB6EF6B3A67}"/>
                </a:ext>
              </a:extLst>
            </p:cNvPr>
            <p:cNvSpPr>
              <a:spLocks noChangeArrowheads="1"/>
            </p:cNvSpPr>
            <p:nvPr userDrawn="1"/>
          </p:nvSpPr>
          <p:spPr bwMode="auto">
            <a:xfrm>
              <a:off x="9707954" y="6710290"/>
              <a:ext cx="804765" cy="147710"/>
            </a:xfrm>
            <a:prstGeom prst="rect">
              <a:avLst/>
            </a:prstGeom>
            <a:solidFill>
              <a:srgbClr val="771E7C"/>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0" name="Rectangle 29">
              <a:extLst>
                <a:ext uri="{FF2B5EF4-FFF2-40B4-BE49-F238E27FC236}">
                  <a16:creationId xmlns:a16="http://schemas.microsoft.com/office/drawing/2014/main" id="{75AD6A99-32F4-42B1-8FA2-05001EC9405E}"/>
                </a:ext>
              </a:extLst>
            </p:cNvPr>
            <p:cNvSpPr>
              <a:spLocks noChangeArrowheads="1"/>
            </p:cNvSpPr>
            <p:nvPr userDrawn="1"/>
          </p:nvSpPr>
          <p:spPr bwMode="auto">
            <a:xfrm>
              <a:off x="10494263" y="6710290"/>
              <a:ext cx="1697737" cy="147710"/>
            </a:xfrm>
            <a:prstGeom prst="rect">
              <a:avLst/>
            </a:prstGeom>
            <a:solidFill>
              <a:srgbClr val="17468F"/>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1" name="Rectangle 20">
              <a:extLst>
                <a:ext uri="{FF2B5EF4-FFF2-40B4-BE49-F238E27FC236}">
                  <a16:creationId xmlns:a16="http://schemas.microsoft.com/office/drawing/2014/main" id="{FFFF1207-94F4-48F2-B98A-B8DB8D240FF4}"/>
                </a:ext>
              </a:extLst>
            </p:cNvPr>
            <p:cNvSpPr>
              <a:spLocks noChangeArrowheads="1"/>
            </p:cNvSpPr>
            <p:nvPr userDrawn="1"/>
          </p:nvSpPr>
          <p:spPr bwMode="auto">
            <a:xfrm>
              <a:off x="0" y="6710290"/>
              <a:ext cx="7316597" cy="147710"/>
            </a:xfrm>
            <a:prstGeom prst="rect">
              <a:avLst/>
            </a:prstGeom>
            <a:solidFill>
              <a:srgbClr val="DA521E"/>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sp>
          <p:nvSpPr>
            <p:cNvPr id="32" name="Rectangle 31">
              <a:extLst>
                <a:ext uri="{FF2B5EF4-FFF2-40B4-BE49-F238E27FC236}">
                  <a16:creationId xmlns:a16="http://schemas.microsoft.com/office/drawing/2014/main" id="{79BFAADE-472A-422A-AF17-43CAA1A069FB}"/>
                </a:ext>
              </a:extLst>
            </p:cNvPr>
            <p:cNvSpPr>
              <a:spLocks noChangeArrowheads="1"/>
            </p:cNvSpPr>
            <p:nvPr userDrawn="1"/>
          </p:nvSpPr>
          <p:spPr bwMode="auto">
            <a:xfrm>
              <a:off x="7306111" y="6710290"/>
              <a:ext cx="804110" cy="147710"/>
            </a:xfrm>
            <a:prstGeom prst="rect">
              <a:avLst/>
            </a:prstGeom>
            <a:solidFill>
              <a:srgbClr val="8E8D01"/>
            </a:solidFill>
            <a:ln>
              <a:noFill/>
            </a:ln>
          </p:spPr>
          <p:txBody>
            <a:bodyPr vert="horz" wrap="square" lIns="60960" tIns="30480" rIns="60960" bIns="30480" numCol="1" rtlCol="0" anchor="t" anchorCtr="0" compatLnSpc="1">
              <a:prstTxWarp prst="textNoShape">
                <a:avLst/>
              </a:prstTxWarp>
            </a:bodyPr>
            <a:lstStyle/>
            <a:p>
              <a:pPr rtl="0"/>
              <a:endParaRPr lang="en-US" sz="1667"/>
            </a:p>
          </p:txBody>
        </p:sp>
      </p:grpSp>
    </p:spTree>
    <p:extLst>
      <p:ext uri="{BB962C8B-B14F-4D97-AF65-F5344CB8AC3E}">
        <p14:creationId xmlns:p14="http://schemas.microsoft.com/office/powerpoint/2010/main" val="4113557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rtlCol="0" anchor="b" anchorCtr="0"/>
          <a:lstStyle>
            <a:lvl1pPr algn="l">
              <a:lnSpc>
                <a:spcPts val="4000"/>
              </a:lnSpc>
              <a:defRPr sz="3733" b="1" baseline="0">
                <a:solidFill>
                  <a:srgbClr val="0039A6"/>
                </a:solidFill>
                <a:effectLst/>
                <a:latin typeface="Calibri" pitchFamily="34" charset="0"/>
              </a:defRPr>
            </a:lvl1pPr>
          </a:lstStyle>
          <a:p>
            <a:pPr rtl="0"/>
            <a:endParaRPr lang="en-US"/>
          </a:p>
        </p:txBody>
      </p:sp>
      <p:sp>
        <p:nvSpPr>
          <p:cNvPr id="5" name="Text Placeholder 7"/>
          <p:cNvSpPr>
            <a:spLocks noGrp="1"/>
          </p:cNvSpPr>
          <p:nvPr>
            <p:ph type="body" sz="quarter" idx="10"/>
          </p:nvPr>
        </p:nvSpPr>
        <p:spPr>
          <a:xfrm>
            <a:off x="609600" y="1545166"/>
            <a:ext cx="10972800" cy="4781311"/>
          </a:xfrm>
        </p:spPr>
        <p:txBody>
          <a:bodyPr rtlCol="0"/>
          <a:lstStyle>
            <a:lvl1pPr marL="457189" indent="-457189">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400">
                <a:solidFill>
                  <a:srgbClr val="000000"/>
                </a:solidFill>
              </a:defRPr>
            </a:lvl2pPr>
            <a:lvl3pPr>
              <a:spcBef>
                <a:spcPts val="0"/>
              </a:spcBef>
              <a:buClr>
                <a:srgbClr val="0039A6"/>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rtlCol="0" anchor="ctr"/>
          <a:lstStyle/>
          <a:p>
            <a:pPr rtl="0"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pic>
        <p:nvPicPr>
          <p:cNvPr id="10" name="Picture 9">
            <a:extLst>
              <a:ext uri="{FF2B5EF4-FFF2-40B4-BE49-F238E27FC236}">
                <a16:creationId xmlns:a16="http://schemas.microsoft.com/office/drawing/2014/main" id="{8A26B41D-6588-40CE-9F05-C3711CAB84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2395" y="6690957"/>
            <a:ext cx="12192001" cy="248992"/>
          </a:xfrm>
          <a:prstGeom prst="rect">
            <a:avLst/>
          </a:prstGeom>
        </p:spPr>
      </p:pic>
      <p:pic>
        <p:nvPicPr>
          <p:cNvPr id="12" name="Picture 11">
            <a:extLst>
              <a:ext uri="{FF2B5EF4-FFF2-40B4-BE49-F238E27FC236}">
                <a16:creationId xmlns:a16="http://schemas.microsoft.com/office/drawing/2014/main" id="{BBE551D9-D187-4904-986B-EE46ABD1608B}"/>
              </a:ext>
            </a:extLst>
          </p:cNvPr>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13" name="TextBox 12">
            <a:extLst>
              <a:ext uri="{FF2B5EF4-FFF2-40B4-BE49-F238E27FC236}">
                <a16:creationId xmlns:a16="http://schemas.microsoft.com/office/drawing/2014/main" id="{758E48AE-50F5-4C1E-B711-84CAE7538111}"/>
              </a:ext>
            </a:extLst>
          </p:cNvPr>
          <p:cNvSpPr txBox="1"/>
          <p:nvPr userDrawn="1"/>
        </p:nvSpPr>
        <p:spPr>
          <a:xfrm>
            <a:off x="11725206" y="6326493"/>
            <a:ext cx="466794" cy="379656"/>
          </a:xfrm>
          <a:prstGeom prst="rect">
            <a:avLst/>
          </a:prstGeom>
          <a:noFill/>
        </p:spPr>
        <p:txBody>
          <a:bodyPr wrap="none" rtlCol="0">
            <a:spAutoFit/>
          </a:bodyPr>
          <a:lstStyle/>
          <a:p>
            <a:pPr algn="r" rtl="0"/>
            <a:fld id="{16C56A00-B67A-4726-B07D-3A7D659B2E50}" type="slidenum">
              <a:rPr lang="en-US" sz="1867" smtClean="0">
                <a:solidFill>
                  <a:srgbClr val="000000"/>
                </a:solidFill>
                <a:latin typeface="Calibri" panose="020F0502020204030204" pitchFamily="34" charset="0"/>
              </a:rPr>
              <a:pPr algn="r" rtl="0"/>
              <a:t>‹N°›</a:t>
            </a:fld>
            <a:endParaRPr lang="en-US" sz="1867">
              <a:solidFill>
                <a:srgbClr val="000000"/>
              </a:solidFill>
              <a:latin typeface="Calibri" panose="020F0502020204030204" pitchFamily="34" charset="0"/>
            </a:endParaRPr>
          </a:p>
        </p:txBody>
      </p:sp>
    </p:spTree>
    <p:extLst>
      <p:ext uri="{BB962C8B-B14F-4D97-AF65-F5344CB8AC3E}">
        <p14:creationId xmlns:p14="http://schemas.microsoft.com/office/powerpoint/2010/main" val="17359134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403133"/>
          </a:xfrm>
        </p:spPr>
        <p:txBody>
          <a:bodyPr lIns="0" tIns="0" rIns="0" bIns="0" rtlCol="0" anchor="t" anchorCtr="0"/>
          <a:lstStyle/>
          <a:p>
            <a:pPr rtl="0"/>
            <a:r>
              <a:rPr lang="fr"/>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42187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577638" y="6482886"/>
            <a:ext cx="7575715" cy="111982"/>
          </a:xfrm>
          <a:prstGeom prst="rect">
            <a:avLst/>
          </a:prstGeom>
        </p:spPr>
        <p:txBody>
          <a:bodyPr rtlCol="0"/>
          <a:lstStyle/>
          <a:p>
            <a:pPr rtl="0"/>
            <a:r>
              <a:rPr lang="fr"/>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rtlCol="0"/>
          <a:lstStyle/>
          <a:p>
            <a:pPr rtl="0"/>
            <a:fld id="{E2E31AFC-DF42-41A5-B57C-06A83BBA6616}" type="slidenum">
              <a:rPr lang="en-GB" smtClean="0"/>
              <a:t>‹N°›</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rtlCol="0" anchor="t" anchorCtr="0"/>
          <a:lstStyle>
            <a:lvl1pPr>
              <a:defRPr/>
            </a:lvl1pPr>
          </a:lstStyle>
          <a:p>
            <a:pPr rtl="0"/>
            <a:r>
              <a:rPr lang="fr"/>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rtlCol="0"/>
          <a:lstStyle>
            <a:lvl1pPr>
              <a:lnSpc>
                <a:spcPct val="100000"/>
              </a:lnSpc>
              <a:buFont typeface="Arial" panose="020B0604020202020204" pitchFamily="34" charset="0"/>
              <a:buNone/>
              <a:defRPr sz="1698">
                <a:solidFill>
                  <a:schemeClr val="accent1"/>
                </a:solidFill>
              </a:defRPr>
            </a:lvl1pPr>
          </a:lstStyle>
          <a:p>
            <a:pPr lvl="0" rtl="0"/>
            <a:r>
              <a:rPr lang="fr"/>
              <a:t>Click to edit Master text styles</a:t>
            </a:r>
          </a:p>
        </p:txBody>
      </p:sp>
    </p:spTree>
    <p:extLst>
      <p:ext uri="{BB962C8B-B14F-4D97-AF65-F5344CB8AC3E}">
        <p14:creationId xmlns:p14="http://schemas.microsoft.com/office/powerpoint/2010/main" val="31559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399000" y="6353128"/>
            <a:ext cx="600437" cy="365125"/>
          </a:xfrm>
          <a:prstGeom prst="rect">
            <a:avLst/>
          </a:prstGeom>
        </p:spPr>
        <p:txBody>
          <a:bodyPr vert="horz" lIns="91440" tIns="45720" rIns="91440" bIns="45720" rtlCol="0" anchor="ctr"/>
          <a:lstStyle>
            <a:lvl1pPr algn="r">
              <a:defRPr sz="1200">
                <a:solidFill>
                  <a:schemeClr val="bg2"/>
                </a:solidFill>
                <a:latin typeface="Verdana"/>
                <a:cs typeface="Verdana"/>
              </a:defRPr>
            </a:lvl1pPr>
          </a:lstStyle>
          <a:p>
            <a:pPr rtl="0"/>
            <a:fld id="{81BF0B4E-CE60-AB48-9D7E-4434414A7C38}" type="slidenum">
              <a:rPr lang="en-US" smtClean="0"/>
              <a:pPr rtl="0"/>
              <a:t>‹N°›</a:t>
            </a:fld>
            <a:endParaRPr lang="en-US"/>
          </a:p>
        </p:txBody>
      </p:sp>
      <p:sp>
        <p:nvSpPr>
          <p:cNvPr id="13" name="Title 12"/>
          <p:cNvSpPr>
            <a:spLocks noGrp="1"/>
          </p:cNvSpPr>
          <p:nvPr>
            <p:ph type="title"/>
          </p:nvPr>
        </p:nvSpPr>
        <p:spPr/>
        <p:txBody>
          <a:bodyPr rtlCol="0"/>
          <a:lstStyle/>
          <a:p>
            <a:pPr rtl="0"/>
            <a:r>
              <a:rPr lang="fr"/>
              <a:t>Click to edit Master title style</a:t>
            </a:r>
          </a:p>
        </p:txBody>
      </p:sp>
      <p:sp>
        <p:nvSpPr>
          <p:cNvPr id="14" name="Text Placeholder 2"/>
          <p:cNvSpPr>
            <a:spLocks noGrp="1"/>
          </p:cNvSpPr>
          <p:nvPr>
            <p:ph idx="1" hasCustomPrompt="1"/>
          </p:nvPr>
        </p:nvSpPr>
        <p:spPr>
          <a:xfrm>
            <a:off x="619695" y="1229456"/>
            <a:ext cx="10990476" cy="4525963"/>
          </a:xfrm>
          <a:prstGeom prst="rect">
            <a:avLst/>
          </a:prstGeom>
        </p:spPr>
        <p:txBody>
          <a:bodyPr vert="horz" lIns="91440" tIns="45720" rIns="91440" bIns="45720" rtlCol="0">
            <a:normAutofit/>
          </a:bodyPr>
          <a:lstStyle>
            <a:lvl1pPr marL="0" indent="0">
              <a:buNone/>
              <a:defRPr/>
            </a:lvl1pPr>
            <a:lvl2pPr marL="609570" indent="0">
              <a:buNone/>
              <a:defRPr/>
            </a:lvl2pPr>
            <a:lvl3pPr marL="1219140" indent="0">
              <a:buNone/>
              <a:defRPr/>
            </a:lvl3pPr>
            <a:lvl4pPr marL="1828709" indent="0">
              <a:buNone/>
              <a:defRPr/>
            </a:lvl4pPr>
          </a:lstStyle>
          <a:p>
            <a:pPr lvl="0" rtl="0"/>
            <a:r>
              <a:rPr lang="fr"/>
              <a:t>Click to edit Master text styles.</a:t>
            </a:r>
          </a:p>
        </p:txBody>
      </p:sp>
    </p:spTree>
    <p:extLst>
      <p:ext uri="{BB962C8B-B14F-4D97-AF65-F5344CB8AC3E}">
        <p14:creationId xmlns:p14="http://schemas.microsoft.com/office/powerpoint/2010/main" val="3237067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ain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97" y="318599"/>
            <a:ext cx="10631612" cy="853711"/>
          </a:xfrm>
        </p:spPr>
        <p:txBody>
          <a:bodyPr rtlCol="0"/>
          <a:lstStyle/>
          <a:p>
            <a:pPr rtl="0"/>
            <a:r>
              <a:rPr lang="fr"/>
              <a:t>CLICK TO EDIT MASTER TITLE STYLE</a:t>
            </a:r>
          </a:p>
        </p:txBody>
      </p:sp>
      <p:sp>
        <p:nvSpPr>
          <p:cNvPr id="3" name="Content Placeholder 2"/>
          <p:cNvSpPr>
            <a:spLocks noGrp="1"/>
          </p:cNvSpPr>
          <p:nvPr>
            <p:ph idx="1"/>
          </p:nvPr>
        </p:nvSpPr>
        <p:spPr>
          <a:xfrm>
            <a:off x="418795" y="1461479"/>
            <a:ext cx="10963659" cy="4320000"/>
          </a:xfrm>
        </p:spPr>
        <p:txBody>
          <a:bodyPr rtlCol="0"/>
          <a:lstStyle>
            <a:lvl1pPr>
              <a:defRPr sz="2133"/>
            </a:lvl1pPr>
            <a:lvl2pPr marL="284393" indent="-284393">
              <a:buClr>
                <a:schemeClr val="accent2"/>
              </a:buClr>
              <a:buFont typeface="Arial" charset="0"/>
              <a:buChar char="•"/>
              <a:defRPr sz="2133"/>
            </a:lvl2pPr>
            <a:lvl3pPr marL="644384" indent="-284393">
              <a:buClr>
                <a:schemeClr val="accent2"/>
              </a:buClr>
              <a:buFont typeface="Arial" charset="0"/>
              <a:buChar char="•"/>
              <a:defRPr sz="2133"/>
            </a:lvl3pPr>
            <a:lvl4pPr marL="1004375" indent="-284393">
              <a:buClr>
                <a:schemeClr val="accent2"/>
              </a:buClr>
              <a:buFont typeface="Arial" charset="0"/>
              <a:buChar char="•"/>
              <a:defRPr sz="2133"/>
            </a:lvl4pPr>
            <a:lvl5pPr marL="1364366" indent="-284393">
              <a:buClr>
                <a:schemeClr val="accent2"/>
              </a:buClr>
              <a:buFont typeface="Arial" charset="0"/>
              <a:buChar char="•"/>
              <a:defRPr sz="2133"/>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2"/>
          </p:nvPr>
        </p:nvSpPr>
        <p:spPr/>
        <p:txBody>
          <a:bodyPr rtlCol="0"/>
          <a:lstStyle/>
          <a:p>
            <a:pPr rtl="0"/>
            <a:fld id="{5512AD5A-2C28-1D42-B971-4292A709C8F6}" type="slidenum">
              <a:rPr lang="en-US" smtClean="0"/>
              <a:pPr rtl="0"/>
              <a:t>‹N°›</a:t>
            </a:fld>
            <a:endParaRPr lang="en-US"/>
          </a:p>
        </p:txBody>
      </p:sp>
      <p:pic>
        <p:nvPicPr>
          <p:cNvPr id="5" name="Picture 4">
            <a:extLst>
              <a:ext uri="{FF2B5EF4-FFF2-40B4-BE49-F238E27FC236}">
                <a16:creationId xmlns:a16="http://schemas.microsoft.com/office/drawing/2014/main" id="{8F1E1833-1B2E-9741-828D-B0163D5E568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6086" y="6086262"/>
            <a:ext cx="1775764" cy="541185"/>
          </a:xfrm>
          <a:prstGeom prst="rect">
            <a:avLst/>
          </a:prstGeom>
        </p:spPr>
      </p:pic>
    </p:spTree>
    <p:extLst>
      <p:ext uri="{BB962C8B-B14F-4D97-AF65-F5344CB8AC3E}">
        <p14:creationId xmlns:p14="http://schemas.microsoft.com/office/powerpoint/2010/main" val="2149939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287503" y="24277"/>
            <a:ext cx="6357302" cy="769956"/>
          </a:xfrm>
        </p:spPr>
        <p:txBody>
          <a:bodyPr rtlCol="0"/>
          <a:lstStyle/>
          <a:p>
            <a:pPr rtl="0"/>
            <a:r>
              <a:rPr lang="fr"/>
              <a:t>Click to edit Master title style</a:t>
            </a:r>
          </a:p>
        </p:txBody>
      </p:sp>
    </p:spTree>
    <p:extLst>
      <p:ext uri="{BB962C8B-B14F-4D97-AF65-F5344CB8AC3E}">
        <p14:creationId xmlns:p14="http://schemas.microsoft.com/office/powerpoint/2010/main" val="18944769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rtlCol="0" anchor="b" anchorCtr="0"/>
          <a:lstStyle>
            <a:lvl1pPr algn="l">
              <a:lnSpc>
                <a:spcPts val="4000"/>
              </a:lnSpc>
              <a:defRPr sz="3733" b="1" baseline="0">
                <a:solidFill>
                  <a:srgbClr val="D9531E"/>
                </a:solidFill>
                <a:effectLst/>
                <a:latin typeface="Calibri" pitchFamily="34" charset="0"/>
              </a:defRPr>
            </a:lvl1pPr>
          </a:lstStyle>
          <a:p>
            <a:pPr rtl="0"/>
            <a:r>
              <a:rPr lang="fr"/>
              <a:t>Bottom band: NCEZI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508"/>
          <a:stretch/>
        </p:blipFill>
        <p:spPr>
          <a:xfrm>
            <a:off x="0" y="6692413"/>
            <a:ext cx="12192000" cy="165587"/>
          </a:xfrm>
          <a:prstGeom prst="rect">
            <a:avLst/>
          </a:prstGeom>
        </p:spPr>
      </p:pic>
      <p:sp>
        <p:nvSpPr>
          <p:cNvPr id="7" name="Text Placeholder 7"/>
          <p:cNvSpPr>
            <a:spLocks noGrp="1"/>
          </p:cNvSpPr>
          <p:nvPr>
            <p:ph type="body" sz="quarter" idx="10"/>
          </p:nvPr>
        </p:nvSpPr>
        <p:spPr>
          <a:xfrm>
            <a:off x="609600" y="1545167"/>
            <a:ext cx="10972800" cy="4455584"/>
          </a:xfrm>
        </p:spPr>
        <p:txBody>
          <a:bodyPr rtlCol="0"/>
          <a:lstStyle>
            <a:lvl1pPr marL="457189" indent="-457189">
              <a:buClr>
                <a:srgbClr val="E25423"/>
              </a:buClr>
              <a:buFont typeface="Wingdings" panose="05000000000000000000" pitchFamily="2" charset="2"/>
              <a:buChar char="§"/>
              <a:defRPr sz="2667">
                <a:solidFill>
                  <a:schemeClr val="accent4">
                    <a:lumMod val="75000"/>
                  </a:schemeClr>
                </a:solidFill>
              </a:defRPr>
            </a:lvl1pPr>
            <a:lvl2pPr>
              <a:buClr>
                <a:srgbClr val="8D8B00"/>
              </a:buClr>
              <a:defRPr sz="2667">
                <a:solidFill>
                  <a:schemeClr val="accent4">
                    <a:lumMod val="75000"/>
                  </a:schemeClr>
                </a:solidFill>
              </a:defRPr>
            </a:lvl2pPr>
            <a:lvl3pPr>
              <a:buClr>
                <a:srgbClr val="006A71"/>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Tree>
    <p:extLst>
      <p:ext uri="{BB962C8B-B14F-4D97-AF65-F5344CB8AC3E}">
        <p14:creationId xmlns:p14="http://schemas.microsoft.com/office/powerpoint/2010/main" val="30175348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rtlCol="0"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grpSp>
        <p:nvGrpSpPr>
          <p:cNvPr id="5" name="Group 4">
            <a:extLst>
              <a:ext uri="{FF2B5EF4-FFF2-40B4-BE49-F238E27FC236}">
                <a16:creationId xmlns:a16="http://schemas.microsoft.com/office/drawing/2014/main" id="{950FB736-EC6A-6339-F925-4816047545D4}"/>
              </a:ext>
            </a:extLst>
          </p:cNvPr>
          <p:cNvGrpSpPr/>
          <p:nvPr userDrawn="1"/>
        </p:nvGrpSpPr>
        <p:grpSpPr>
          <a:xfrm>
            <a:off x="1" y="5791200"/>
            <a:ext cx="12191999" cy="1066800"/>
            <a:chOff x="1" y="5791200"/>
            <a:chExt cx="12191999" cy="1066800"/>
          </a:xfrm>
        </p:grpSpPr>
        <p:sp>
          <p:nvSpPr>
            <p:cNvPr id="6" name="Rectangle 5">
              <a:extLst>
                <a:ext uri="{FF2B5EF4-FFF2-40B4-BE49-F238E27FC236}">
                  <a16:creationId xmlns:a16="http://schemas.microsoft.com/office/drawing/2014/main" id="{DD42CB1A-A610-3A10-E90E-CBAE9BE961C3}"/>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Graphic 6">
              <a:extLst>
                <a:ext uri="{FF2B5EF4-FFF2-40B4-BE49-F238E27FC236}">
                  <a16:creationId xmlns:a16="http://schemas.microsoft.com/office/drawing/2014/main" id="{EB44C27A-A563-EE98-647F-47CAD9E7D1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907" y="5861645"/>
              <a:ext cx="1815553" cy="944388"/>
            </a:xfrm>
            <a:prstGeom prst="rect">
              <a:avLst/>
            </a:prstGeom>
          </p:spPr>
        </p:pic>
        <p:pic>
          <p:nvPicPr>
            <p:cNvPr id="8" name="Picture 7">
              <a:extLst>
                <a:ext uri="{FF2B5EF4-FFF2-40B4-BE49-F238E27FC236}">
                  <a16:creationId xmlns:a16="http://schemas.microsoft.com/office/drawing/2014/main" id="{2C8F0EC6-8CBB-0C3F-CF3E-3093B5A6879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pic>
        <p:nvPicPr>
          <p:cNvPr id="9" name="Picture 8" descr="A group of people injecting a child&#10;&#10;Description automatically generated">
            <a:extLst>
              <a:ext uri="{FF2B5EF4-FFF2-40B4-BE49-F238E27FC236}">
                <a16:creationId xmlns:a16="http://schemas.microsoft.com/office/drawing/2014/main" id="{008875FA-B9A7-3552-C39D-97152F2A1352}"/>
              </a:ext>
            </a:extLst>
          </p:cNvPr>
          <p:cNvPicPr>
            <a:picLocks noChangeAspect="1"/>
          </p:cNvPicPr>
          <p:nvPr userDrawn="1"/>
        </p:nvPicPr>
        <p:blipFill>
          <a:blip r:embed="rId11"/>
          <a:stretch>
            <a:fillRect/>
          </a:stretch>
        </p:blipFill>
        <p:spPr>
          <a:xfrm>
            <a:off x="-1" y="0"/>
            <a:ext cx="9543011" cy="5813939"/>
          </a:xfrm>
          <a:prstGeom prst="rect">
            <a:avLst/>
          </a:prstGeom>
        </p:spPr>
      </p:pic>
    </p:spTree>
    <p:extLst>
      <p:ext uri="{BB962C8B-B14F-4D97-AF65-F5344CB8AC3E}">
        <p14:creationId xmlns:p14="http://schemas.microsoft.com/office/powerpoint/2010/main" val="281207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785535"/>
          </a:xfrm>
          <a:prstGeom prst="rect">
            <a:avLst/>
          </a:prstGeom>
        </p:spPr>
        <p:txBody>
          <a:bodyPr rtlCol="0" anchor="b" anchorCtr="0">
            <a:normAutofit/>
          </a:bodyPr>
          <a:lstStyle>
            <a:lvl1pPr algn="l">
              <a:lnSpc>
                <a:spcPts val="4000"/>
              </a:lnSpc>
              <a:defRPr sz="3600" b="1" baseline="0">
                <a:solidFill>
                  <a:srgbClr val="002060"/>
                </a:solidFill>
                <a:effectLst/>
                <a:latin typeface="Atkinson Hyperlegible"/>
              </a:defRPr>
            </a:lvl1pPr>
          </a:lstStyle>
          <a:p>
            <a:pPr rtl="0"/>
            <a:r>
              <a:rPr lang="fr"/>
              <a:t>Bottom band: CGH</a:t>
            </a:r>
          </a:p>
        </p:txBody>
      </p:sp>
      <p:sp>
        <p:nvSpPr>
          <p:cNvPr id="6" name="Text Placeholder 7"/>
          <p:cNvSpPr>
            <a:spLocks noGrp="1"/>
          </p:cNvSpPr>
          <p:nvPr>
            <p:ph type="body" sz="quarter" idx="10"/>
          </p:nvPr>
        </p:nvSpPr>
        <p:spPr>
          <a:xfrm>
            <a:off x="609600" y="1342886"/>
            <a:ext cx="10972800" cy="4912140"/>
          </a:xfrm>
        </p:spPr>
        <p:txBody>
          <a:bodyPr rtlCol="0">
            <a:normAutofit/>
          </a:bodyPr>
          <a:lstStyle>
            <a:lvl1pPr marL="457189" indent="-457189">
              <a:buClr>
                <a:srgbClr val="A59988"/>
              </a:buClr>
              <a:buFont typeface="Wingdings" panose="05000000000000000000" pitchFamily="2" charset="2"/>
              <a:buChar char="§"/>
              <a:defRPr sz="2400">
                <a:solidFill>
                  <a:schemeClr val="accent3">
                    <a:lumMod val="50000"/>
                  </a:schemeClr>
                </a:solidFill>
                <a:latin typeface="Atkinson Hyperlegible"/>
              </a:defRPr>
            </a:lvl1pPr>
            <a:lvl2pPr>
              <a:buClr>
                <a:srgbClr val="5E9732"/>
              </a:buClr>
              <a:defRPr sz="2400">
                <a:solidFill>
                  <a:schemeClr val="accent3">
                    <a:lumMod val="50000"/>
                  </a:schemeClr>
                </a:solidFill>
                <a:latin typeface="Atkinson Hyperlegible"/>
              </a:defRPr>
            </a:lvl2pPr>
            <a:lvl3pPr>
              <a:buClr>
                <a:srgbClr val="D59F0F"/>
              </a:buClr>
              <a:defRPr sz="2400">
                <a:solidFill>
                  <a:schemeClr val="accent3">
                    <a:lumMod val="50000"/>
                  </a:schemeClr>
                </a:solidFill>
                <a:latin typeface="Atkinson Hyperlegible"/>
              </a:defRPr>
            </a:lvl3pPr>
            <a:lvl4pPr>
              <a:defRPr sz="2667">
                <a:solidFill>
                  <a:schemeClr val="accent4">
                    <a:lumMod val="75000"/>
                  </a:schemeClr>
                </a:solidFill>
              </a:defRPr>
            </a:lvl4pPr>
            <a:lvl5pPr>
              <a:defRPr sz="2667">
                <a:solidFill>
                  <a:schemeClr val="accent4">
                    <a:lumMod val="75000"/>
                  </a:schemeClr>
                </a:solidFill>
              </a:defRPr>
            </a:lvl5pPr>
          </a:lstStyle>
          <a:p>
            <a:pPr lvl="0" rtl="0"/>
            <a:r>
              <a:rPr lang="fr"/>
              <a:t>Click to edit Master text styles</a:t>
            </a:r>
          </a:p>
          <a:p>
            <a:pPr lvl="1" rtl="0"/>
            <a:r>
              <a:rPr lang="fr"/>
              <a:t>Second level</a:t>
            </a:r>
          </a:p>
          <a:p>
            <a:pPr lvl="2" rtl="0"/>
            <a:r>
              <a:rPr lang="fr"/>
              <a:t>Third level</a:t>
            </a:r>
          </a:p>
        </p:txBody>
      </p:sp>
    </p:spTree>
    <p:extLst>
      <p:ext uri="{BB962C8B-B14F-4D97-AF65-F5344CB8AC3E}">
        <p14:creationId xmlns:p14="http://schemas.microsoft.com/office/powerpoint/2010/main" val="50420835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rtlCol="0">
            <a:noAutofit/>
          </a:bodyPr>
          <a:lstStyle>
            <a:lvl1pPr>
              <a:defRPr sz="1400">
                <a:solidFill>
                  <a:schemeClr val="bg1"/>
                </a:solidFill>
                <a:latin typeface="+mn-lt"/>
                <a:ea typeface="+mn-ea"/>
                <a:cs typeface="+mn-cs"/>
              </a:defRPr>
            </a:lvl1pPr>
          </a:lstStyle>
          <a:p>
            <a:pPr rtl="0"/>
            <a:r>
              <a:rPr lang="f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rtlCol="0"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rtlCol="0"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pPr rtl="0"/>
            <a:r>
              <a:rPr lang="fr"/>
              <a:t>Dark Background </a:t>
            </a:r>
            <a:br>
              <a:rPr lang="en-US"/>
            </a:br>
            <a:r>
              <a:rPr lang="fr"/>
              <a:t>Title</a:t>
            </a:r>
          </a:p>
        </p:txBody>
      </p:sp>
      <p:pic>
        <p:nvPicPr>
          <p:cNvPr id="5" name="Picture 4">
            <a:extLst>
              <a:ext uri="{FF2B5EF4-FFF2-40B4-BE49-F238E27FC236}">
                <a16:creationId xmlns:a16="http://schemas.microsoft.com/office/drawing/2014/main" id="{652E7CF0-C273-54D9-D3F1-CF92A79EE92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348686" y="6128193"/>
            <a:ext cx="1843314" cy="767472"/>
          </a:xfrm>
          <a:prstGeom prst="rect">
            <a:avLst/>
          </a:prstGeom>
          <a:noFill/>
          <a:ln>
            <a:noFill/>
          </a:ln>
        </p:spPr>
      </p:pic>
      <p:grpSp>
        <p:nvGrpSpPr>
          <p:cNvPr id="6" name="Group 5">
            <a:extLst>
              <a:ext uri="{FF2B5EF4-FFF2-40B4-BE49-F238E27FC236}">
                <a16:creationId xmlns:a16="http://schemas.microsoft.com/office/drawing/2014/main" id="{3904E3BB-3F9B-C884-B5BD-568784732202}"/>
              </a:ext>
            </a:extLst>
          </p:cNvPr>
          <p:cNvGrpSpPr/>
          <p:nvPr userDrawn="1"/>
        </p:nvGrpSpPr>
        <p:grpSpPr>
          <a:xfrm>
            <a:off x="1" y="5791200"/>
            <a:ext cx="12191999" cy="1066800"/>
            <a:chOff x="1" y="5791200"/>
            <a:chExt cx="12191999" cy="1066800"/>
          </a:xfrm>
        </p:grpSpPr>
        <p:sp>
          <p:nvSpPr>
            <p:cNvPr id="7" name="Rectangle 6">
              <a:extLst>
                <a:ext uri="{FF2B5EF4-FFF2-40B4-BE49-F238E27FC236}">
                  <a16:creationId xmlns:a16="http://schemas.microsoft.com/office/drawing/2014/main" id="{8273C397-C0AC-66D7-A0D3-164596FCC431}"/>
                </a:ext>
              </a:extLst>
            </p:cNvPr>
            <p:cNvSpPr/>
            <p:nvPr/>
          </p:nvSpPr>
          <p:spPr>
            <a:xfrm>
              <a:off x="1" y="5791200"/>
              <a:ext cx="12191999" cy="10668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Graphic 7">
              <a:extLst>
                <a:ext uri="{FF2B5EF4-FFF2-40B4-BE49-F238E27FC236}">
                  <a16:creationId xmlns:a16="http://schemas.microsoft.com/office/drawing/2014/main" id="{7CF27763-8C5F-928B-C012-B8C04A2ED0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1907" y="5861645"/>
              <a:ext cx="1815553" cy="944388"/>
            </a:xfrm>
            <a:prstGeom prst="rect">
              <a:avLst/>
            </a:prstGeom>
          </p:spPr>
        </p:pic>
        <p:pic>
          <p:nvPicPr>
            <p:cNvPr id="9" name="Picture 8">
              <a:extLst>
                <a:ext uri="{FF2B5EF4-FFF2-40B4-BE49-F238E27FC236}">
                  <a16:creationId xmlns:a16="http://schemas.microsoft.com/office/drawing/2014/main" id="{E7CB4F51-2EBB-7CF9-6A36-4B573CA268DB}"/>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451363" y="6084584"/>
              <a:ext cx="2665472" cy="48003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0650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p:nvPr>
        </p:nvSpPr>
        <p:spPr>
          <a:xfrm>
            <a:off x="504825" y="628651"/>
            <a:ext cx="11341990" cy="495300"/>
          </a:xfrm>
        </p:spPr>
        <p:txBody>
          <a:bodyPr vert="horz" lIns="502920" tIns="0" rIns="0" bIns="0" rtlCol="0"/>
          <a:lstStyle>
            <a:lvl1pPr>
              <a:defRPr sz="3000">
                <a:latin typeface="+mj-lt"/>
                <a:ea typeface="+mj-ea"/>
                <a:cs typeface="+mj-cs"/>
              </a:defRPr>
            </a:lvl1pPr>
          </a:lstStyle>
          <a:p>
            <a:pPr rtl="0"/>
            <a:endParaRPr lang="en-US"/>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537029" y="1436914"/>
            <a:ext cx="11100235" cy="4302319"/>
          </a:xfrm>
        </p:spPr>
        <p:txBody>
          <a:bodyPr rtlCol="0"/>
          <a:lstStyle>
            <a:lvl1pPr>
              <a:lnSpc>
                <a:spcPct val="100000"/>
              </a:lnSpc>
              <a:spcBef>
                <a:spcPts val="300"/>
              </a:spcBef>
              <a:spcAft>
                <a:spcPts val="300"/>
              </a:spcAft>
              <a:defRPr sz="2000">
                <a:latin typeface="+mn-lt"/>
                <a:ea typeface="+mn-ea"/>
                <a:cs typeface="+mn-cs"/>
              </a:defRPr>
            </a:lvl1pPr>
            <a:lvl2pPr>
              <a:lnSpc>
                <a:spcPct val="100000"/>
              </a:lnSpc>
              <a:spcBef>
                <a:spcPts val="300"/>
              </a:spcBef>
              <a:spcAft>
                <a:spcPts val="300"/>
              </a:spcAft>
              <a:defRPr sz="2000">
                <a:latin typeface="+mn-lt"/>
                <a:ea typeface="+mn-ea"/>
                <a:cs typeface="+mn-cs"/>
              </a:defRPr>
            </a:lvl2pPr>
            <a:lvl3pPr>
              <a:lnSpc>
                <a:spcPct val="100000"/>
              </a:lnSpc>
              <a:spcBef>
                <a:spcPts val="300"/>
              </a:spcBef>
              <a:spcAft>
                <a:spcPts val="300"/>
              </a:spcAft>
              <a:defRPr sz="2000">
                <a:latin typeface="+mn-lt"/>
                <a:ea typeface="+mn-ea"/>
                <a:cs typeface="+mn-cs"/>
              </a:defRPr>
            </a:lvl3pPr>
            <a:lvl4pPr>
              <a:lnSpc>
                <a:spcPct val="100000"/>
              </a:lnSpc>
              <a:spcBef>
                <a:spcPts val="300"/>
              </a:spcBef>
              <a:spcAft>
                <a:spcPts val="300"/>
              </a:spcAft>
              <a:defRPr sz="2800">
                <a:latin typeface="+mn-lt"/>
                <a:ea typeface="+mn-ea"/>
                <a:cs typeface="+mn-cs"/>
              </a:defRPr>
            </a:lvl4pPr>
            <a:lvl5pPr>
              <a:lnSpc>
                <a:spcPct val="100000"/>
              </a:lnSpc>
              <a:spcBef>
                <a:spcPts val="300"/>
              </a:spcBef>
              <a:spcAft>
                <a:spcPts val="300"/>
              </a:spcAft>
              <a:defRPr sz="2800">
                <a:latin typeface="+mn-lt"/>
                <a:ea typeface="+mn-ea"/>
                <a:cs typeface="+mn-cs"/>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pic>
        <p:nvPicPr>
          <p:cNvPr id="3" name="Picture 2">
            <a:extLst>
              <a:ext uri="{FF2B5EF4-FFF2-40B4-BE49-F238E27FC236}">
                <a16:creationId xmlns:a16="http://schemas.microsoft.com/office/drawing/2014/main" id="{FA66EA9B-DF72-E2D7-3656-79BC5FFF2B8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561115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443198"/>
          </a:xfrm>
          <a:prstGeom prst="rect">
            <a:avLst/>
          </a:prstGeom>
        </p:spPr>
        <p:txBody>
          <a:bodyPr vert="horz" wrap="square" lIns="0" tIns="0" rIns="0" bIns="0" rtlCol="0" anchor="t" anchorCtr="0">
            <a:spAutoFit/>
          </a:bodyPr>
          <a:lstStyle>
            <a:lvl1pPr>
              <a:defRPr sz="3200">
                <a:solidFill>
                  <a:schemeClr val="bg1"/>
                </a:solidFill>
                <a:latin typeface="+mj-lt"/>
                <a:ea typeface="+mj-ea"/>
                <a:cs typeface="+mj-cs"/>
              </a:defRPr>
            </a:lvl1pPr>
          </a:lstStyle>
          <a:p>
            <a:pPr lvl="0" rtl="0"/>
            <a:r>
              <a:rPr lang="fr"/>
              <a:t>Section title</a:t>
            </a:r>
            <a:endParaRPr lang="en-US"/>
          </a:p>
        </p:txBody>
      </p:sp>
      <p:pic>
        <p:nvPicPr>
          <p:cNvPr id="9" name="Picture 8" descr="A group of people injecting a child&#10;&#10;Description automatically generated">
            <a:extLst>
              <a:ext uri="{FF2B5EF4-FFF2-40B4-BE49-F238E27FC236}">
                <a16:creationId xmlns:a16="http://schemas.microsoft.com/office/drawing/2014/main" id="{EC5E7F4E-B2DB-0562-D4E7-678F7576D264}"/>
              </a:ext>
            </a:extLst>
          </p:cNvPr>
          <p:cNvPicPr>
            <a:picLocks noChangeAspect="1"/>
          </p:cNvPicPr>
          <p:nvPr userDrawn="1"/>
        </p:nvPicPr>
        <p:blipFill>
          <a:blip r:embed="rId7"/>
          <a:stretch>
            <a:fillRect/>
          </a:stretch>
        </p:blipFill>
        <p:spPr>
          <a:xfrm>
            <a:off x="6084916" y="0"/>
            <a:ext cx="6107084" cy="3720651"/>
          </a:xfrm>
          <a:prstGeom prst="rect">
            <a:avLst/>
          </a:prstGeom>
        </p:spPr>
      </p:pic>
      <p:pic>
        <p:nvPicPr>
          <p:cNvPr id="14" name="Picture 13" descr="A group of people standing outside&#10;&#10;Description automatically generated">
            <a:extLst>
              <a:ext uri="{FF2B5EF4-FFF2-40B4-BE49-F238E27FC236}">
                <a16:creationId xmlns:a16="http://schemas.microsoft.com/office/drawing/2014/main" id="{7F327C17-FC75-8F04-7574-7CFB4E186235}"/>
              </a:ext>
            </a:extLst>
          </p:cNvPr>
          <p:cNvPicPr>
            <a:picLocks noChangeAspect="1"/>
          </p:cNvPicPr>
          <p:nvPr userDrawn="1"/>
        </p:nvPicPr>
        <p:blipFill>
          <a:blip r:embed="rId8"/>
          <a:stretch>
            <a:fillRect/>
          </a:stretch>
        </p:blipFill>
        <p:spPr>
          <a:xfrm rot="5400000">
            <a:off x="5636272" y="4069081"/>
            <a:ext cx="3187339" cy="2390503"/>
          </a:xfrm>
          <a:prstGeom prst="rect">
            <a:avLst/>
          </a:prstGeom>
        </p:spPr>
      </p:pic>
      <p:pic>
        <p:nvPicPr>
          <p:cNvPr id="17" name="Picture 16" descr="A group of people in protective gear sitting at a table&#10;&#10;Description automatically generated">
            <a:extLst>
              <a:ext uri="{FF2B5EF4-FFF2-40B4-BE49-F238E27FC236}">
                <a16:creationId xmlns:a16="http://schemas.microsoft.com/office/drawing/2014/main" id="{A6DA06B1-B9AA-04C0-1F3A-8949B69D4B46}"/>
              </a:ext>
            </a:extLst>
          </p:cNvPr>
          <p:cNvPicPr>
            <a:picLocks noChangeAspect="1"/>
          </p:cNvPicPr>
          <p:nvPr userDrawn="1"/>
        </p:nvPicPr>
        <p:blipFill>
          <a:blip r:embed="rId9"/>
          <a:stretch>
            <a:fillRect/>
          </a:stretch>
        </p:blipFill>
        <p:spPr>
          <a:xfrm>
            <a:off x="8035638" y="3644537"/>
            <a:ext cx="4178530" cy="3213463"/>
          </a:xfrm>
          <a:prstGeom prst="rect">
            <a:avLst/>
          </a:prstGeom>
        </p:spPr>
      </p:pic>
    </p:spTree>
    <p:extLst>
      <p:ext uri="{BB962C8B-B14F-4D97-AF65-F5344CB8AC3E}">
        <p14:creationId xmlns:p14="http://schemas.microsoft.com/office/powerpoint/2010/main" val="177375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sz="3200">
                <a:solidFill>
                  <a:schemeClr val="bg1"/>
                </a:solidFill>
                <a:latin typeface="+mj-lt"/>
                <a:ea typeface="+mj-ea"/>
                <a:cs typeface="+mj-cs"/>
              </a:defRPr>
            </a:lvl1pPr>
          </a:lstStyle>
          <a:p>
            <a:pPr lvl="0" rtl="0"/>
            <a:r>
              <a:rPr lang="fr"/>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rtlCol="0"/>
          <a:lstStyle>
            <a:lvl1pPr>
              <a:defRPr>
                <a:latin typeface="+mn-lt"/>
                <a:ea typeface="+mn-ea"/>
                <a:cs typeface="+mn-cs"/>
              </a:defRPr>
            </a:lvl1pPr>
          </a:lstStyle>
          <a:p>
            <a:pPr rtl="0"/>
            <a:endParaRPr lang="en-GB"/>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F96DA6E-E9EF-6193-2069-6EDC0A72D792}"/>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648722" y="6184027"/>
            <a:ext cx="1543278" cy="642551"/>
          </a:xfrm>
          <a:prstGeom prst="rect">
            <a:avLst/>
          </a:prstGeom>
          <a:noFill/>
          <a:ln>
            <a:noFill/>
          </a:ln>
        </p:spPr>
      </p:pic>
    </p:spTree>
    <p:extLst>
      <p:ext uri="{BB962C8B-B14F-4D97-AF65-F5344CB8AC3E}">
        <p14:creationId xmlns:p14="http://schemas.microsoft.com/office/powerpoint/2010/main" val="1699228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a:xfrm>
            <a:off x="523875" y="1371600"/>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a:extLst>
              <a:ext uri="{FF2B5EF4-FFF2-40B4-BE49-F238E27FC236}">
                <a16:creationId xmlns:a16="http://schemas.microsoft.com/office/drawing/2014/main" id="{53DE1130-1D8D-4605-8E7C-4425EF80A62C}"/>
              </a:ext>
            </a:extLst>
          </p:cNvPr>
          <p:cNvSpPr>
            <a:spLocks noGrp="1"/>
          </p:cNvSpPr>
          <p:nvPr>
            <p:ph idx="11"/>
          </p:nvPr>
        </p:nvSpPr>
        <p:spPr>
          <a:xfrm>
            <a:off x="6237315" y="1371599"/>
            <a:ext cx="5354609" cy="48053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Tree>
    <p:extLst>
      <p:ext uri="{BB962C8B-B14F-4D97-AF65-F5344CB8AC3E}">
        <p14:creationId xmlns:p14="http://schemas.microsoft.com/office/powerpoint/2010/main" val="3898741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CED5D-7E4A-AD5E-E9B9-07D18594F2C0}"/>
              </a:ext>
            </a:extLst>
          </p:cNvPr>
          <p:cNvSpPr>
            <a:spLocks noGrp="1"/>
          </p:cNvSpPr>
          <p:nvPr>
            <p:ph type="title"/>
          </p:nvPr>
        </p:nvSpPr>
        <p:spPr/>
        <p:txBody>
          <a:bodyPr rtlCol="0"/>
          <a:lstStyle/>
          <a:p>
            <a:pPr rtl="0"/>
            <a:r>
              <a:rPr lang="fr"/>
              <a:t>Click to edit Master title style</a:t>
            </a:r>
          </a:p>
        </p:txBody>
      </p:sp>
      <p:sp>
        <p:nvSpPr>
          <p:cNvPr id="3" name="Content Placeholder 2">
            <a:extLst>
              <a:ext uri="{FF2B5EF4-FFF2-40B4-BE49-F238E27FC236}">
                <a16:creationId xmlns:a16="http://schemas.microsoft.com/office/drawing/2014/main" id="{47BD72CC-6F88-6531-F49E-40420644659D}"/>
              </a:ext>
            </a:extLst>
          </p:cNvPr>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a:extLst>
              <a:ext uri="{FF2B5EF4-FFF2-40B4-BE49-F238E27FC236}">
                <a16:creationId xmlns:a16="http://schemas.microsoft.com/office/drawing/2014/main" id="{724C7097-2333-8CAB-1A05-91EB665A8C2E}"/>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425AB415-5BCC-424D-A46F-1DEBD7DC19D3}"/>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B43251F1-311A-9792-9B5A-A06605EDD02D}"/>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1967226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AABC9-066E-FAED-4B8A-0CFE4E211D53}"/>
              </a:ext>
            </a:extLst>
          </p:cNvPr>
          <p:cNvSpPr>
            <a:spLocks noGrp="1"/>
          </p:cNvSpPr>
          <p:nvPr>
            <p:ph type="title"/>
          </p:nvPr>
        </p:nvSpPr>
        <p:spPr>
          <a:xfrm>
            <a:off x="831850" y="1709738"/>
            <a:ext cx="10515600" cy="2852737"/>
          </a:xfrm>
        </p:spPr>
        <p:txBody>
          <a:bodyPr rtlCol="0" anchor="b"/>
          <a:lstStyle>
            <a:lvl1pPr>
              <a:defRPr sz="6000"/>
            </a:lvl1pPr>
          </a:lstStyle>
          <a:p>
            <a:pPr rtl="0"/>
            <a:r>
              <a:rPr lang="fr"/>
              <a:t>Click to edit Master title style</a:t>
            </a:r>
          </a:p>
        </p:txBody>
      </p:sp>
      <p:sp>
        <p:nvSpPr>
          <p:cNvPr id="3" name="Text Placeholder 2">
            <a:extLst>
              <a:ext uri="{FF2B5EF4-FFF2-40B4-BE49-F238E27FC236}">
                <a16:creationId xmlns:a16="http://schemas.microsoft.com/office/drawing/2014/main" id="{2D85FAFF-E1A9-C1FC-0C4C-54AC4A646EA1}"/>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fr"/>
              <a:t>Click to edit Master text styles</a:t>
            </a:r>
          </a:p>
        </p:txBody>
      </p:sp>
      <p:sp>
        <p:nvSpPr>
          <p:cNvPr id="4" name="Date Placeholder 3">
            <a:extLst>
              <a:ext uri="{FF2B5EF4-FFF2-40B4-BE49-F238E27FC236}">
                <a16:creationId xmlns:a16="http://schemas.microsoft.com/office/drawing/2014/main" id="{5766C5AA-AC40-0010-200D-63B52B8C1156}"/>
              </a:ext>
            </a:extLst>
          </p:cNvPr>
          <p:cNvSpPr>
            <a:spLocks noGrp="1"/>
          </p:cNvSpPr>
          <p:nvPr>
            <p:ph type="dt" sz="half" idx="10"/>
          </p:nvPr>
        </p:nvSpPr>
        <p:spPr>
          <a:xfrm>
            <a:off x="828675" y="6384925"/>
            <a:ext cx="2743200" cy="365125"/>
          </a:xfrm>
          <a:prstGeom prst="rect">
            <a:avLst/>
          </a:prstGeom>
        </p:spPr>
        <p:txBody>
          <a:bodyPr rtlCol="0"/>
          <a:lstStyle/>
          <a:p>
            <a:pPr rtl="0"/>
            <a:fld id="{CAE68D05-F97D-467C-8401-71C6ABB950DF}" type="datetimeFigureOut">
              <a:rPr lang="en-US" smtClean="0"/>
              <a:t>9/12/2024</a:t>
            </a:fld>
            <a:endParaRPr lang="en-US"/>
          </a:p>
        </p:txBody>
      </p:sp>
      <p:sp>
        <p:nvSpPr>
          <p:cNvPr id="5" name="Footer Placeholder 4">
            <a:extLst>
              <a:ext uri="{FF2B5EF4-FFF2-40B4-BE49-F238E27FC236}">
                <a16:creationId xmlns:a16="http://schemas.microsoft.com/office/drawing/2014/main" id="{8AB81B38-4A7B-EE1E-4BA5-837259A78E56}"/>
              </a:ext>
            </a:extLst>
          </p:cNvPr>
          <p:cNvSpPr>
            <a:spLocks noGrp="1"/>
          </p:cNvSpPr>
          <p:nvPr>
            <p:ph type="ftr" sz="quarter" idx="11"/>
          </p:nvPr>
        </p:nvSpPr>
        <p:spPr>
          <a:xfrm>
            <a:off x="4038600" y="6356350"/>
            <a:ext cx="4114800" cy="365125"/>
          </a:xfrm>
          <a:prstGeom prst="rect">
            <a:avLst/>
          </a:prstGeom>
        </p:spPr>
        <p:txBody>
          <a:bodyPr rtlCol="0"/>
          <a:lstStyle/>
          <a:p>
            <a:pPr rtl="0"/>
            <a:endParaRPr lang="en-US"/>
          </a:p>
        </p:txBody>
      </p:sp>
      <p:sp>
        <p:nvSpPr>
          <p:cNvPr id="6" name="Slide Number Placeholder 5">
            <a:extLst>
              <a:ext uri="{FF2B5EF4-FFF2-40B4-BE49-F238E27FC236}">
                <a16:creationId xmlns:a16="http://schemas.microsoft.com/office/drawing/2014/main" id="{22C0CEF7-E0B5-773C-1043-A0CB6C1B52A3}"/>
              </a:ext>
            </a:extLst>
          </p:cNvPr>
          <p:cNvSpPr>
            <a:spLocks noGrp="1"/>
          </p:cNvSpPr>
          <p:nvPr>
            <p:ph type="sldNum" sz="quarter" idx="12"/>
          </p:nvPr>
        </p:nvSpPr>
        <p:spPr>
          <a:xfrm>
            <a:off x="8610600" y="6356350"/>
            <a:ext cx="2743200" cy="365125"/>
          </a:xfrm>
          <a:prstGeom prst="rect">
            <a:avLst/>
          </a:prstGeom>
        </p:spPr>
        <p:txBody>
          <a:bodyPr rtlCol="0"/>
          <a:lstStyle/>
          <a:p>
            <a:pPr rtl="0"/>
            <a:fld id="{F17297C8-E3B8-4F60-B00F-15138952CB46}" type="slidenum">
              <a:rPr lang="en-US" smtClean="0"/>
              <a:t>‹N°›</a:t>
            </a:fld>
            <a:endParaRPr lang="en-US"/>
          </a:p>
        </p:txBody>
      </p:sp>
    </p:spTree>
    <p:extLst>
      <p:ext uri="{BB962C8B-B14F-4D97-AF65-F5344CB8AC3E}">
        <p14:creationId xmlns:p14="http://schemas.microsoft.com/office/powerpoint/2010/main" val="3678912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15.svg"/><Relationship Id="rId2" Type="http://schemas.openxmlformats.org/officeDocument/2006/relationships/slideLayout" Target="../slideLayouts/slideLayout8.xml"/><Relationship Id="rId16"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heme" Target="../theme/theme2.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pPr rtl="0"/>
            <a:r>
              <a:rPr lang="fr"/>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a:p>
            <a:pPr lvl="5" rtl="0"/>
            <a:r>
              <a:rPr lang="fr"/>
              <a:t>Level six</a:t>
            </a:r>
          </a:p>
          <a:p>
            <a:pPr lvl="6" rtl="0"/>
            <a:r>
              <a:rPr lang="fr"/>
              <a:t>Level seven</a:t>
            </a:r>
          </a:p>
          <a:p>
            <a:pPr lvl="7" rtl="0"/>
            <a:r>
              <a:rPr lang="fr"/>
              <a:t>Level eight</a:t>
            </a:r>
          </a:p>
          <a:p>
            <a:pPr lvl="8" rtl="0"/>
            <a:r>
              <a:rPr lang="fr"/>
              <a:t>Level nine</a:t>
            </a:r>
          </a:p>
        </p:txBody>
      </p:sp>
    </p:spTree>
    <p:extLst>
      <p:ext uri="{BB962C8B-B14F-4D97-AF65-F5344CB8AC3E}">
        <p14:creationId xmlns:p14="http://schemas.microsoft.com/office/powerpoint/2010/main" val="32678984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825" r:id="rId3"/>
    <p:sldLayoutId id="2147483827" r:id="rId4"/>
    <p:sldLayoutId id="2147483815" r:id="rId5"/>
    <p:sldLayoutId id="2147483817"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1C99F-FFCC-C423-131D-5D8B5B747CA5}"/>
              </a:ext>
            </a:extLst>
          </p:cNvPr>
          <p:cNvSpPr>
            <a:spLocks noGrp="1"/>
          </p:cNvSpPr>
          <p:nvPr>
            <p:ph type="title"/>
          </p:nvPr>
        </p:nvSpPr>
        <p:spPr>
          <a:xfrm>
            <a:off x="552449" y="365126"/>
            <a:ext cx="11039475" cy="69215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a:extLst>
              <a:ext uri="{FF2B5EF4-FFF2-40B4-BE49-F238E27FC236}">
                <a16:creationId xmlns:a16="http://schemas.microsoft.com/office/drawing/2014/main" id="{2061C911-1B22-BBB4-381A-8770147060E1}"/>
              </a:ext>
            </a:extLst>
          </p:cNvPr>
          <p:cNvSpPr>
            <a:spLocks noGrp="1"/>
          </p:cNvSpPr>
          <p:nvPr>
            <p:ph type="body" idx="1"/>
          </p:nvPr>
        </p:nvSpPr>
        <p:spPr>
          <a:xfrm>
            <a:off x="523875" y="1371600"/>
            <a:ext cx="11087099" cy="48053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AutoShape 2" descr="Home">
            <a:extLst>
              <a:ext uri="{FF2B5EF4-FFF2-40B4-BE49-F238E27FC236}">
                <a16:creationId xmlns:a16="http://schemas.microsoft.com/office/drawing/2014/main" id="{E9A1AA76-8E4C-442F-9B13-EA4709C62422}"/>
              </a:ext>
            </a:extLst>
          </p:cNvPr>
          <p:cNvSpPr>
            <a:spLocks noChangeAspect="1" noChangeArrowheads="1"/>
          </p:cNvSpPr>
          <p:nvPr userDrawn="1"/>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AutoShape 4" descr="Home">
            <a:extLst>
              <a:ext uri="{FF2B5EF4-FFF2-40B4-BE49-F238E27FC236}">
                <a16:creationId xmlns:a16="http://schemas.microsoft.com/office/drawing/2014/main" id="{61ADE8A4-81A6-4DE9-9A78-B601CAB7F95A}"/>
              </a:ext>
            </a:extLst>
          </p:cNvPr>
          <p:cNvSpPr>
            <a:spLocks noChangeAspect="1" noChangeArrowheads="1"/>
          </p:cNvSpPr>
          <p:nvPr userDrawn="1"/>
        </p:nvSpPr>
        <p:spPr bwMode="auto">
          <a:xfrm>
            <a:off x="6095999" y="3428999"/>
            <a:ext cx="5255623" cy="525562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rtl="0"/>
            <a:endParaRPr lang="en-US"/>
          </a:p>
        </p:txBody>
      </p:sp>
      <p:pic>
        <p:nvPicPr>
          <p:cNvPr id="9" name="Graphic 8">
            <a:extLst>
              <a:ext uri="{FF2B5EF4-FFF2-40B4-BE49-F238E27FC236}">
                <a16:creationId xmlns:a16="http://schemas.microsoft.com/office/drawing/2014/main" id="{C0B0195D-F5D5-4872-B74B-29029296ED9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1010431" y="6268485"/>
            <a:ext cx="1047750" cy="501582"/>
          </a:xfrm>
          <a:prstGeom prst="rect">
            <a:avLst/>
          </a:prstGeom>
        </p:spPr>
      </p:pic>
    </p:spTree>
    <p:extLst>
      <p:ext uri="{BB962C8B-B14F-4D97-AF65-F5344CB8AC3E}">
        <p14:creationId xmlns:p14="http://schemas.microsoft.com/office/powerpoint/2010/main" val="651073860"/>
      </p:ext>
    </p:extLst>
  </p:cSld>
  <p:clrMap bg1="lt1" tx1="dk1" bg2="lt2" tx2="dk2" accent1="accent1" accent2="accent2" accent3="accent3" accent4="accent4" accent5="accent5" accent6="accent6" hlink="hlink" folHlink="folHlink"/>
  <p:sldLayoutIdLst>
    <p:sldLayoutId id="2147483836" r:id="rId1"/>
    <p:sldLayoutId id="2147483850" r:id="rId2"/>
    <p:sldLayoutId id="2147483837" r:id="rId3"/>
    <p:sldLayoutId id="2147483847" r:id="rId4"/>
    <p:sldLayoutId id="2147483849" r:id="rId5"/>
    <p:sldLayoutId id="2147483852" r:id="rId6"/>
    <p:sldLayoutId id="2147483853" r:id="rId7"/>
    <p:sldLayoutId id="2147483854" r:id="rId8"/>
    <p:sldLayoutId id="2147483855" r:id="rId9"/>
    <p:sldLayoutId id="2147483856" r:id="rId10"/>
    <p:sldLayoutId id="2147483858" r:id="rId11"/>
    <p:sldLayoutId id="2147483859" r:id="rId12"/>
    <p:sldLayoutId id="2147483860" r:id="rId13"/>
    <p:sldLayoutId id="2147483861" r:id="rId14"/>
  </p:sldLayoutIdLst>
  <p:txStyles>
    <p:titleStyle>
      <a:lvl1pPr algn="l" defTabSz="914400" rtl="0" eaLnBrk="1" latinLnBrk="0" hangingPunct="1">
        <a:lnSpc>
          <a:spcPct val="90000"/>
        </a:lnSpc>
        <a:spcBef>
          <a:spcPct val="0"/>
        </a:spcBef>
        <a:buNone/>
        <a:defRPr sz="2800" b="1" kern="1200">
          <a:solidFill>
            <a:srgbClr val="051291"/>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33.sv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5.xml"/></Relationships>
</file>

<file path=ppt/slides/_rels/slide23.xml.rels><?xml version="1.0" encoding="UTF-8" standalone="yes"?>
<Relationships xmlns="http://schemas.openxmlformats.org/package/2006/relationships"><Relationship Id="rId3" Type="http://schemas.openxmlformats.org/officeDocument/2006/relationships/hyperlink" Target="http://dx.doi.org/10.15585/mmwr.mm7316a1" TargetMode="Externa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6.wmf"/><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29.jpeg"/><Relationship Id="rId5" Type="http://schemas.openxmlformats.org/officeDocument/2006/relationships/diagramQuickStyle" Target="../diagrams/quickStyle1.xml"/><Relationship Id="rId10" Type="http://schemas.openxmlformats.org/officeDocument/2006/relationships/image" Target="../media/image28.jpeg"/><Relationship Id="rId4" Type="http://schemas.openxmlformats.org/officeDocument/2006/relationships/diagramLayout" Target="../diagrams/layout1.xml"/><Relationship Id="rId9" Type="http://schemas.openxmlformats.org/officeDocument/2006/relationships/image" Target="../media/image27.wmf"/></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11">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descr="A person wearing a protective suit and gloves&#10;&#10;Description automatically generated">
            <a:extLst>
              <a:ext uri="{FF2B5EF4-FFF2-40B4-BE49-F238E27FC236}">
                <a16:creationId xmlns:a16="http://schemas.microsoft.com/office/drawing/2014/main" id="{110C4F2B-623E-0923-5434-184B6381792E}"/>
              </a:ext>
            </a:extLst>
          </p:cNvPr>
          <p:cNvPicPr>
            <a:picLocks noChangeAspect="1"/>
          </p:cNvPicPr>
          <p:nvPr/>
        </p:nvPicPr>
        <p:blipFill rotWithShape="1">
          <a:blip r:embed="rId3"/>
          <a:srcRect t="2877" b="2558"/>
          <a:stretch/>
        </p:blipFill>
        <p:spPr>
          <a:xfrm>
            <a:off x="2522358" y="10"/>
            <a:ext cx="9669642" cy="6857990"/>
          </a:xfrm>
          <a:prstGeom prst="rect">
            <a:avLst/>
          </a:prstGeom>
        </p:spPr>
      </p:pic>
      <p:sp>
        <p:nvSpPr>
          <p:cNvPr id="25" name="Rectangle 13">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itle 3">
            <a:extLst>
              <a:ext uri="{FF2B5EF4-FFF2-40B4-BE49-F238E27FC236}">
                <a16:creationId xmlns:a16="http://schemas.microsoft.com/office/drawing/2014/main" id="{4C071B59-F126-F10C-E518-B5DFACBEC111}"/>
              </a:ext>
            </a:extLst>
          </p:cNvPr>
          <p:cNvSpPr>
            <a:spLocks noGrp="1"/>
          </p:cNvSpPr>
          <p:nvPr>
            <p:ph type="title"/>
          </p:nvPr>
        </p:nvSpPr>
        <p:spPr>
          <a:xfrm>
            <a:off x="62104" y="2038172"/>
            <a:ext cx="4920162" cy="1608329"/>
          </a:xfrm>
          <a:noFill/>
        </p:spPr>
        <p:txBody>
          <a:bodyPr vert="horz" lIns="91440" tIns="45720" rIns="91440" bIns="45720" rtlCol="0" anchor="b">
            <a:normAutofit/>
          </a:bodyPr>
          <a:lstStyle/>
          <a:p>
            <a:pPr rtl="0"/>
            <a:r>
              <a:rPr lang="fr" sz="4000" b="1">
                <a:latin typeface="+mn-lt"/>
                <a:cs typeface="Poppins"/>
              </a:rPr>
              <a:t>Maladie à virus Ebola et vaccins</a:t>
            </a:r>
            <a:endParaRPr lang="en-US" b="1">
              <a:latin typeface="+mn-lt"/>
              <a:cs typeface="Poppins"/>
            </a:endParaRPr>
          </a:p>
        </p:txBody>
      </p:sp>
      <p:pic>
        <p:nvPicPr>
          <p:cNvPr id="2" name="Graphic 1">
            <a:extLst>
              <a:ext uri="{FF2B5EF4-FFF2-40B4-BE49-F238E27FC236}">
                <a16:creationId xmlns:a16="http://schemas.microsoft.com/office/drawing/2014/main" id="{7D2E3E4D-EB71-0EAC-1ED4-2440AA9256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87089" y="225682"/>
            <a:ext cx="1643452" cy="716854"/>
          </a:xfrm>
          <a:prstGeom prst="rect">
            <a:avLst/>
          </a:prstGeom>
        </p:spPr>
      </p:pic>
      <p:pic>
        <p:nvPicPr>
          <p:cNvPr id="9" name="Picture 8">
            <a:extLst>
              <a:ext uri="{FF2B5EF4-FFF2-40B4-BE49-F238E27FC236}">
                <a16:creationId xmlns:a16="http://schemas.microsoft.com/office/drawing/2014/main" id="{C0F10B34-1851-4F4A-822F-057387F84B6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123027" y="6424674"/>
            <a:ext cx="1807514" cy="338050"/>
          </a:xfrm>
          <a:prstGeom prst="rect">
            <a:avLst/>
          </a:prstGeom>
          <a:effectLst>
            <a:outerShdw blurRad="50800" dist="38100" dir="2700000" algn="tl" rotWithShape="0">
              <a:prstClr val="black">
                <a:alpha val="40000"/>
              </a:prstClr>
            </a:outerShdw>
          </a:effectLst>
        </p:spPr>
      </p:pic>
      <p:sp>
        <p:nvSpPr>
          <p:cNvPr id="3" name="ZoneTexte 2">
            <a:extLst>
              <a:ext uri="{FF2B5EF4-FFF2-40B4-BE49-F238E27FC236}">
                <a16:creationId xmlns:a16="http://schemas.microsoft.com/office/drawing/2014/main" id="{5AEB5218-9DA8-09C8-5B23-909EC4BCB359}"/>
              </a:ext>
            </a:extLst>
          </p:cNvPr>
          <p:cNvSpPr txBox="1"/>
          <p:nvPr/>
        </p:nvSpPr>
        <p:spPr>
          <a:xfrm>
            <a:off x="63066" y="3778881"/>
            <a:ext cx="3210393"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b="1" dirty="0">
                <a:solidFill>
                  <a:srgbClr val="051291"/>
                </a:solidFill>
                <a:ea typeface="Calibri"/>
                <a:cs typeface="Calibri"/>
              </a:rPr>
              <a:t>Réunion des directeurs PEV</a:t>
            </a:r>
          </a:p>
          <a:p>
            <a:r>
              <a:rPr lang="fr-FR" b="1">
                <a:solidFill>
                  <a:srgbClr val="051291"/>
                </a:solidFill>
                <a:ea typeface="Calibri"/>
                <a:cs typeface="Calibri"/>
              </a:rPr>
              <a:t>Kinshasa, 12 septembre 2024</a:t>
            </a:r>
          </a:p>
        </p:txBody>
      </p:sp>
    </p:spTree>
    <p:extLst>
      <p:ext uri="{BB962C8B-B14F-4D97-AF65-F5344CB8AC3E}">
        <p14:creationId xmlns:p14="http://schemas.microsoft.com/office/powerpoint/2010/main" val="3086809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90311-A220-4CC0-AF89-D64A6AE1356C}"/>
              </a:ext>
            </a:extLst>
          </p:cNvPr>
          <p:cNvSpPr>
            <a:spLocks noGrp="1"/>
          </p:cNvSpPr>
          <p:nvPr>
            <p:ph type="title"/>
          </p:nvPr>
        </p:nvSpPr>
        <p:spPr/>
        <p:txBody>
          <a:bodyPr rtlCol="0">
            <a:normAutofit fontScale="90000"/>
          </a:bodyPr>
          <a:lstStyle/>
          <a:p>
            <a:pPr rtl="0"/>
            <a:r>
              <a:rPr lang="fr"/>
              <a:t>Flambées épidémiques récentes de la maladie à virus Ebola, 2014-2024</a:t>
            </a:r>
          </a:p>
        </p:txBody>
      </p:sp>
      <p:graphicFrame>
        <p:nvGraphicFramePr>
          <p:cNvPr id="4" name="Table 6">
            <a:extLst>
              <a:ext uri="{FF2B5EF4-FFF2-40B4-BE49-F238E27FC236}">
                <a16:creationId xmlns:a16="http://schemas.microsoft.com/office/drawing/2014/main" id="{CAE8F9A8-D786-4328-8917-AEC84B433E83}"/>
              </a:ext>
            </a:extLst>
          </p:cNvPr>
          <p:cNvGraphicFramePr>
            <a:graphicFrameLocks noGrp="1"/>
          </p:cNvGraphicFramePr>
          <p:nvPr>
            <p:ph idx="1"/>
            <p:extLst>
              <p:ext uri="{D42A27DB-BD31-4B8C-83A1-F6EECF244321}">
                <p14:modId xmlns:p14="http://schemas.microsoft.com/office/powerpoint/2010/main" val="2282890645"/>
              </p:ext>
            </p:extLst>
          </p:nvPr>
        </p:nvGraphicFramePr>
        <p:xfrm>
          <a:off x="737979" y="1444667"/>
          <a:ext cx="10287829" cy="4559314"/>
        </p:xfrm>
        <a:graphic>
          <a:graphicData uri="http://schemas.openxmlformats.org/drawingml/2006/table">
            <a:tbl>
              <a:tblPr firstRow="1" bandRow="1">
                <a:tableStyleId>{9D7B26C5-4107-4FEC-AEDC-1716B250A1EF}</a:tableStyleId>
              </a:tblPr>
              <a:tblGrid>
                <a:gridCol w="1575361">
                  <a:extLst>
                    <a:ext uri="{9D8B030D-6E8A-4147-A177-3AD203B41FA5}">
                      <a16:colId xmlns:a16="http://schemas.microsoft.com/office/drawing/2014/main" val="4084791796"/>
                    </a:ext>
                  </a:extLst>
                </a:gridCol>
                <a:gridCol w="1247615">
                  <a:extLst>
                    <a:ext uri="{9D8B030D-6E8A-4147-A177-3AD203B41FA5}">
                      <a16:colId xmlns:a16="http://schemas.microsoft.com/office/drawing/2014/main" val="4180684160"/>
                    </a:ext>
                  </a:extLst>
                </a:gridCol>
                <a:gridCol w="2871097">
                  <a:extLst>
                    <a:ext uri="{9D8B030D-6E8A-4147-A177-3AD203B41FA5}">
                      <a16:colId xmlns:a16="http://schemas.microsoft.com/office/drawing/2014/main" val="2577874713"/>
                    </a:ext>
                  </a:extLst>
                </a:gridCol>
                <a:gridCol w="1761810">
                  <a:extLst>
                    <a:ext uri="{9D8B030D-6E8A-4147-A177-3AD203B41FA5}">
                      <a16:colId xmlns:a16="http://schemas.microsoft.com/office/drawing/2014/main" val="310698535"/>
                    </a:ext>
                  </a:extLst>
                </a:gridCol>
                <a:gridCol w="2831946">
                  <a:extLst>
                    <a:ext uri="{9D8B030D-6E8A-4147-A177-3AD203B41FA5}">
                      <a16:colId xmlns:a16="http://schemas.microsoft.com/office/drawing/2014/main" val="167831684"/>
                    </a:ext>
                  </a:extLst>
                </a:gridCol>
              </a:tblGrid>
              <a:tr h="414047">
                <a:tc>
                  <a:txBody>
                    <a:bodyPr/>
                    <a:lstStyle/>
                    <a:p>
                      <a:pPr algn="l" rtl="0"/>
                      <a:r>
                        <a:rPr lang="fr" sz="1600"/>
                        <a:t>Anné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l" rtl="0"/>
                      <a:r>
                        <a:rPr lang="fr" sz="1600"/>
                        <a:t>Maladie</a:t>
                      </a:r>
                    </a:p>
                  </a:txBody>
                  <a:tcP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l" rtl="0"/>
                      <a:r>
                        <a:rPr lang="fr" sz="1600"/>
                        <a:t>Lieu</a:t>
                      </a:r>
                    </a:p>
                  </a:txBody>
                  <a:tcP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l" rtl="0"/>
                      <a:r>
                        <a:rPr lang="fr" sz="1600"/>
                        <a:t>Cas (taux de létalité en %)</a:t>
                      </a:r>
                    </a:p>
                  </a:txBody>
                  <a:tcP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l" rtl="0"/>
                      <a:r>
                        <a:rPr lang="fr" sz="1600"/>
                        <a:t>Cause présumé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extLst>
                  <a:ext uri="{0D108BD9-81ED-4DB2-BD59-A6C34878D82A}">
                    <a16:rowId xmlns:a16="http://schemas.microsoft.com/office/drawing/2014/main" val="2197104062"/>
                  </a:ext>
                </a:extLst>
              </a:tr>
              <a:tr h="369819">
                <a:tc>
                  <a:txBody>
                    <a:bodyPr/>
                    <a:lstStyle/>
                    <a:p>
                      <a:pPr algn="l" rtl="0"/>
                      <a:r>
                        <a:rPr lang="fr" sz="1600"/>
                        <a:t>2014</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B w="12700" cap="flat" cmpd="sng" algn="ctr">
                      <a:solidFill>
                        <a:schemeClr val="tx1"/>
                      </a:solidFill>
                      <a:prstDash val="solid"/>
                      <a:round/>
                      <a:headEnd type="none" w="med" len="med"/>
                      <a:tailEnd type="none" w="med" len="med"/>
                    </a:lnB>
                    <a:noFill/>
                  </a:tcPr>
                </a:tc>
                <a:tc>
                  <a:txBody>
                    <a:bodyPr/>
                    <a:lstStyle/>
                    <a:p>
                      <a:pPr algn="l" rtl="0"/>
                      <a:r>
                        <a:rPr lang="fr" sz="1600"/>
                        <a:t>Équateur, RDC</a:t>
                      </a:r>
                    </a:p>
                  </a:txBody>
                  <a:tcPr>
                    <a:lnB w="12700" cap="flat" cmpd="sng" algn="ctr">
                      <a:solidFill>
                        <a:schemeClr val="tx1"/>
                      </a:solidFill>
                      <a:prstDash val="solid"/>
                      <a:round/>
                      <a:headEnd type="none" w="med" len="med"/>
                      <a:tailEnd type="none" w="med" len="med"/>
                    </a:lnB>
                    <a:noFill/>
                  </a:tcPr>
                </a:tc>
                <a:tc>
                  <a:txBody>
                    <a:bodyPr/>
                    <a:lstStyle/>
                    <a:p>
                      <a:pPr algn="l" rtl="0"/>
                      <a:r>
                        <a:rPr lang="fr" sz="1600"/>
                        <a:t>69 (71)</a:t>
                      </a:r>
                    </a:p>
                  </a:txBody>
                  <a:tcPr>
                    <a:lnB w="12700" cap="flat" cmpd="sng" algn="ctr">
                      <a:solidFill>
                        <a:schemeClr val="tx1"/>
                      </a:solidFill>
                      <a:prstDash val="solid"/>
                      <a:round/>
                      <a:headEnd type="none" w="med" len="med"/>
                      <a:tailEnd type="none" w="med" len="med"/>
                    </a:lnB>
                    <a:noFill/>
                  </a:tcPr>
                </a:tc>
                <a:tc>
                  <a:txBody>
                    <a:bodyPr/>
                    <a:lstStyle/>
                    <a:p>
                      <a:pPr algn="l" rtl="0"/>
                      <a:r>
                        <a:rPr lang="fr" sz="1600" b="0">
                          <a:solidFill>
                            <a:schemeClr val="tx1"/>
                          </a:solidFill>
                        </a:rPr>
                        <a:t>Contagion</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92259777"/>
                  </a:ext>
                </a:extLst>
              </a:tr>
              <a:tr h="0">
                <a:tc>
                  <a:txBody>
                    <a:bodyPr/>
                    <a:lstStyle/>
                    <a:p>
                      <a:pPr algn="l" rtl="0"/>
                      <a:r>
                        <a:rPr lang="fr" sz="1600"/>
                        <a:t>2014-2016</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Guinée, Libéria, Sierra Leon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28,610 (39)</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chemeClr val="tx1"/>
                          </a:solidFill>
                        </a:rPr>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6436829"/>
                  </a:ext>
                </a:extLst>
              </a:tr>
              <a:tr h="369819">
                <a:tc>
                  <a:txBody>
                    <a:bodyPr/>
                    <a:lstStyle/>
                    <a:p>
                      <a:pPr algn="l" rtl="0"/>
                      <a:r>
                        <a:rPr lang="fr" sz="1600"/>
                        <a:t>2017</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Likati, </a:t>
                      </a:r>
                      <a:r>
                        <a:rPr lang="fr" sz="1600" b="0" i="0" kern="1200">
                          <a:solidFill>
                            <a:schemeClr val="tx1"/>
                          </a:solidFill>
                          <a:effectLst/>
                          <a:latin typeface="+mn-lt"/>
                          <a:ea typeface="+mn-ea"/>
                          <a:cs typeface="+mn-cs"/>
                        </a:rPr>
                        <a:t>Bas Uélé, DRC</a:t>
                      </a:r>
                      <a:endParaRPr lang="en-US" sz="16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8 (5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chemeClr val="tx1"/>
                          </a:solidFill>
                        </a:rPr>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8561631"/>
                  </a:ext>
                </a:extLst>
              </a:tr>
              <a:tr h="369819">
                <a:tc>
                  <a:txBody>
                    <a:bodyPr/>
                    <a:lstStyle/>
                    <a:p>
                      <a:pPr algn="l" rtl="0"/>
                      <a:r>
                        <a:rPr lang="fr" sz="1600"/>
                        <a:t>2018</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Équateur,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54 (6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chemeClr val="tx1"/>
                          </a:solidFill>
                        </a:rPr>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1040139"/>
                  </a:ext>
                </a:extLst>
              </a:tr>
              <a:tr h="369819">
                <a:tc>
                  <a:txBody>
                    <a:bodyPr/>
                    <a:lstStyle/>
                    <a:p>
                      <a:pPr algn="l" rtl="0"/>
                      <a:r>
                        <a:rPr lang="fr" sz="1600"/>
                        <a:t>2018-2020</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North Kivu, Ituri,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3481 (66)</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6738301"/>
                  </a:ext>
                </a:extLst>
              </a:tr>
              <a:tr h="337373">
                <a:tc>
                  <a:txBody>
                    <a:bodyPr/>
                    <a:lstStyle/>
                    <a:p>
                      <a:pPr algn="l" rtl="0"/>
                      <a:r>
                        <a:rPr lang="fr" sz="1600"/>
                        <a:t>2020</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Équateur,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130 (42)</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t>Contagion ; </a:t>
                      </a:r>
                      <a:r>
                        <a:rPr lang="fr" sz="1600" b="0">
                          <a:solidFill>
                            <a:srgbClr val="05129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7827672"/>
                  </a:ext>
                </a:extLst>
              </a:tr>
              <a:tr h="369819">
                <a:tc>
                  <a:txBody>
                    <a:bodyPr/>
                    <a:lstStyle/>
                    <a:p>
                      <a:pPr algn="l"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12 (5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rgbClr val="05129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9713778"/>
                  </a:ext>
                </a:extLst>
              </a:tr>
              <a:tr h="369819">
                <a:tc>
                  <a:txBody>
                    <a:bodyPr/>
                    <a:lstStyle/>
                    <a:p>
                      <a:pPr algn="l"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kern="1200">
                          <a:solidFill>
                            <a:schemeClr val="dk1"/>
                          </a:solidFill>
                          <a:effectLst/>
                        </a:rPr>
                        <a:t>N’Zérékoré, Guinée</a:t>
                      </a:r>
                      <a:endParaRPr lang="en-US" sz="16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23 (52)</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rgbClr val="05129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1449723"/>
                  </a:ext>
                </a:extLst>
              </a:tr>
              <a:tr h="369819">
                <a:tc>
                  <a:txBody>
                    <a:bodyPr/>
                    <a:lstStyle/>
                    <a:p>
                      <a:pPr algn="l" rtl="0"/>
                      <a:r>
                        <a:rPr lang="fr" sz="1600"/>
                        <a:t>202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11 (82)</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rgbClr val="05129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127558"/>
                  </a:ext>
                </a:extLst>
              </a:tr>
              <a:tr h="329823">
                <a:tc>
                  <a:txBody>
                    <a:bodyPr/>
                    <a:lstStyle/>
                    <a:p>
                      <a:pPr algn="l" rtl="0"/>
                      <a:r>
                        <a:rPr lang="fr" sz="1600"/>
                        <a:t>2022</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Nord Kivu, RDC</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1 (10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solidFill>
                            <a:srgbClr val="051291"/>
                          </a:solidFill>
                        </a:rPr>
                        <a:t>Persistance vira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5822287"/>
                  </a:ext>
                </a:extLst>
              </a:tr>
              <a:tr h="383528">
                <a:tc>
                  <a:txBody>
                    <a:bodyPr/>
                    <a:lstStyle/>
                    <a:p>
                      <a:pPr algn="l" rtl="0"/>
                      <a:r>
                        <a:rPr lang="fr" sz="1600"/>
                        <a:t>2022</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SV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Mubende, Kampala, Ougand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a:t>164 (5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fr" sz="1600" b="0"/>
                        <a:t>Contag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2317884"/>
                  </a:ext>
                </a:extLst>
              </a:tr>
            </a:tbl>
          </a:graphicData>
        </a:graphic>
      </p:graphicFrame>
    </p:spTree>
    <p:extLst>
      <p:ext uri="{BB962C8B-B14F-4D97-AF65-F5344CB8AC3E}">
        <p14:creationId xmlns:p14="http://schemas.microsoft.com/office/powerpoint/2010/main" val="3706631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7D685-7B9B-1C22-3D48-66E686FBB2AC}"/>
              </a:ext>
            </a:extLst>
          </p:cNvPr>
          <p:cNvSpPr>
            <a:spLocks noGrp="1"/>
          </p:cNvSpPr>
          <p:nvPr>
            <p:ph type="title"/>
          </p:nvPr>
        </p:nvSpPr>
        <p:spPr/>
        <p:txBody>
          <a:bodyPr rtlCol="0">
            <a:normAutofit/>
          </a:bodyPr>
          <a:lstStyle/>
          <a:p>
            <a:pPr rtl="0"/>
            <a:r>
              <a:rPr lang="fr" b="1">
                <a:solidFill>
                  <a:srgbClr val="051291"/>
                </a:solidFill>
              </a:rPr>
              <a:t>Vaccins contre Ebola</a:t>
            </a:r>
            <a:endParaRPr lang="en-US">
              <a:solidFill>
                <a:srgbClr val="051291"/>
              </a:solidFill>
            </a:endParaRPr>
          </a:p>
        </p:txBody>
      </p:sp>
      <p:sp>
        <p:nvSpPr>
          <p:cNvPr id="3" name="Content Placeholder 2">
            <a:extLst>
              <a:ext uri="{FF2B5EF4-FFF2-40B4-BE49-F238E27FC236}">
                <a16:creationId xmlns:a16="http://schemas.microsoft.com/office/drawing/2014/main" id="{DE025BE7-AAC7-0C82-CAA1-2CB2DEA4E078}"/>
              </a:ext>
            </a:extLst>
          </p:cNvPr>
          <p:cNvSpPr>
            <a:spLocks noGrp="1"/>
          </p:cNvSpPr>
          <p:nvPr>
            <p:ph idx="1"/>
          </p:nvPr>
        </p:nvSpPr>
        <p:spPr>
          <a:xfrm>
            <a:off x="523875" y="1371600"/>
            <a:ext cx="9450119" cy="4805363"/>
          </a:xfrm>
        </p:spPr>
        <p:txBody>
          <a:bodyPr vert="horz" lIns="90000" tIns="45720" rIns="91440" bIns="45720" rtlCol="0" anchor="t">
            <a:noAutofit/>
          </a:bodyPr>
          <a:lstStyle/>
          <a:p>
            <a:pPr marL="0" indent="0" rtl="0">
              <a:buClr>
                <a:schemeClr val="accent1"/>
              </a:buClr>
              <a:buNone/>
            </a:pPr>
            <a:r>
              <a:rPr lang="fr" sz="2400"/>
              <a:t>Il existe deux</a:t>
            </a:r>
            <a:r>
              <a:rPr lang="fr" sz="2400" b="1">
                <a:solidFill>
                  <a:srgbClr val="0070C0"/>
                </a:solidFill>
              </a:rPr>
              <a:t> vaccins homologués</a:t>
            </a:r>
            <a:r>
              <a:rPr lang="fr" sz="2400" b="1"/>
              <a:t> </a:t>
            </a:r>
            <a:r>
              <a:rPr lang="fr" sz="2400"/>
              <a:t> et préqualifiés par l’OMS</a:t>
            </a:r>
            <a:r>
              <a:rPr lang="fr" sz="2400" b="1">
                <a:solidFill>
                  <a:srgbClr val="0070C0"/>
                </a:solidFill>
              </a:rPr>
              <a:t> pour prévenir la maladie à virus Ebola (causée par</a:t>
            </a:r>
            <a:r>
              <a:rPr lang="fr" sz="2400"/>
              <a:t> l’espèce ebolavirus Zaïre</a:t>
            </a:r>
            <a:r>
              <a:rPr lang="fr" sz="2400" b="0" i="1">
                <a:solidFill>
                  <a:srgbClr val="1C1D1F"/>
                </a:solidFill>
                <a:effectLst/>
              </a:rPr>
              <a:t>) :</a:t>
            </a:r>
            <a:endParaRPr lang="en-US" sz="2400">
              <a:ea typeface="Calibri"/>
            </a:endParaRPr>
          </a:p>
          <a:p>
            <a:pPr rtl="0"/>
            <a:r>
              <a:rPr lang="fr" sz="2400"/>
              <a:t>Adénovirus humain de sérotype 26 (Ad26) exprimant la glycoprotéine de la variante Mayinga du virus Ebola, Ad26.ZEBOV (</a:t>
            </a:r>
            <a:r>
              <a:rPr lang="fr" sz="2400" b="1"/>
              <a:t>Zabdeno®</a:t>
            </a:r>
            <a:r>
              <a:rPr lang="fr" sz="2400"/>
              <a:t>), et le Virus de la vaccine Ankara – Bavarian Nordic modifiée(MVA-BN) contre les filovirus, MVA-BN-Filo (</a:t>
            </a:r>
            <a:r>
              <a:rPr lang="fr" sz="2400" b="1"/>
              <a:t>Mvabea®</a:t>
            </a:r>
            <a:r>
              <a:rPr lang="fr" sz="2400"/>
              <a:t>, aussi appelé </a:t>
            </a:r>
            <a:r>
              <a:rPr lang="fr" sz="2400" b="1"/>
              <a:t>Zabdeno/Mvabea</a:t>
            </a:r>
            <a:r>
              <a:rPr lang="fr" sz="2400"/>
              <a:t> produit par Johnson and Johnson</a:t>
            </a:r>
            <a:endParaRPr lang="en-US" sz="1800">
              <a:effectLst/>
              <a:latin typeface="Segoe UI" panose="020B0502040204020203" pitchFamily="34" charset="0"/>
            </a:endParaRPr>
          </a:p>
          <a:p>
            <a:pPr rtl="0"/>
            <a:endParaRPr lang="en-US" sz="2400">
              <a:ea typeface="Calibri"/>
            </a:endParaRPr>
          </a:p>
          <a:p>
            <a:pPr rtl="0"/>
            <a:r>
              <a:rPr lang="fr" sz="2400"/>
              <a:t>Virus recombinant de la stomatite vésiculaire, ebolavirus Zaïre (rVSV-ZEBOV), commercialisé sous le nom </a:t>
            </a:r>
            <a:r>
              <a:rPr lang="fr" sz="2400" b="1"/>
              <a:t>ERVEBO®,</a:t>
            </a:r>
            <a:r>
              <a:rPr lang="fr" sz="2400"/>
              <a:t> produit par Merck</a:t>
            </a:r>
          </a:p>
          <a:p>
            <a:pPr rtl="0"/>
            <a:endParaRPr lang="en-US" sz="2400">
              <a:ea typeface="Calibri"/>
            </a:endParaRPr>
          </a:p>
        </p:txBody>
      </p:sp>
      <p:pic>
        <p:nvPicPr>
          <p:cNvPr id="5" name="Graphic 4" descr="Needle with solid fill">
            <a:extLst>
              <a:ext uri="{FF2B5EF4-FFF2-40B4-BE49-F238E27FC236}">
                <a16:creationId xmlns:a16="http://schemas.microsoft.com/office/drawing/2014/main" id="{F177227F-BFF7-8DE5-6BA2-83898F0BE947}"/>
              </a:ext>
            </a:extLst>
          </p:cNvPr>
          <p:cNvPicPr>
            <a:picLocks noChangeAspect="1"/>
          </p:cNvPicPr>
          <p:nvPr/>
        </p:nvPicPr>
        <p:blipFill>
          <a:blip r:embed="rId3">
            <a:lum bright="70000" contrast="-70000"/>
            <a:extLst>
              <a:ext uri="{96DAC541-7B7A-43D3-8B79-37D633B846F1}">
                <asvg:svgBlip xmlns:asvg="http://schemas.microsoft.com/office/drawing/2016/SVG/main" r:embed="rId4"/>
              </a:ext>
            </a:extLst>
          </a:blip>
          <a:stretch>
            <a:fillRect/>
          </a:stretch>
        </p:blipFill>
        <p:spPr>
          <a:xfrm rot="20857844">
            <a:off x="9903311" y="2477661"/>
            <a:ext cx="2109383" cy="1902675"/>
          </a:xfrm>
          <a:prstGeom prst="rect">
            <a:avLst/>
          </a:prstGeom>
        </p:spPr>
      </p:pic>
    </p:spTree>
    <p:extLst>
      <p:ext uri="{BB962C8B-B14F-4D97-AF65-F5344CB8AC3E}">
        <p14:creationId xmlns:p14="http://schemas.microsoft.com/office/powerpoint/2010/main" val="7334453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A093C358-85B3-4E92-A230-AFB957AED784}"/>
              </a:ext>
            </a:extLst>
          </p:cNvPr>
          <p:cNvSpPr txBox="1"/>
          <p:nvPr/>
        </p:nvSpPr>
        <p:spPr>
          <a:xfrm>
            <a:off x="4384278" y="6337031"/>
            <a:ext cx="3178663" cy="369332"/>
          </a:xfrm>
          <a:prstGeom prst="rect">
            <a:avLst/>
          </a:prstGeom>
          <a:noFill/>
        </p:spPr>
        <p:txBody>
          <a:bodyPr wrap="square" lIns="91440" tIns="45720" rIns="91440" bIns="45720" rtlCol="0" anchor="t">
            <a:spAutoFit/>
          </a:bodyPr>
          <a:lstStyle/>
          <a:p>
            <a:pPr algn="ctr" defTabSz="914268" rtl="0">
              <a:defRPr/>
            </a:pPr>
            <a:r>
              <a:rPr lang="fr" sz="600">
                <a:solidFill>
                  <a:srgbClr val="FFFFFF"/>
                </a:solidFill>
                <a:latin typeface="Verdana"/>
              </a:rPr>
              <a:t>Cette présentation est protégée par les droits d’auteur de Janssen Vaccines &amp; Prevention B.V. et contient des informations exclusives et/ou confidentielles.</a:t>
            </a:r>
          </a:p>
          <a:p>
            <a:pPr algn="ctr" defTabSz="914268" rtl="0">
              <a:defRPr/>
            </a:pPr>
            <a:endParaRPr lang="fr" sz="600">
              <a:solidFill>
                <a:srgbClr val="FFFFFF"/>
              </a:solidFill>
              <a:latin typeface="Verdana"/>
            </a:endParaRPr>
          </a:p>
          <a:p>
            <a:pPr algn="ctr" defTabSz="914268" rtl="0">
              <a:defRPr/>
            </a:pPr>
            <a:r>
              <a:rPr lang="fr" sz="600">
                <a:solidFill>
                  <a:srgbClr val="FFFFFF"/>
                </a:solidFill>
                <a:latin typeface="Verdana"/>
              </a:rPr>
              <a:t>Ne pas diffuser</a:t>
            </a:r>
            <a:endParaRPr lang="en-US">
              <a:solidFill>
                <a:srgbClr val="FFFFFF"/>
              </a:solidFill>
              <a:latin typeface="Verdana"/>
            </a:endParaRPr>
          </a:p>
        </p:txBody>
      </p:sp>
      <p:sp>
        <p:nvSpPr>
          <p:cNvPr id="37" name="Title 7">
            <a:extLst>
              <a:ext uri="{FF2B5EF4-FFF2-40B4-BE49-F238E27FC236}">
                <a16:creationId xmlns:a16="http://schemas.microsoft.com/office/drawing/2014/main" id="{327087CF-1B02-4FFE-B3CE-B95BBC2B4462}"/>
              </a:ext>
            </a:extLst>
          </p:cNvPr>
          <p:cNvSpPr>
            <a:spLocks noGrp="1"/>
          </p:cNvSpPr>
          <p:nvPr>
            <p:ph type="title"/>
          </p:nvPr>
        </p:nvSpPr>
        <p:spPr>
          <a:xfrm>
            <a:off x="458042" y="176312"/>
            <a:ext cx="11039475" cy="692150"/>
          </a:xfrm>
        </p:spPr>
        <p:txBody>
          <a:bodyPr rtlCol="0">
            <a:noAutofit/>
          </a:bodyPr>
          <a:lstStyle/>
          <a:p>
            <a:pPr algn="l" rtl="0"/>
            <a:r>
              <a:rPr lang="fr"/>
              <a:t>Schéma vaccinal monovalent contre Ebola</a:t>
            </a:r>
            <a:endParaRPr lang="en-US"/>
          </a:p>
        </p:txBody>
      </p:sp>
      <p:sp>
        <p:nvSpPr>
          <p:cNvPr id="45" name="Rounded Rectangle 376">
            <a:extLst>
              <a:ext uri="{FF2B5EF4-FFF2-40B4-BE49-F238E27FC236}">
                <a16:creationId xmlns:a16="http://schemas.microsoft.com/office/drawing/2014/main" id="{9BE4E94E-F117-4106-BB14-7261FF77D870}"/>
              </a:ext>
            </a:extLst>
          </p:cNvPr>
          <p:cNvSpPr/>
          <p:nvPr/>
        </p:nvSpPr>
        <p:spPr bwMode="auto">
          <a:xfrm>
            <a:off x="890410" y="1993726"/>
            <a:ext cx="4818118" cy="4530700"/>
          </a:xfrm>
          <a:prstGeom prst="roundRect">
            <a:avLst>
              <a:gd name="adj" fmla="val 0"/>
            </a:avLst>
          </a:prstGeom>
          <a:solidFill>
            <a:schemeClr val="bg1"/>
          </a:solidFill>
          <a:ln w="28575" cap="flat" cmpd="sng" algn="ctr">
            <a:solidFill>
              <a:schemeClr val="accent3">
                <a:lumMod val="60000"/>
                <a:lumOff val="40000"/>
              </a:schemeClr>
            </a:solidFill>
            <a:prstDash val="solid"/>
            <a:headEnd type="none" w="med" len="med"/>
            <a:tailEnd type="none" w="med" len="med"/>
          </a:ln>
          <a:effectLst/>
        </p:spPr>
        <p:txBody>
          <a:bodyPr rtlCol="0"/>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eaLnBrk="0" hangingPunct="0">
              <a:defRPr/>
            </a:pPr>
            <a:endParaRPr lang="en-US" sz="2667" kern="0">
              <a:solidFill>
                <a:srgbClr val="333333">
                  <a:lumMod val="85000"/>
                  <a:lumOff val="15000"/>
                </a:srgbClr>
              </a:solidFill>
              <a:latin typeface="Verdana"/>
            </a:endParaRPr>
          </a:p>
        </p:txBody>
      </p:sp>
      <p:sp>
        <p:nvSpPr>
          <p:cNvPr id="46" name="Rectangle 45">
            <a:extLst>
              <a:ext uri="{FF2B5EF4-FFF2-40B4-BE49-F238E27FC236}">
                <a16:creationId xmlns:a16="http://schemas.microsoft.com/office/drawing/2014/main" id="{8862FDFC-124B-4C52-9740-A57DB9AACB69}"/>
              </a:ext>
            </a:extLst>
          </p:cNvPr>
          <p:cNvSpPr/>
          <p:nvPr/>
        </p:nvSpPr>
        <p:spPr>
          <a:xfrm>
            <a:off x="525317" y="872718"/>
            <a:ext cx="7712038" cy="379656"/>
          </a:xfrm>
          <a:prstGeom prst="rect">
            <a:avLst/>
          </a:prstGeom>
        </p:spPr>
        <p:txBody>
          <a:bodyPr wrap="square"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912732" rtl="0">
              <a:defRPr/>
            </a:pPr>
            <a:r>
              <a:rPr lang="fr" sz="1867" b="1">
                <a:solidFill>
                  <a:srgbClr val="333333">
                    <a:lumMod val="85000"/>
                    <a:lumOff val="15000"/>
                  </a:srgbClr>
                </a:solidFill>
                <a:latin typeface="Verdana"/>
                <a:ea typeface="Verdana" panose="020B0604030504040204" pitchFamily="34" charset="0"/>
                <a:cs typeface="Verdana" panose="020B0604030504040204" pitchFamily="34" charset="0"/>
              </a:rPr>
              <a:t>Schéma thérapeutique à deux doses, intramusculaire</a:t>
            </a:r>
          </a:p>
        </p:txBody>
      </p:sp>
      <p:grpSp>
        <p:nvGrpSpPr>
          <p:cNvPr id="47" name="Group 46">
            <a:extLst>
              <a:ext uri="{FF2B5EF4-FFF2-40B4-BE49-F238E27FC236}">
                <a16:creationId xmlns:a16="http://schemas.microsoft.com/office/drawing/2014/main" id="{D8368D1D-2190-41EE-8BC8-6F58C05E5F21}"/>
              </a:ext>
            </a:extLst>
          </p:cNvPr>
          <p:cNvGrpSpPr/>
          <p:nvPr/>
        </p:nvGrpSpPr>
        <p:grpSpPr>
          <a:xfrm>
            <a:off x="999035" y="5057329"/>
            <a:ext cx="4824399" cy="477048"/>
            <a:chOff x="51423" y="5117225"/>
            <a:chExt cx="4961467" cy="472954"/>
          </a:xfrm>
        </p:grpSpPr>
        <p:sp>
          <p:nvSpPr>
            <p:cNvPr id="48" name="Line 4">
              <a:extLst>
                <a:ext uri="{FF2B5EF4-FFF2-40B4-BE49-F238E27FC236}">
                  <a16:creationId xmlns:a16="http://schemas.microsoft.com/office/drawing/2014/main" id="{D1B4D091-EA26-429A-9708-9BC5341886F3}"/>
                </a:ext>
              </a:extLst>
            </p:cNvPr>
            <p:cNvSpPr>
              <a:spLocks noChangeShapeType="1"/>
            </p:cNvSpPr>
            <p:nvPr/>
          </p:nvSpPr>
          <p:spPr bwMode="auto">
            <a:xfrm flipV="1">
              <a:off x="951714" y="5178212"/>
              <a:ext cx="3410679" cy="3345"/>
            </a:xfrm>
            <a:prstGeom prst="line">
              <a:avLst/>
            </a:prstGeom>
            <a:noFill/>
            <a:ln w="38100">
              <a:solidFill>
                <a:schemeClr val="tx1"/>
              </a:solidFill>
              <a:round/>
              <a:headEnd/>
              <a:tailEnd/>
            </a:ln>
          </p:spPr>
          <p:txBody>
            <a:bodyPr wrap="none" rtlCol="0" anchor="ct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defRPr/>
              </a:pPr>
              <a:endParaRPr lang="en-US" sz="1600" kern="0">
                <a:solidFill>
                  <a:srgbClr val="333333">
                    <a:lumMod val="85000"/>
                    <a:lumOff val="15000"/>
                  </a:srgbClr>
                </a:solidFill>
                <a:latin typeface="Verdana"/>
              </a:endParaRPr>
            </a:p>
          </p:txBody>
        </p:sp>
        <p:sp>
          <p:nvSpPr>
            <p:cNvPr id="49" name="Line 5">
              <a:extLst>
                <a:ext uri="{FF2B5EF4-FFF2-40B4-BE49-F238E27FC236}">
                  <a16:creationId xmlns:a16="http://schemas.microsoft.com/office/drawing/2014/main" id="{685F7B52-56BD-4A7C-9887-79416F8A9BB0}"/>
                </a:ext>
              </a:extLst>
            </p:cNvPr>
            <p:cNvSpPr>
              <a:spLocks noChangeShapeType="1"/>
            </p:cNvSpPr>
            <p:nvPr/>
          </p:nvSpPr>
          <p:spPr bwMode="auto">
            <a:xfrm flipH="1">
              <a:off x="950975" y="5117225"/>
              <a:ext cx="0" cy="183816"/>
            </a:xfrm>
            <a:prstGeom prst="line">
              <a:avLst/>
            </a:prstGeom>
            <a:noFill/>
            <a:ln w="28575">
              <a:solidFill>
                <a:schemeClr val="tx1"/>
              </a:solidFill>
              <a:round/>
              <a:headEnd/>
              <a:tailEnd/>
            </a:ln>
          </p:spPr>
          <p:txBody>
            <a:bodyPr wrap="none" rtlCol="0" anchor="ct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defRPr/>
              </a:pPr>
              <a:endParaRPr lang="en-US" sz="1600" kern="0">
                <a:solidFill>
                  <a:srgbClr val="333333">
                    <a:lumMod val="85000"/>
                    <a:lumOff val="15000"/>
                  </a:srgbClr>
                </a:solidFill>
                <a:latin typeface="Verdana"/>
              </a:endParaRPr>
            </a:p>
          </p:txBody>
        </p:sp>
        <p:sp>
          <p:nvSpPr>
            <p:cNvPr id="50" name="Text Box 6">
              <a:extLst>
                <a:ext uri="{FF2B5EF4-FFF2-40B4-BE49-F238E27FC236}">
                  <a16:creationId xmlns:a16="http://schemas.microsoft.com/office/drawing/2014/main" id="{462A4CAA-4338-4DE8-893B-884C27FFE03A}"/>
                </a:ext>
              </a:extLst>
            </p:cNvPr>
            <p:cNvSpPr txBox="1">
              <a:spLocks noChangeArrowheads="1"/>
            </p:cNvSpPr>
            <p:nvPr/>
          </p:nvSpPr>
          <p:spPr bwMode="auto">
            <a:xfrm>
              <a:off x="780330" y="5254905"/>
              <a:ext cx="280403" cy="305135"/>
            </a:xfrm>
            <a:prstGeom prst="rect">
              <a:avLst/>
            </a:prstGeom>
            <a:noFill/>
            <a:ln w="12700">
              <a:noFill/>
              <a:miter lim="800000"/>
              <a:headEnd/>
              <a:tailEnd/>
            </a:ln>
          </p:spPr>
          <p:txBody>
            <a:bodyPr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spcBef>
                  <a:spcPct val="50000"/>
                </a:spcBef>
                <a:defRPr/>
              </a:pPr>
              <a:r>
                <a:rPr lang="fr" sz="1400" b="1" kern="0">
                  <a:solidFill>
                    <a:srgbClr val="333333">
                      <a:lumMod val="85000"/>
                      <a:lumOff val="15000"/>
                    </a:srgbClr>
                  </a:solidFill>
                  <a:latin typeface="Verdana"/>
                </a:rPr>
                <a:t>0</a:t>
              </a:r>
            </a:p>
          </p:txBody>
        </p:sp>
        <p:sp>
          <p:nvSpPr>
            <p:cNvPr id="51" name="Text Box 11">
              <a:extLst>
                <a:ext uri="{FF2B5EF4-FFF2-40B4-BE49-F238E27FC236}">
                  <a16:creationId xmlns:a16="http://schemas.microsoft.com/office/drawing/2014/main" id="{6637A704-EFC9-4F4C-99C4-8B54B085B327}"/>
                </a:ext>
              </a:extLst>
            </p:cNvPr>
            <p:cNvSpPr txBox="1">
              <a:spLocks noChangeArrowheads="1"/>
            </p:cNvSpPr>
            <p:nvPr/>
          </p:nvSpPr>
          <p:spPr bwMode="auto">
            <a:xfrm>
              <a:off x="51423" y="5246314"/>
              <a:ext cx="818476" cy="305135"/>
            </a:xfrm>
            <a:prstGeom prst="rect">
              <a:avLst/>
            </a:prstGeom>
            <a:noFill/>
            <a:ln w="12700">
              <a:headEnd type="none" w="med" len="med"/>
              <a:tailEnd type="none" w="med" len="med"/>
            </a:ln>
            <a:effectLst/>
          </p:spPr>
          <p:txBody>
            <a:bodyPr wrap="square"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spcBef>
                  <a:spcPct val="50000"/>
                </a:spcBef>
                <a:defRPr/>
              </a:pPr>
              <a:r>
                <a:rPr lang="fr" sz="1400" kern="0">
                  <a:solidFill>
                    <a:srgbClr val="333333">
                      <a:lumMod val="85000"/>
                      <a:lumOff val="15000"/>
                    </a:srgbClr>
                  </a:solidFill>
                  <a:latin typeface="Verdana"/>
                </a:rPr>
                <a:t>Jours</a:t>
              </a:r>
              <a:endParaRPr lang="en-US" sz="2667" kern="0">
                <a:solidFill>
                  <a:srgbClr val="333333">
                    <a:lumMod val="85000"/>
                    <a:lumOff val="15000"/>
                  </a:srgbClr>
                </a:solidFill>
                <a:latin typeface="Verdana"/>
              </a:endParaRPr>
            </a:p>
          </p:txBody>
        </p:sp>
        <p:sp>
          <p:nvSpPr>
            <p:cNvPr id="52" name="Text Box 12">
              <a:extLst>
                <a:ext uri="{FF2B5EF4-FFF2-40B4-BE49-F238E27FC236}">
                  <a16:creationId xmlns:a16="http://schemas.microsoft.com/office/drawing/2014/main" id="{0D2317E7-1A08-4AB8-AC3C-C516C4370811}"/>
                </a:ext>
              </a:extLst>
            </p:cNvPr>
            <p:cNvSpPr txBox="1">
              <a:spLocks noChangeArrowheads="1"/>
            </p:cNvSpPr>
            <p:nvPr/>
          </p:nvSpPr>
          <p:spPr bwMode="auto">
            <a:xfrm>
              <a:off x="2899642" y="5285044"/>
              <a:ext cx="2113248" cy="305135"/>
            </a:xfrm>
            <a:prstGeom prst="rect">
              <a:avLst/>
            </a:prstGeom>
            <a:noFill/>
            <a:ln w="12700">
              <a:noFill/>
              <a:miter lim="800000"/>
              <a:headEnd/>
              <a:tailEnd/>
            </a:ln>
          </p:spPr>
          <p:txBody>
            <a:bodyPr wrap="square"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spcBef>
                  <a:spcPct val="50000"/>
                </a:spcBef>
                <a:defRPr/>
              </a:pPr>
              <a:r>
                <a:rPr lang="fr" sz="1400" b="1" kern="0">
                  <a:solidFill>
                    <a:srgbClr val="333333">
                      <a:lumMod val="85000"/>
                      <a:lumOff val="15000"/>
                    </a:srgbClr>
                  </a:solidFill>
                  <a:latin typeface="Verdana"/>
                </a:rPr>
                <a:t>56</a:t>
              </a:r>
              <a:endParaRPr lang="en-US" sz="1400" kern="0">
                <a:solidFill>
                  <a:srgbClr val="333333">
                    <a:lumMod val="85000"/>
                    <a:lumOff val="15000"/>
                  </a:srgbClr>
                </a:solidFill>
                <a:latin typeface="Verdana"/>
              </a:endParaRPr>
            </a:p>
          </p:txBody>
        </p:sp>
        <p:sp>
          <p:nvSpPr>
            <p:cNvPr id="55" name="Line 23">
              <a:extLst>
                <a:ext uri="{FF2B5EF4-FFF2-40B4-BE49-F238E27FC236}">
                  <a16:creationId xmlns:a16="http://schemas.microsoft.com/office/drawing/2014/main" id="{D63784CF-EB2E-4477-A8BE-B92E4CAAC664}"/>
                </a:ext>
              </a:extLst>
            </p:cNvPr>
            <p:cNvSpPr>
              <a:spLocks noChangeShapeType="1"/>
            </p:cNvSpPr>
            <p:nvPr/>
          </p:nvSpPr>
          <p:spPr bwMode="auto">
            <a:xfrm>
              <a:off x="3175913" y="5117225"/>
              <a:ext cx="0" cy="183816"/>
            </a:xfrm>
            <a:prstGeom prst="line">
              <a:avLst/>
            </a:prstGeom>
            <a:noFill/>
            <a:ln w="28575">
              <a:solidFill>
                <a:schemeClr val="tx1"/>
              </a:solidFill>
              <a:round/>
              <a:headEnd/>
              <a:tailEnd/>
            </a:ln>
          </p:spPr>
          <p:txBody>
            <a:bodyPr wrap="none" rtlCol="0" anchor="ct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5007" rtl="0">
                <a:defRPr/>
              </a:pPr>
              <a:endParaRPr lang="en-US" sz="1400" kern="0">
                <a:solidFill>
                  <a:srgbClr val="333333">
                    <a:lumMod val="85000"/>
                    <a:lumOff val="15000"/>
                  </a:srgbClr>
                </a:solidFill>
                <a:latin typeface="Verdana"/>
              </a:endParaRPr>
            </a:p>
          </p:txBody>
        </p:sp>
      </p:grpSp>
      <p:sp>
        <p:nvSpPr>
          <p:cNvPr id="59" name="TextBox 24">
            <a:extLst>
              <a:ext uri="{FF2B5EF4-FFF2-40B4-BE49-F238E27FC236}">
                <a16:creationId xmlns:a16="http://schemas.microsoft.com/office/drawing/2014/main" id="{C3D04A56-EA84-4701-9581-ACD6F58C4CD4}"/>
              </a:ext>
            </a:extLst>
          </p:cNvPr>
          <p:cNvSpPr txBox="1">
            <a:spLocks noChangeArrowheads="1"/>
          </p:cNvSpPr>
          <p:nvPr/>
        </p:nvSpPr>
        <p:spPr bwMode="auto">
          <a:xfrm>
            <a:off x="3654427" y="4120783"/>
            <a:ext cx="1692653"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684550" rtl="0">
              <a:defRPr/>
            </a:pPr>
            <a:r>
              <a:rPr lang="fr" sz="1333" kern="0">
                <a:solidFill>
                  <a:srgbClr val="333333">
                    <a:lumMod val="85000"/>
                    <a:lumOff val="15000"/>
                  </a:srgbClr>
                </a:solidFill>
                <a:latin typeface="Verdana"/>
                <a:cs typeface="Arial" panose="020B0604020202020204" pitchFamily="34" charset="0"/>
              </a:rPr>
              <a:t>1 x 10</a:t>
            </a:r>
            <a:r>
              <a:rPr lang="fr" sz="1333" kern="0" baseline="30000">
                <a:solidFill>
                  <a:srgbClr val="333333">
                    <a:lumMod val="85000"/>
                    <a:lumOff val="15000"/>
                  </a:srgbClr>
                </a:solidFill>
                <a:latin typeface="Verdana"/>
                <a:cs typeface="Arial" panose="020B0604020202020204" pitchFamily="34" charset="0"/>
              </a:rPr>
              <a:t>8 </a:t>
            </a:r>
            <a:r>
              <a:rPr lang="fr" sz="1333" kern="0">
                <a:solidFill>
                  <a:srgbClr val="333333">
                    <a:lumMod val="85000"/>
                    <a:lumOff val="15000"/>
                  </a:srgbClr>
                </a:solidFill>
                <a:latin typeface="Verdana"/>
                <a:cs typeface="Arial" panose="020B0604020202020204" pitchFamily="34" charset="0"/>
              </a:rPr>
              <a:t>Inf.U.</a:t>
            </a:r>
          </a:p>
          <a:p>
            <a:pPr defTabSz="684550" rtl="0">
              <a:defRPr/>
            </a:pPr>
            <a:endParaRPr lang="en-GB" altLang="en-US" sz="1333" kern="0">
              <a:solidFill>
                <a:srgbClr val="333333">
                  <a:lumMod val="85000"/>
                  <a:lumOff val="15000"/>
                </a:srgbClr>
              </a:solidFill>
              <a:latin typeface="Verdana"/>
              <a:cs typeface="Arial" panose="020B0604020202020204" pitchFamily="34" charset="0"/>
            </a:endParaRPr>
          </a:p>
        </p:txBody>
      </p:sp>
      <p:sp>
        <p:nvSpPr>
          <p:cNvPr id="60" name="TextBox 4">
            <a:extLst>
              <a:ext uri="{FF2B5EF4-FFF2-40B4-BE49-F238E27FC236}">
                <a16:creationId xmlns:a16="http://schemas.microsoft.com/office/drawing/2014/main" id="{138D1C93-8EA0-4430-A99C-0974192C674B}"/>
              </a:ext>
            </a:extLst>
          </p:cNvPr>
          <p:cNvSpPr txBox="1">
            <a:spLocks noChangeArrowheads="1"/>
          </p:cNvSpPr>
          <p:nvPr/>
        </p:nvSpPr>
        <p:spPr bwMode="auto">
          <a:xfrm>
            <a:off x="1246972" y="4078797"/>
            <a:ext cx="1255659"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defTabSz="912791" rtl="0">
              <a:defRPr/>
            </a:pPr>
            <a:r>
              <a:rPr lang="fr" sz="1333" kern="0">
                <a:solidFill>
                  <a:srgbClr val="333333"/>
                </a:solidFill>
                <a:latin typeface="Verdana"/>
                <a:cs typeface="Arial" panose="020B0604020202020204" pitchFamily="34" charset="0"/>
              </a:rPr>
              <a:t>5x10</a:t>
            </a:r>
            <a:r>
              <a:rPr lang="fr" sz="1333" kern="0" baseline="30000">
                <a:solidFill>
                  <a:srgbClr val="333333"/>
                </a:solidFill>
                <a:latin typeface="Verdana"/>
                <a:cs typeface="Arial" panose="020B0604020202020204" pitchFamily="34" charset="0"/>
              </a:rPr>
              <a:t>10</a:t>
            </a:r>
            <a:r>
              <a:rPr lang="fr" sz="1333" kern="0">
                <a:solidFill>
                  <a:srgbClr val="333333"/>
                </a:solidFill>
                <a:latin typeface="Verdana"/>
                <a:cs typeface="Arial" panose="020B0604020202020204" pitchFamily="34" charset="0"/>
              </a:rPr>
              <a:t> vp</a:t>
            </a:r>
            <a:endParaRPr lang="en-GB" altLang="en-US" sz="1333" kern="0">
              <a:solidFill>
                <a:srgbClr val="333333"/>
              </a:solidFill>
              <a:latin typeface="Verdana"/>
              <a:cs typeface="Arial" panose="020B0604020202020204" pitchFamily="34" charset="0"/>
            </a:endParaRPr>
          </a:p>
          <a:p>
            <a:pPr algn="ctr" defTabSz="684550" rtl="0">
              <a:defRPr/>
            </a:pPr>
            <a:endParaRPr lang="en-GB" altLang="en-US" sz="1333" kern="0">
              <a:solidFill>
                <a:srgbClr val="333333">
                  <a:lumMod val="85000"/>
                  <a:lumOff val="15000"/>
                </a:srgbClr>
              </a:solidFill>
              <a:latin typeface="Verdana"/>
              <a:cs typeface="Arial" panose="020B0604020202020204" pitchFamily="34" charset="0"/>
            </a:endParaRPr>
          </a:p>
        </p:txBody>
      </p:sp>
      <p:sp>
        <p:nvSpPr>
          <p:cNvPr id="62" name="Right Brace 61">
            <a:extLst>
              <a:ext uri="{FF2B5EF4-FFF2-40B4-BE49-F238E27FC236}">
                <a16:creationId xmlns:a16="http://schemas.microsoft.com/office/drawing/2014/main" id="{37DC26A0-D5E4-4B5F-8EC9-9C5A611AB93B}"/>
              </a:ext>
            </a:extLst>
          </p:cNvPr>
          <p:cNvSpPr/>
          <p:nvPr/>
        </p:nvSpPr>
        <p:spPr>
          <a:xfrm rot="16200000">
            <a:off x="3037781" y="1197391"/>
            <a:ext cx="435771" cy="2522735"/>
          </a:xfrm>
          <a:prstGeom prst="rightBrace">
            <a:avLst>
              <a:gd name="adj1" fmla="val 4655"/>
              <a:gd name="adj2" fmla="val 49464"/>
            </a:avLst>
          </a:prstGeom>
          <a:ln w="28575">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17" rtl="0">
              <a:defRPr/>
            </a:pPr>
            <a:endParaRPr lang="en-GB" sz="1600">
              <a:solidFill>
                <a:srgbClr val="333333"/>
              </a:solidFill>
              <a:latin typeface="Verdana"/>
            </a:endParaRPr>
          </a:p>
        </p:txBody>
      </p:sp>
      <p:sp>
        <p:nvSpPr>
          <p:cNvPr id="67" name="Rounded Rectangle 77">
            <a:extLst>
              <a:ext uri="{FF2B5EF4-FFF2-40B4-BE49-F238E27FC236}">
                <a16:creationId xmlns:a16="http://schemas.microsoft.com/office/drawing/2014/main" id="{E7FE1099-3A5C-422C-9B45-D6A88BCC1A66}"/>
              </a:ext>
            </a:extLst>
          </p:cNvPr>
          <p:cNvSpPr/>
          <p:nvPr/>
        </p:nvSpPr>
        <p:spPr>
          <a:xfrm>
            <a:off x="1461597" y="1373345"/>
            <a:ext cx="3602248" cy="866419"/>
          </a:xfrm>
          <a:prstGeom prst="roundRect">
            <a:avLst/>
          </a:prstGeom>
          <a:solidFill>
            <a:schemeClr val="accent2">
              <a:lumMod val="20000"/>
              <a:lumOff val="80000"/>
            </a:schemeClr>
          </a:solidFill>
          <a:ln>
            <a:solidFill>
              <a:schemeClr val="accent1">
                <a:lumMod val="40000"/>
                <a:lumOff val="6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defTabSz="914317" rtl="0">
              <a:defRPr/>
            </a:pPr>
            <a:endParaRPr lang="en-GB" sz="1600">
              <a:solidFill>
                <a:srgbClr val="333333"/>
              </a:solidFill>
              <a:latin typeface="Verdana"/>
            </a:endParaRPr>
          </a:p>
        </p:txBody>
      </p:sp>
      <p:sp>
        <p:nvSpPr>
          <p:cNvPr id="68" name="TextBox 67">
            <a:extLst>
              <a:ext uri="{FF2B5EF4-FFF2-40B4-BE49-F238E27FC236}">
                <a16:creationId xmlns:a16="http://schemas.microsoft.com/office/drawing/2014/main" id="{368E3C09-FF6D-4E75-BA66-250EBFD265E9}"/>
              </a:ext>
            </a:extLst>
          </p:cNvPr>
          <p:cNvSpPr txBox="1"/>
          <p:nvPr/>
        </p:nvSpPr>
        <p:spPr>
          <a:xfrm>
            <a:off x="1430501" y="1354990"/>
            <a:ext cx="3365500" cy="1036309"/>
          </a:xfrm>
          <a:prstGeom prst="rect">
            <a:avLst/>
          </a:prstGeom>
          <a:noFill/>
          <a:ln>
            <a:noFill/>
          </a:ln>
        </p:spPr>
        <p:txBody>
          <a:bodyPr wrap="square" rtlCol="0" anchor="ctr">
            <a:spAutoFit/>
          </a:bodyPr>
          <a:lstStyle/>
          <a:p>
            <a:pPr algn="ctr" defTabSz="914317" rtl="0">
              <a:spcBef>
                <a:spcPct val="0"/>
              </a:spcBef>
              <a:defRPr/>
            </a:pPr>
            <a:endParaRPr lang="en-US" sz="1467">
              <a:latin typeface="Verdana"/>
              <a:ea typeface="ＭＳ Ｐゴシック" pitchFamily="34" charset="-128"/>
            </a:endParaRPr>
          </a:p>
          <a:p>
            <a:pPr algn="ctr" defTabSz="914317" rtl="0">
              <a:spcBef>
                <a:spcPct val="0"/>
              </a:spcBef>
              <a:defRPr/>
            </a:pPr>
            <a:r>
              <a:rPr lang="fr" sz="1600" b="1">
                <a:solidFill>
                  <a:srgbClr val="0070C0"/>
                </a:solidFill>
                <a:latin typeface="Verdana"/>
                <a:ea typeface="ＭＳ Ｐゴシック" pitchFamily="34" charset="-128"/>
              </a:rPr>
              <a:t>Vaccins à vecteur viral</a:t>
            </a:r>
            <a:r>
              <a:rPr lang="fr" sz="1600" b="1">
                <a:latin typeface="Verdana"/>
                <a:ea typeface="ＭＳ Ｐゴシック" pitchFamily="34" charset="-128"/>
              </a:rPr>
              <a:t> non réplicatif</a:t>
            </a:r>
            <a:br>
              <a:rPr lang="en-US" sz="1467">
                <a:latin typeface="Verdana"/>
                <a:ea typeface="ＭＳ Ｐゴシック" pitchFamily="34" charset="-128"/>
              </a:rPr>
            </a:br>
            <a:endParaRPr lang="en-US" sz="1467">
              <a:latin typeface="Verdana"/>
              <a:ea typeface="ＭＳ Ｐゴシック" pitchFamily="34" charset="-128"/>
            </a:endParaRPr>
          </a:p>
        </p:txBody>
      </p:sp>
      <p:sp>
        <p:nvSpPr>
          <p:cNvPr id="69" name="Pentagon 79">
            <a:extLst>
              <a:ext uri="{FF2B5EF4-FFF2-40B4-BE49-F238E27FC236}">
                <a16:creationId xmlns:a16="http://schemas.microsoft.com/office/drawing/2014/main" id="{904D64F2-D98E-4099-8927-E87250659F30}"/>
              </a:ext>
            </a:extLst>
          </p:cNvPr>
          <p:cNvSpPr/>
          <p:nvPr/>
        </p:nvSpPr>
        <p:spPr>
          <a:xfrm rot="5400000">
            <a:off x="1604568" y="4565883"/>
            <a:ext cx="501029" cy="313885"/>
          </a:xfrm>
          <a:prstGeom prst="homePlate">
            <a:avLst/>
          </a:prstGeom>
          <a:solidFill>
            <a:schemeClr val="accent1">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7" rtl="0">
              <a:defRPr/>
            </a:pPr>
            <a:endParaRPr lang="en-GB" sz="1600">
              <a:solidFill>
                <a:srgbClr val="FFFFFF"/>
              </a:solidFill>
              <a:latin typeface="Verdana"/>
            </a:endParaRPr>
          </a:p>
        </p:txBody>
      </p:sp>
      <p:sp>
        <p:nvSpPr>
          <p:cNvPr id="70" name="Pentagon 80">
            <a:extLst>
              <a:ext uri="{FF2B5EF4-FFF2-40B4-BE49-F238E27FC236}">
                <a16:creationId xmlns:a16="http://schemas.microsoft.com/office/drawing/2014/main" id="{6013A62B-7F48-4E1D-88A7-A75811238629}"/>
              </a:ext>
            </a:extLst>
          </p:cNvPr>
          <p:cNvSpPr/>
          <p:nvPr/>
        </p:nvSpPr>
        <p:spPr>
          <a:xfrm rot="5400000">
            <a:off x="3787827" y="4575450"/>
            <a:ext cx="501029" cy="313885"/>
          </a:xfrm>
          <a:prstGeom prst="homePlate">
            <a:avLst/>
          </a:prstGeom>
          <a:solidFill>
            <a:schemeClr val="accent1">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7" rtl="0">
              <a:defRPr/>
            </a:pPr>
            <a:endParaRPr lang="en-GB" sz="1600">
              <a:solidFill>
                <a:srgbClr val="FFFFFF"/>
              </a:solidFill>
              <a:latin typeface="Verdana"/>
            </a:endParaRPr>
          </a:p>
        </p:txBody>
      </p:sp>
      <p:sp>
        <p:nvSpPr>
          <p:cNvPr id="71" name="Rectangle 70">
            <a:extLst>
              <a:ext uri="{FF2B5EF4-FFF2-40B4-BE49-F238E27FC236}">
                <a16:creationId xmlns:a16="http://schemas.microsoft.com/office/drawing/2014/main" id="{60AB9718-89FA-4BA3-B22B-74AC2805F937}"/>
              </a:ext>
            </a:extLst>
          </p:cNvPr>
          <p:cNvSpPr>
            <a:spLocks noChangeArrowheads="1"/>
          </p:cNvSpPr>
          <p:nvPr/>
        </p:nvSpPr>
        <p:spPr bwMode="auto">
          <a:xfrm>
            <a:off x="921543" y="2679327"/>
            <a:ext cx="2139448" cy="318100"/>
          </a:xfrm>
          <a:prstGeom prst="rect">
            <a:avLst/>
          </a:prstGeom>
          <a:noFill/>
          <a:ln w="38100">
            <a:noFill/>
            <a:miter lim="800000"/>
            <a:headEnd/>
            <a:tailEnd/>
          </a:ln>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txBody>
          <a:bodyPr lIns="67500"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0" lvl="1" algn="ctr" defTabSz="684550" rtl="0">
              <a:defRPr/>
            </a:pPr>
            <a:r>
              <a:rPr lang="fr" sz="1467" b="1" kern="0">
                <a:solidFill>
                  <a:srgbClr val="333333">
                    <a:lumMod val="85000"/>
                    <a:lumOff val="15000"/>
                  </a:srgbClr>
                </a:solidFill>
                <a:ea typeface="Verdana" panose="020B0604030504040204" pitchFamily="34" charset="0"/>
                <a:cs typeface="Arial" panose="020B0604020202020204" pitchFamily="34" charset="0"/>
              </a:rPr>
              <a:t>Dose 1</a:t>
            </a:r>
          </a:p>
        </p:txBody>
      </p:sp>
      <p:sp>
        <p:nvSpPr>
          <p:cNvPr id="72" name="Rectangle 71">
            <a:extLst>
              <a:ext uri="{FF2B5EF4-FFF2-40B4-BE49-F238E27FC236}">
                <a16:creationId xmlns:a16="http://schemas.microsoft.com/office/drawing/2014/main" id="{6F25E45F-8CA0-4406-827C-3A9C0CC725EB}"/>
              </a:ext>
            </a:extLst>
          </p:cNvPr>
          <p:cNvSpPr>
            <a:spLocks noChangeArrowheads="1"/>
          </p:cNvSpPr>
          <p:nvPr/>
        </p:nvSpPr>
        <p:spPr bwMode="auto">
          <a:xfrm>
            <a:off x="3458091" y="2676643"/>
            <a:ext cx="2139448" cy="318100"/>
          </a:xfrm>
          <a:prstGeom prst="rect">
            <a:avLst/>
          </a:prstGeom>
          <a:noFill/>
          <a:ln w="38100">
            <a:noFill/>
            <a:miter lim="800000"/>
            <a:headEnd/>
            <a:tailEnd/>
          </a:ln>
          <a:effectLst>
            <a:glow rad="63500">
              <a:schemeClr val="accent6">
                <a:satMod val="175000"/>
                <a:alpha val="40000"/>
              </a:schemeClr>
            </a:glow>
          </a:effectLst>
          <a:extLst>
            <a:ext uri="{909E8E84-426E-40DD-AFC4-6F175D3DCCD1}">
              <a14:hiddenFill xmlns:a14="http://schemas.microsoft.com/office/drawing/2010/main">
                <a:solidFill>
                  <a:srgbClr val="FFFFFF"/>
                </a:solidFill>
              </a14:hiddenFill>
            </a:ext>
          </a:extLst>
        </p:spPr>
        <p:txBody>
          <a:bodyPr lIns="67500" rtlCol="0">
            <a:spAutoFit/>
          </a:bodyPr>
          <a:lstStyle>
            <a:defPPr>
              <a:defRPr lang="en-US"/>
            </a:defPPr>
            <a:lvl1pPr algn="l" defTabSz="912813" rtl="0" fontAlgn="base">
              <a:spcBef>
                <a:spcPct val="0"/>
              </a:spcBef>
              <a:spcAft>
                <a:spcPct val="0"/>
              </a:spcAft>
              <a:defRPr kern="1200">
                <a:solidFill>
                  <a:schemeClr val="tx1"/>
                </a:solidFill>
                <a:latin typeface="Calibri" pitchFamily="34" charset="0"/>
                <a:ea typeface="+mn-ea"/>
                <a:cs typeface="Arial" charset="0"/>
              </a:defRPr>
            </a:lvl1pPr>
            <a:lvl2pPr marL="455613" indent="1588" algn="l" defTabSz="912813" rtl="0" fontAlgn="base">
              <a:spcBef>
                <a:spcPct val="0"/>
              </a:spcBef>
              <a:spcAft>
                <a:spcPct val="0"/>
              </a:spcAft>
              <a:defRPr kern="1200">
                <a:solidFill>
                  <a:schemeClr val="tx1"/>
                </a:solidFill>
                <a:latin typeface="Calibri" pitchFamily="34" charset="0"/>
                <a:ea typeface="+mn-ea"/>
                <a:cs typeface="Arial" charset="0"/>
              </a:defRPr>
            </a:lvl2pPr>
            <a:lvl3pPr marL="912813" indent="1588" algn="l" defTabSz="912813" rtl="0" fontAlgn="base">
              <a:spcBef>
                <a:spcPct val="0"/>
              </a:spcBef>
              <a:spcAft>
                <a:spcPct val="0"/>
              </a:spcAft>
              <a:defRPr kern="1200">
                <a:solidFill>
                  <a:schemeClr val="tx1"/>
                </a:solidFill>
                <a:latin typeface="Calibri" pitchFamily="34" charset="0"/>
                <a:ea typeface="+mn-ea"/>
                <a:cs typeface="Arial" charset="0"/>
              </a:defRPr>
            </a:lvl3pPr>
            <a:lvl4pPr marL="1370013" indent="1588" algn="l" defTabSz="912813" rtl="0" fontAlgn="base">
              <a:spcBef>
                <a:spcPct val="0"/>
              </a:spcBef>
              <a:spcAft>
                <a:spcPct val="0"/>
              </a:spcAft>
              <a:defRPr kern="1200">
                <a:solidFill>
                  <a:schemeClr val="tx1"/>
                </a:solidFill>
                <a:latin typeface="Calibri" pitchFamily="34" charset="0"/>
                <a:ea typeface="+mn-ea"/>
                <a:cs typeface="Arial" charset="0"/>
              </a:defRPr>
            </a:lvl4pPr>
            <a:lvl5pPr marL="1827213" indent="1588" algn="l" defTabSz="912813"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0" lvl="1" algn="ctr" defTabSz="684550" rtl="0">
              <a:defRPr/>
            </a:pPr>
            <a:r>
              <a:rPr lang="fr" sz="1467" b="1" kern="0">
                <a:solidFill>
                  <a:srgbClr val="333333">
                    <a:lumMod val="85000"/>
                    <a:lumOff val="15000"/>
                  </a:srgbClr>
                </a:solidFill>
                <a:ea typeface="Verdana" panose="020B0604030504040204" pitchFamily="34" charset="0"/>
                <a:cs typeface="Arial" panose="020B0604020202020204" pitchFamily="34" charset="0"/>
              </a:rPr>
              <a:t>Dose 2</a:t>
            </a:r>
          </a:p>
        </p:txBody>
      </p:sp>
      <p:sp>
        <p:nvSpPr>
          <p:cNvPr id="74" name="TextBox 73">
            <a:extLst>
              <a:ext uri="{FF2B5EF4-FFF2-40B4-BE49-F238E27FC236}">
                <a16:creationId xmlns:a16="http://schemas.microsoft.com/office/drawing/2014/main" id="{1C0ED4E1-DAEE-43F6-BC93-10BE361751B2}"/>
              </a:ext>
            </a:extLst>
          </p:cNvPr>
          <p:cNvSpPr txBox="1"/>
          <p:nvPr/>
        </p:nvSpPr>
        <p:spPr>
          <a:xfrm>
            <a:off x="653058" y="3079403"/>
            <a:ext cx="2385753" cy="817759"/>
          </a:xfrm>
          <a:prstGeom prst="rect">
            <a:avLst/>
          </a:prstGeom>
          <a:solidFill>
            <a:schemeClr val="accent3">
              <a:lumMod val="20000"/>
              <a:lumOff val="80000"/>
            </a:schemeClr>
          </a:solidFill>
          <a:ln w="38100">
            <a:solidFill>
              <a:srgbClr val="FF0000"/>
            </a:solidFill>
          </a:ln>
          <a:effectLst>
            <a:glow rad="63500">
              <a:schemeClr val="accent6">
                <a:satMod val="175000"/>
                <a:alpha val="40000"/>
              </a:schemeClr>
            </a:glow>
          </a:effectLst>
        </p:spPr>
        <p:txBody>
          <a:bodyPr wrap="square" rtlCol="0">
            <a:noAutofit/>
          </a:bodyPr>
          <a:lstStyle/>
          <a:p>
            <a:pPr defTabSz="914317" rtl="0">
              <a:defRPr/>
            </a:pPr>
            <a:endParaRPr lang="en-US" sz="2133">
              <a:solidFill>
                <a:prstClr val="black"/>
              </a:solidFill>
              <a:latin typeface="Calibri" panose="020F0502020204030204"/>
            </a:endParaRPr>
          </a:p>
        </p:txBody>
      </p:sp>
      <p:sp>
        <p:nvSpPr>
          <p:cNvPr id="75" name="TextBox 74">
            <a:extLst>
              <a:ext uri="{FF2B5EF4-FFF2-40B4-BE49-F238E27FC236}">
                <a16:creationId xmlns:a16="http://schemas.microsoft.com/office/drawing/2014/main" id="{CC43807F-09E0-4FBC-A087-C04FE8E1724C}"/>
              </a:ext>
            </a:extLst>
          </p:cNvPr>
          <p:cNvSpPr txBox="1"/>
          <p:nvPr/>
        </p:nvSpPr>
        <p:spPr>
          <a:xfrm>
            <a:off x="1333473" y="3171213"/>
            <a:ext cx="1447832" cy="502766"/>
          </a:xfrm>
          <a:prstGeom prst="rect">
            <a:avLst/>
          </a:prstGeom>
          <a:noFill/>
        </p:spPr>
        <p:txBody>
          <a:bodyPr wrap="none" rtlCol="0" anchor="t">
            <a:spAutoFit/>
          </a:bodyPr>
          <a:lstStyle/>
          <a:p>
            <a:pPr algn="ctr" defTabSz="914317" rtl="0">
              <a:defRPr/>
            </a:pPr>
            <a:r>
              <a:rPr lang="fr" sz="1600" b="1">
                <a:latin typeface="Arial" panose="020B0604020202020204" pitchFamily="34" charset="0"/>
                <a:cs typeface="Arial" panose="020B0604020202020204" pitchFamily="34" charset="0"/>
              </a:rPr>
              <a:t>Ad26.ZEBOV</a:t>
            </a:r>
          </a:p>
          <a:p>
            <a:pPr algn="ctr" defTabSz="914317" rtl="0">
              <a:defRPr/>
            </a:pPr>
            <a:r>
              <a:rPr lang="fr" sz="1067">
                <a:latin typeface="Arial" panose="020B0604020202020204" pitchFamily="34" charset="0"/>
                <a:cs typeface="Arial" panose="020B0604020202020204" pitchFamily="34" charset="0"/>
              </a:rPr>
              <a:t>codant la GP de l’EBOV </a:t>
            </a:r>
          </a:p>
        </p:txBody>
      </p:sp>
      <p:sp>
        <p:nvSpPr>
          <p:cNvPr id="76" name="TextBox 75">
            <a:extLst>
              <a:ext uri="{FF2B5EF4-FFF2-40B4-BE49-F238E27FC236}">
                <a16:creationId xmlns:a16="http://schemas.microsoft.com/office/drawing/2014/main" id="{98D1D7D3-7BD5-4BD0-9E0D-F2DC91E87FEE}"/>
              </a:ext>
            </a:extLst>
          </p:cNvPr>
          <p:cNvSpPr txBox="1"/>
          <p:nvPr/>
        </p:nvSpPr>
        <p:spPr>
          <a:xfrm>
            <a:off x="3241211" y="3079401"/>
            <a:ext cx="2534396" cy="817328"/>
          </a:xfrm>
          <a:prstGeom prst="rect">
            <a:avLst/>
          </a:prstGeom>
          <a:solidFill>
            <a:schemeClr val="accent3">
              <a:lumMod val="20000"/>
              <a:lumOff val="80000"/>
            </a:schemeClr>
          </a:solidFill>
          <a:ln w="28575">
            <a:solidFill>
              <a:srgbClr val="FFFF00"/>
            </a:solidFill>
          </a:ln>
          <a:effectLst>
            <a:glow rad="63500">
              <a:schemeClr val="accent6">
                <a:satMod val="175000"/>
                <a:alpha val="40000"/>
              </a:schemeClr>
            </a:glow>
          </a:effectLst>
        </p:spPr>
        <p:txBody>
          <a:bodyPr wrap="square" rtlCol="0">
            <a:noAutofit/>
          </a:bodyPr>
          <a:lstStyle/>
          <a:p>
            <a:pPr defTabSz="914317" rtl="0">
              <a:defRPr/>
            </a:pPr>
            <a:endParaRPr lang="en-US" sz="2133">
              <a:solidFill>
                <a:prstClr val="black"/>
              </a:solidFill>
              <a:latin typeface="Calibri" panose="020F0502020204030204"/>
            </a:endParaRPr>
          </a:p>
        </p:txBody>
      </p:sp>
      <p:sp>
        <p:nvSpPr>
          <p:cNvPr id="77" name="TextBox 76">
            <a:extLst>
              <a:ext uri="{FF2B5EF4-FFF2-40B4-BE49-F238E27FC236}">
                <a16:creationId xmlns:a16="http://schemas.microsoft.com/office/drawing/2014/main" id="{264E8582-55EF-4D4C-8615-164C22FBB129}"/>
              </a:ext>
            </a:extLst>
          </p:cNvPr>
          <p:cNvSpPr txBox="1"/>
          <p:nvPr/>
        </p:nvSpPr>
        <p:spPr>
          <a:xfrm>
            <a:off x="3780511" y="3144182"/>
            <a:ext cx="2033488" cy="676751"/>
          </a:xfrm>
          <a:prstGeom prst="rect">
            <a:avLst/>
          </a:prstGeom>
          <a:noFill/>
        </p:spPr>
        <p:txBody>
          <a:bodyPr wrap="square" rtlCol="0">
            <a:noAutofit/>
          </a:bodyPr>
          <a:lstStyle/>
          <a:p>
            <a:pPr algn="ctr" defTabSz="914317" rtl="0">
              <a:defRPr/>
            </a:pPr>
            <a:r>
              <a:rPr lang="fr" sz="1600" b="1">
                <a:latin typeface="Arial" panose="020B0604020202020204" pitchFamily="34" charset="0"/>
                <a:cs typeface="Arial" panose="020B0604020202020204" pitchFamily="34" charset="0"/>
              </a:rPr>
              <a:t>MVA-BN-Filo</a:t>
            </a:r>
          </a:p>
          <a:p>
            <a:pPr algn="ctr" defTabSz="914317" rtl="0">
              <a:defRPr/>
            </a:pPr>
            <a:r>
              <a:rPr lang="fr" sz="1067">
                <a:latin typeface="Arial" panose="020B0604020202020204" pitchFamily="34" charset="0"/>
                <a:cs typeface="Arial" panose="020B0604020202020204" pitchFamily="34" charset="0"/>
              </a:rPr>
              <a:t>codant la GP de l’ EBOV, de SUDV, du MARV, la NP de TAFV</a:t>
            </a:r>
            <a:endParaRPr lang="en-US" sz="1067" b="1">
              <a:latin typeface="Arial" panose="020B0604020202020204" pitchFamily="34" charset="0"/>
              <a:cs typeface="Arial" panose="020B0604020202020204" pitchFamily="34" charset="0"/>
            </a:endParaRPr>
          </a:p>
        </p:txBody>
      </p:sp>
      <p:pic>
        <p:nvPicPr>
          <p:cNvPr id="78" name="Picture 79">
            <a:extLst>
              <a:ext uri="{FF2B5EF4-FFF2-40B4-BE49-F238E27FC236}">
                <a16:creationId xmlns:a16="http://schemas.microsoft.com/office/drawing/2014/main" id="{0CB3F805-B537-4B20-8266-99B02FCB6303}"/>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4828" b="94483" l="0" r="94419">
                        <a14:foregroundMark x1="1395" y1="37241" x2="1395" y2="37241"/>
                        <a14:foregroundMark x1="1395" y1="28276" x2="1395" y2="28276"/>
                        <a14:foregroundMark x1="1395" y1="34483" x2="1395" y2="34483"/>
                        <a14:foregroundMark x1="4186" y1="34483" x2="4186" y2="34483"/>
                        <a14:foregroundMark x1="6047" y1="31034" x2="6047" y2="31034"/>
                        <a14:foregroundMark x1="85116" y1="52414" x2="85116" y2="52414"/>
                        <a14:foregroundMark x1="87907" y1="52414" x2="87907" y2="52414"/>
                        <a14:foregroundMark x1="89302" y1="49655" x2="89302" y2="49655"/>
                        <a14:foregroundMark x1="90698" y1="49655" x2="90698" y2="49655"/>
                        <a14:foregroundMark x1="90698" y1="40690" x2="90698" y2="40690"/>
                        <a14:foregroundMark x1="8837" y1="89655" x2="8837" y2="89655"/>
                        <a14:foregroundMark x1="6047" y1="86207" x2="6047" y2="86207"/>
                        <a14:foregroundMark x1="6047" y1="80000" x2="6047" y2="80000"/>
                        <a14:foregroundMark x1="7442" y1="86207" x2="7442" y2="86207"/>
                        <a14:foregroundMark x1="8837" y1="89655" x2="8837" y2="89655"/>
                        <a14:foregroundMark x1="36744" y1="95862" x2="36744" y2="95862"/>
                        <a14:foregroundMark x1="58140" y1="18621" x2="58140" y2="18621"/>
                        <a14:foregroundMark x1="3256" y1="26207" x2="3256" y2="26207"/>
                        <a14:foregroundMark x1="4186" y1="22069" x2="4186" y2="22069"/>
                        <a14:foregroundMark x1="4186" y1="23448" x2="4186" y2="23448"/>
                        <a14:foregroundMark x1="5581" y1="19310" x2="5581" y2="19310"/>
                        <a14:foregroundMark x1="5581" y1="19310" x2="5581" y2="19310"/>
                        <a14:foregroundMark x1="6977" y1="17931" x2="6977" y2="17931"/>
                        <a14:foregroundMark x1="6512" y1="17931" x2="6512" y2="17931"/>
                        <a14:foregroundMark x1="9302" y1="13793" x2="9302" y2="13793"/>
                        <a14:foregroundMark x1="9302" y1="13793" x2="9302" y2="13793"/>
                        <a14:foregroundMark x1="12558" y1="11034" x2="12558" y2="11034"/>
                        <a14:foregroundMark x1="12558" y1="11034" x2="12558" y2="11034"/>
                        <a14:foregroundMark x1="19070" y1="8276" x2="19070" y2="8276"/>
                        <a14:foregroundMark x1="19070" y1="5517" x2="19070" y2="5517"/>
                        <a14:foregroundMark x1="89302" y1="24828" x2="89302" y2="24828"/>
                        <a14:foregroundMark x1="93488" y1="40000" x2="93488" y2="40000"/>
                        <a14:foregroundMark x1="46977" y1="94483" x2="46977" y2="94483"/>
                        <a14:foregroundMark x1="47907" y1="94483" x2="47907" y2="94483"/>
                        <a14:foregroundMark x1="50233" y1="91724" x2="50233" y2="91724"/>
                        <a14:foregroundMark x1="53488" y1="94483" x2="53488" y2="94483"/>
                        <a14:foregroundMark x1="80465" y1="91724" x2="80465" y2="91724"/>
                        <a14:foregroundMark x1="83721" y1="91724" x2="83721" y2="91724"/>
                        <a14:foregroundMark x1="86512" y1="87586" x2="86512" y2="87586"/>
                        <a14:foregroundMark x1="87907" y1="84828" x2="87907" y2="84828"/>
                        <a14:foregroundMark x1="94419" y1="61379" x2="94419" y2="61379"/>
                        <a14:backgroundMark x1="1395" y1="15862" x2="1395" y2="15862"/>
                        <a14:backgroundMark x1="5116" y1="91724" x2="5116" y2="91724"/>
                        <a14:backgroundMark x1="3721" y1="90345" x2="3721" y2="90345"/>
                        <a14:backgroundMark x1="3721" y1="91724" x2="3721" y2="91724"/>
                        <a14:backgroundMark x1="5116" y1="91724" x2="5116" y2="91724"/>
                        <a14:backgroundMark x1="5116" y1="91724" x2="5116" y2="91724"/>
                        <a14:backgroundMark x1="5116" y1="90345" x2="5116" y2="90345"/>
                        <a14:backgroundMark x1="5116" y1="90345" x2="5116" y2="90345"/>
                        <a14:backgroundMark x1="5116" y1="91724" x2="5116" y2="91724"/>
                        <a14:backgroundMark x1="5581" y1="88966" x2="5581" y2="88966"/>
                        <a14:backgroundMark x1="3256" y1="90345" x2="3256" y2="90345"/>
                        <a14:backgroundMark x1="5581" y1="93103" x2="5581" y2="93103"/>
                        <a14:backgroundMark x1="6512" y1="90345" x2="6512" y2="90345"/>
                        <a14:backgroundMark x1="5116" y1="91724" x2="5116" y2="91724"/>
                        <a14:backgroundMark x1="5116" y1="91724" x2="5116" y2="91724"/>
                        <a14:backgroundMark x1="5116" y1="91724" x2="5116" y2="91724"/>
                        <a14:backgroundMark x1="4186" y1="90345" x2="4186" y2="90345"/>
                        <a14:backgroundMark x1="4186" y1="93103" x2="4186" y2="93103"/>
                        <a14:backgroundMark x1="2326" y1="90345" x2="2326" y2="90345"/>
                      </a14:backgroundRemoval>
                    </a14:imgEffect>
                  </a14:imgLayer>
                </a14:imgProps>
              </a:ext>
              <a:ext uri="{28A0092B-C50C-407E-A947-70E740481C1C}">
                <a14:useLocalDpi xmlns:a14="http://schemas.microsoft.com/office/drawing/2010/main" val="0"/>
              </a:ext>
            </a:extLst>
          </a:blip>
          <a:srcRect/>
          <a:stretch>
            <a:fillRect/>
          </a:stretch>
        </p:blipFill>
        <p:spPr bwMode="auto">
          <a:xfrm>
            <a:off x="3304021" y="3274899"/>
            <a:ext cx="598851" cy="287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9" name="Group 78">
            <a:extLst>
              <a:ext uri="{FF2B5EF4-FFF2-40B4-BE49-F238E27FC236}">
                <a16:creationId xmlns:a16="http://schemas.microsoft.com/office/drawing/2014/main" id="{0DCFC793-1361-4D7D-A325-3AE2E2D515ED}"/>
              </a:ext>
            </a:extLst>
          </p:cNvPr>
          <p:cNvGrpSpPr/>
          <p:nvPr/>
        </p:nvGrpSpPr>
        <p:grpSpPr>
          <a:xfrm>
            <a:off x="3469687" y="3332610"/>
            <a:ext cx="277840" cy="160295"/>
            <a:chOff x="6297658" y="139515"/>
            <a:chExt cx="167436" cy="189698"/>
          </a:xfrm>
        </p:grpSpPr>
        <p:sp>
          <p:nvSpPr>
            <p:cNvPr id="80" name="Rectangle 79">
              <a:extLst>
                <a:ext uri="{FF2B5EF4-FFF2-40B4-BE49-F238E27FC236}">
                  <a16:creationId xmlns:a16="http://schemas.microsoft.com/office/drawing/2014/main" id="{82260A2E-0C18-4316-8E9B-9DEF74997FCF}"/>
                </a:ext>
              </a:extLst>
            </p:cNvPr>
            <p:cNvSpPr/>
            <p:nvPr/>
          </p:nvSpPr>
          <p:spPr>
            <a:xfrm>
              <a:off x="6297658" y="139515"/>
              <a:ext cx="167436" cy="55334"/>
            </a:xfrm>
            <a:prstGeom prst="rect">
              <a:avLst/>
            </a:prstGeom>
            <a:solidFill>
              <a:srgbClr val="FF0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7" rtl="0">
                <a:defRPr/>
              </a:pPr>
              <a:endParaRPr lang="en-US" sz="2133">
                <a:solidFill>
                  <a:prstClr val="white"/>
                </a:solidFill>
                <a:latin typeface="Calibri" panose="020F0502020204030204"/>
              </a:endParaRPr>
            </a:p>
          </p:txBody>
        </p:sp>
        <p:sp>
          <p:nvSpPr>
            <p:cNvPr id="81" name="Rectangle 80">
              <a:extLst>
                <a:ext uri="{FF2B5EF4-FFF2-40B4-BE49-F238E27FC236}">
                  <a16:creationId xmlns:a16="http://schemas.microsoft.com/office/drawing/2014/main" id="{869E6DC2-D97C-490F-BE8D-820C780AFC37}"/>
                </a:ext>
              </a:extLst>
            </p:cNvPr>
            <p:cNvSpPr/>
            <p:nvPr/>
          </p:nvSpPr>
          <p:spPr>
            <a:xfrm>
              <a:off x="6297658" y="206090"/>
              <a:ext cx="167436" cy="55334"/>
            </a:xfrm>
            <a:prstGeom prst="rect">
              <a:avLst/>
            </a:prstGeom>
            <a:solidFill>
              <a:srgbClr val="FFFF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7" rtl="0">
                <a:defRPr/>
              </a:pPr>
              <a:endParaRPr lang="en-US" sz="2133">
                <a:solidFill>
                  <a:prstClr val="white"/>
                </a:solidFill>
                <a:latin typeface="Calibri" panose="020F0502020204030204"/>
              </a:endParaRPr>
            </a:p>
          </p:txBody>
        </p:sp>
        <p:sp>
          <p:nvSpPr>
            <p:cNvPr id="82" name="Rectangle 81">
              <a:extLst>
                <a:ext uri="{FF2B5EF4-FFF2-40B4-BE49-F238E27FC236}">
                  <a16:creationId xmlns:a16="http://schemas.microsoft.com/office/drawing/2014/main" id="{ED2B0AEB-0750-4B27-955A-CD78CC2E8C85}"/>
                </a:ext>
              </a:extLst>
            </p:cNvPr>
            <p:cNvSpPr/>
            <p:nvPr/>
          </p:nvSpPr>
          <p:spPr>
            <a:xfrm>
              <a:off x="6297658" y="273879"/>
              <a:ext cx="167436" cy="55334"/>
            </a:xfrm>
            <a:prstGeom prst="rect">
              <a:avLst/>
            </a:prstGeom>
            <a:solidFill>
              <a:srgbClr val="00B05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7" rtl="0">
                <a:defRPr/>
              </a:pPr>
              <a:endParaRPr lang="en-US" sz="2133">
                <a:solidFill>
                  <a:prstClr val="white"/>
                </a:solidFill>
                <a:latin typeface="Calibri" panose="020F0502020204030204"/>
              </a:endParaRPr>
            </a:p>
          </p:txBody>
        </p:sp>
      </p:grpSp>
      <p:grpSp>
        <p:nvGrpSpPr>
          <p:cNvPr id="83" name="Group 4">
            <a:extLst>
              <a:ext uri="{FF2B5EF4-FFF2-40B4-BE49-F238E27FC236}">
                <a16:creationId xmlns:a16="http://schemas.microsoft.com/office/drawing/2014/main" id="{DA92A316-D956-41FE-9F93-BBF9CB014599}"/>
              </a:ext>
            </a:extLst>
          </p:cNvPr>
          <p:cNvGrpSpPr>
            <a:grpSpLocks noChangeAspect="1"/>
          </p:cNvGrpSpPr>
          <p:nvPr/>
        </p:nvGrpSpPr>
        <p:grpSpPr bwMode="auto">
          <a:xfrm>
            <a:off x="690147" y="3153100"/>
            <a:ext cx="508984" cy="530187"/>
            <a:chOff x="855439" y="3473825"/>
            <a:chExt cx="697047" cy="696762"/>
          </a:xfrm>
        </p:grpSpPr>
        <p:grpSp>
          <p:nvGrpSpPr>
            <p:cNvPr id="84" name="Group 5">
              <a:extLst>
                <a:ext uri="{FF2B5EF4-FFF2-40B4-BE49-F238E27FC236}">
                  <a16:creationId xmlns:a16="http://schemas.microsoft.com/office/drawing/2014/main" id="{32A960B4-F0E6-4B96-879D-DEB143EB8F37}"/>
                </a:ext>
              </a:extLst>
            </p:cNvPr>
            <p:cNvGrpSpPr>
              <a:grpSpLocks/>
            </p:cNvGrpSpPr>
            <p:nvPr/>
          </p:nvGrpSpPr>
          <p:grpSpPr bwMode="auto">
            <a:xfrm rot="-3600000">
              <a:off x="1175949" y="3473825"/>
              <a:ext cx="55741" cy="696762"/>
              <a:chOff x="1388408" y="3501008"/>
              <a:chExt cx="144016" cy="1800200"/>
            </a:xfrm>
          </p:grpSpPr>
          <p:cxnSp>
            <p:nvCxnSpPr>
              <p:cNvPr id="94" name="Straight Connector 93">
                <a:extLst>
                  <a:ext uri="{FF2B5EF4-FFF2-40B4-BE49-F238E27FC236}">
                    <a16:creationId xmlns:a16="http://schemas.microsoft.com/office/drawing/2014/main" id="{D3385D4C-619C-494D-A326-EA4FD72951C6}"/>
                  </a:ext>
                </a:extLst>
              </p:cNvPr>
              <p:cNvCxnSpPr/>
              <p:nvPr/>
            </p:nvCxnSpPr>
            <p:spPr>
              <a:xfrm>
                <a:off x="1463062" y="3558979"/>
                <a:ext cx="0" cy="1666538"/>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 name="Oval 94">
                <a:extLst>
                  <a:ext uri="{FF2B5EF4-FFF2-40B4-BE49-F238E27FC236}">
                    <a16:creationId xmlns:a16="http://schemas.microsoft.com/office/drawing/2014/main" id="{900BAB34-B892-4447-93C6-BFE3FDAD6220}"/>
                  </a:ext>
                </a:extLst>
              </p:cNvPr>
              <p:cNvSpPr/>
              <p:nvPr/>
            </p:nvSpPr>
            <p:spPr>
              <a:xfrm>
                <a:off x="1386332" y="3496940"/>
                <a:ext cx="147778" cy="141120"/>
              </a:xfrm>
              <a:prstGeom prst="ellipse">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sp>
            <p:nvSpPr>
              <p:cNvPr id="96" name="Oval 95">
                <a:extLst>
                  <a:ext uri="{FF2B5EF4-FFF2-40B4-BE49-F238E27FC236}">
                    <a16:creationId xmlns:a16="http://schemas.microsoft.com/office/drawing/2014/main" id="{B4AF3C48-F561-43B4-A7C0-5115346D3E44}"/>
                  </a:ext>
                </a:extLst>
              </p:cNvPr>
              <p:cNvSpPr/>
              <p:nvPr/>
            </p:nvSpPr>
            <p:spPr>
              <a:xfrm>
                <a:off x="1383731" y="5158972"/>
                <a:ext cx="147778" cy="141120"/>
              </a:xfrm>
              <a:prstGeom prst="ellipse">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grpSp>
        <p:cxnSp>
          <p:nvCxnSpPr>
            <p:cNvPr id="85" name="Straight Connector 84">
              <a:extLst>
                <a:ext uri="{FF2B5EF4-FFF2-40B4-BE49-F238E27FC236}">
                  <a16:creationId xmlns:a16="http://schemas.microsoft.com/office/drawing/2014/main" id="{1E7E7C7B-8427-451D-B5EA-9DBEF9EE2E81}"/>
                </a:ext>
              </a:extLst>
            </p:cNvPr>
            <p:cNvCxnSpPr/>
            <p:nvPr/>
          </p:nvCxnSpPr>
          <p:spPr>
            <a:xfrm>
              <a:off x="1206564" y="3497223"/>
              <a:ext cx="0" cy="64476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6" name="Oval 85">
              <a:extLst>
                <a:ext uri="{FF2B5EF4-FFF2-40B4-BE49-F238E27FC236}">
                  <a16:creationId xmlns:a16="http://schemas.microsoft.com/office/drawing/2014/main" id="{3F92C1BE-4AF4-4A88-8C06-3E4D24A96A4E}"/>
                </a:ext>
              </a:extLst>
            </p:cNvPr>
            <p:cNvSpPr/>
            <p:nvPr/>
          </p:nvSpPr>
          <p:spPr>
            <a:xfrm>
              <a:off x="1177953" y="3473825"/>
              <a:ext cx="57220" cy="54596"/>
            </a:xfrm>
            <a:prstGeom prst="ellipse">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sp>
          <p:nvSpPr>
            <p:cNvPr id="87" name="Oval 86">
              <a:extLst>
                <a:ext uri="{FF2B5EF4-FFF2-40B4-BE49-F238E27FC236}">
                  <a16:creationId xmlns:a16="http://schemas.microsoft.com/office/drawing/2014/main" id="{D5BA05D1-1247-4CEE-8CDF-DCD4BC900270}"/>
                </a:ext>
              </a:extLst>
            </p:cNvPr>
            <p:cNvSpPr/>
            <p:nvPr/>
          </p:nvSpPr>
          <p:spPr>
            <a:xfrm>
              <a:off x="1177953" y="4115989"/>
              <a:ext cx="57220" cy="54598"/>
            </a:xfrm>
            <a:prstGeom prst="ellips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grpSp>
          <p:nvGrpSpPr>
            <p:cNvPr id="88" name="Group 9">
              <a:extLst>
                <a:ext uri="{FF2B5EF4-FFF2-40B4-BE49-F238E27FC236}">
                  <a16:creationId xmlns:a16="http://schemas.microsoft.com/office/drawing/2014/main" id="{1AEFC855-2CE6-4729-B8A6-74B00520E9DD}"/>
                </a:ext>
              </a:extLst>
            </p:cNvPr>
            <p:cNvGrpSpPr>
              <a:grpSpLocks/>
            </p:cNvGrpSpPr>
            <p:nvPr/>
          </p:nvGrpSpPr>
          <p:grpSpPr bwMode="auto">
            <a:xfrm rot="-7200000">
              <a:off x="1176234" y="3477426"/>
              <a:ext cx="55741" cy="696762"/>
              <a:chOff x="1388408" y="3501008"/>
              <a:chExt cx="144016" cy="1800200"/>
            </a:xfrm>
          </p:grpSpPr>
          <p:cxnSp>
            <p:nvCxnSpPr>
              <p:cNvPr id="91" name="Straight Connector 90">
                <a:extLst>
                  <a:ext uri="{FF2B5EF4-FFF2-40B4-BE49-F238E27FC236}">
                    <a16:creationId xmlns:a16="http://schemas.microsoft.com/office/drawing/2014/main" id="{5C4492CC-5B9B-4D53-9CB9-289702CD4FAB}"/>
                  </a:ext>
                </a:extLst>
              </p:cNvPr>
              <p:cNvCxnSpPr/>
              <p:nvPr/>
            </p:nvCxnSpPr>
            <p:spPr>
              <a:xfrm>
                <a:off x="1454566" y="3556278"/>
                <a:ext cx="0" cy="1666538"/>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2" name="Oval 91">
                <a:extLst>
                  <a:ext uri="{FF2B5EF4-FFF2-40B4-BE49-F238E27FC236}">
                    <a16:creationId xmlns:a16="http://schemas.microsoft.com/office/drawing/2014/main" id="{1A2897D9-F389-42D8-904B-5626BB4519E2}"/>
                  </a:ext>
                </a:extLst>
              </p:cNvPr>
              <p:cNvSpPr/>
              <p:nvPr/>
            </p:nvSpPr>
            <p:spPr>
              <a:xfrm>
                <a:off x="1395599" y="3499276"/>
                <a:ext cx="141058" cy="141120"/>
              </a:xfrm>
              <a:prstGeom prst="ellipse">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sp>
            <p:nvSpPr>
              <p:cNvPr id="93" name="Oval 92">
                <a:extLst>
                  <a:ext uri="{FF2B5EF4-FFF2-40B4-BE49-F238E27FC236}">
                    <a16:creationId xmlns:a16="http://schemas.microsoft.com/office/drawing/2014/main" id="{AB08634E-CCCE-4C94-9A7C-19910694E45A}"/>
                  </a:ext>
                </a:extLst>
              </p:cNvPr>
              <p:cNvSpPr/>
              <p:nvPr/>
            </p:nvSpPr>
            <p:spPr>
              <a:xfrm>
                <a:off x="1398199" y="5161308"/>
                <a:ext cx="141058" cy="141120"/>
              </a:xfrm>
              <a:prstGeom prst="ellipse">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grpSp>
        <p:sp>
          <p:nvSpPr>
            <p:cNvPr id="89" name="Hexagon 88">
              <a:extLst>
                <a:ext uri="{FF2B5EF4-FFF2-40B4-BE49-F238E27FC236}">
                  <a16:creationId xmlns:a16="http://schemas.microsoft.com/office/drawing/2014/main" id="{EA6750FE-C419-4823-937A-D9BF175090B6}"/>
                </a:ext>
              </a:extLst>
            </p:cNvPr>
            <p:cNvSpPr>
              <a:spLocks noChangeAspect="1"/>
            </p:cNvSpPr>
            <p:nvPr/>
          </p:nvSpPr>
          <p:spPr>
            <a:xfrm rot="19800000">
              <a:off x="975081" y="3624617"/>
              <a:ext cx="465566" cy="400378"/>
            </a:xfrm>
            <a:prstGeom prst="hexagon">
              <a:avLst>
                <a:gd name="adj" fmla="val 29663"/>
                <a:gd name="vf" fmla="val 115470"/>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sp>
          <p:nvSpPr>
            <p:cNvPr id="90" name="Hexagon 89">
              <a:extLst>
                <a:ext uri="{FF2B5EF4-FFF2-40B4-BE49-F238E27FC236}">
                  <a16:creationId xmlns:a16="http://schemas.microsoft.com/office/drawing/2014/main" id="{DB3AFD07-2B69-474B-8DEC-7B1331D2E4E1}"/>
                </a:ext>
              </a:extLst>
            </p:cNvPr>
            <p:cNvSpPr>
              <a:spLocks noChangeAspect="1"/>
            </p:cNvSpPr>
            <p:nvPr/>
          </p:nvSpPr>
          <p:spPr>
            <a:xfrm rot="19800000">
              <a:off x="1014096" y="3658414"/>
              <a:ext cx="387537" cy="332782"/>
            </a:xfrm>
            <a:prstGeom prst="hexagon">
              <a:avLst>
                <a:gd name="adj" fmla="val 29663"/>
                <a:gd name="vf" fmla="val 115470"/>
              </a:avLst>
            </a:prstGeom>
            <a:solidFill>
              <a:schemeClr val="accent2">
                <a:lumMod val="20000"/>
                <a:lumOff val="80000"/>
              </a:schemeClr>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62" rtl="0">
                <a:defRPr/>
              </a:pPr>
              <a:endParaRPr lang="en-US" sz="1867">
                <a:solidFill>
                  <a:srgbClr val="FFFFFF">
                    <a:lumMod val="50000"/>
                  </a:srgbClr>
                </a:solidFill>
                <a:latin typeface="Verdana"/>
              </a:endParaRPr>
            </a:p>
          </p:txBody>
        </p:sp>
      </p:grpSp>
      <p:sp>
        <p:nvSpPr>
          <p:cNvPr id="97" name="Rectangle 96">
            <a:extLst>
              <a:ext uri="{FF2B5EF4-FFF2-40B4-BE49-F238E27FC236}">
                <a16:creationId xmlns:a16="http://schemas.microsoft.com/office/drawing/2014/main" id="{CDDD2C6A-61DE-45D6-B135-B6BBDDA4AE97}"/>
              </a:ext>
            </a:extLst>
          </p:cNvPr>
          <p:cNvSpPr/>
          <p:nvPr/>
        </p:nvSpPr>
        <p:spPr>
          <a:xfrm>
            <a:off x="863583" y="3396911"/>
            <a:ext cx="167436" cy="55335"/>
          </a:xfrm>
          <a:prstGeom prst="rect">
            <a:avLst/>
          </a:prstGeom>
          <a:solidFill>
            <a:srgbClr val="FF0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7" rtl="0">
              <a:defRPr/>
            </a:pPr>
            <a:endParaRPr lang="en-US" sz="2133">
              <a:solidFill>
                <a:prstClr val="white"/>
              </a:solidFill>
              <a:latin typeface="Calibri" panose="020F0502020204030204"/>
            </a:endParaRPr>
          </a:p>
        </p:txBody>
      </p:sp>
      <p:sp>
        <p:nvSpPr>
          <p:cNvPr id="98" name="TextBox 97">
            <a:extLst>
              <a:ext uri="{FF2B5EF4-FFF2-40B4-BE49-F238E27FC236}">
                <a16:creationId xmlns:a16="http://schemas.microsoft.com/office/drawing/2014/main" id="{1C1A943C-927C-47CB-91A4-CDEC0301CA70}"/>
              </a:ext>
            </a:extLst>
          </p:cNvPr>
          <p:cNvSpPr txBox="1"/>
          <p:nvPr/>
        </p:nvSpPr>
        <p:spPr>
          <a:xfrm>
            <a:off x="6040665" y="1508910"/>
            <a:ext cx="5872969" cy="3662541"/>
          </a:xfrm>
          <a:prstGeom prst="rect">
            <a:avLst/>
          </a:prstGeom>
          <a:noFill/>
        </p:spPr>
        <p:txBody>
          <a:bodyPr wrap="square" rtlCol="0">
            <a:spAutoFit/>
          </a:bodyPr>
          <a:lstStyle/>
          <a:p>
            <a:pPr rtl="0"/>
            <a:r>
              <a:rPr lang="fr" sz="2000"/>
              <a:t>Le schéma vaccinal contre Ebola contient des vaccins produits au moyen</a:t>
            </a:r>
            <a:r>
              <a:rPr lang="fr" sz="2000" b="1">
                <a:solidFill>
                  <a:srgbClr val="0070C0"/>
                </a:solidFill>
              </a:rPr>
              <a:t> de plateformes technologiques</a:t>
            </a:r>
            <a:r>
              <a:rPr lang="fr" sz="2000"/>
              <a:t> :</a:t>
            </a:r>
            <a:br>
              <a:rPr lang="en-US" sz="2000"/>
            </a:br>
            <a:endParaRPr lang="en-US" sz="2000"/>
          </a:p>
          <a:p>
            <a:pPr marL="342878" indent="-342878" rtl="0">
              <a:buFont typeface="Wingdings" panose="05000000000000000000" pitchFamily="2" charset="2"/>
              <a:buChar char="§"/>
            </a:pPr>
            <a:r>
              <a:rPr lang="fr" sz="2000"/>
              <a:t>Ad26.ZEBOV (Zabdeno)</a:t>
            </a:r>
          </a:p>
          <a:p>
            <a:pPr lvl="1" rtl="0"/>
            <a:r>
              <a:rPr lang="fr" sz="2000"/>
              <a:t>(Technologie AdVac® de Janssen) </a:t>
            </a:r>
          </a:p>
          <a:p>
            <a:pPr marL="800048" lvl="1" indent="-342878" rtl="0">
              <a:spcBef>
                <a:spcPts val="600"/>
              </a:spcBef>
              <a:buFont typeface="Arial" panose="020B0604020202020204" pitchFamily="34" charset="0"/>
              <a:buChar char="•"/>
            </a:pPr>
            <a:r>
              <a:rPr lang="fr" sz="1600"/>
              <a:t>Codant la GP de l’EBOV (Mayinga)</a:t>
            </a:r>
          </a:p>
          <a:p>
            <a:pPr marL="342878" indent="-342878" rtl="0">
              <a:spcBef>
                <a:spcPts val="1200"/>
              </a:spcBef>
              <a:buFont typeface="Wingdings" panose="05000000000000000000" pitchFamily="2" charset="2"/>
              <a:buChar char="§"/>
            </a:pPr>
            <a:r>
              <a:rPr lang="fr" sz="2000"/>
              <a:t>MVA-BN-Filo (Mvabea)</a:t>
            </a:r>
          </a:p>
          <a:p>
            <a:pPr lvl="1" rtl="0"/>
            <a:r>
              <a:rPr lang="fr" sz="2000"/>
              <a:t>(Technologie MVA-BN® de Bavarian Nordic)</a:t>
            </a:r>
          </a:p>
          <a:p>
            <a:pPr marL="800048" lvl="1" indent="-342878" rtl="0">
              <a:spcBef>
                <a:spcPts val="600"/>
              </a:spcBef>
              <a:buFont typeface="Arial" panose="020B0604020202020204" pitchFamily="34" charset="0"/>
              <a:buChar char="•"/>
            </a:pPr>
            <a:r>
              <a:rPr lang="fr" sz="1600"/>
              <a:t>Codant la GP de l’EBOV, SUDV, MARV et la NP de TAFV</a:t>
            </a:r>
          </a:p>
          <a:p>
            <a:pPr rtl="0"/>
            <a:endParaRPr lang="en-US" sz="2000"/>
          </a:p>
          <a:p>
            <a:pPr rtl="0"/>
            <a:r>
              <a:rPr lang="fr" sz="2000"/>
              <a:t>Les deux vaccins </a:t>
            </a:r>
            <a:r>
              <a:rPr lang="fr" sz="2000" b="1"/>
              <a:t>ne sont pas réplicatifs</a:t>
            </a:r>
            <a:r>
              <a:rPr lang="fr" sz="2000"/>
              <a:t> chez l’homme</a:t>
            </a:r>
          </a:p>
        </p:txBody>
      </p:sp>
      <p:sp>
        <p:nvSpPr>
          <p:cNvPr id="99" name="Slide Number Placeholder 31">
            <a:extLst>
              <a:ext uri="{FF2B5EF4-FFF2-40B4-BE49-F238E27FC236}">
                <a16:creationId xmlns:a16="http://schemas.microsoft.com/office/drawing/2014/main" id="{1BC73B3C-3A00-48B5-87E6-006E50F5D8A3}"/>
              </a:ext>
            </a:extLst>
          </p:cNvPr>
          <p:cNvSpPr txBox="1">
            <a:spLocks/>
          </p:cNvSpPr>
          <p:nvPr/>
        </p:nvSpPr>
        <p:spPr>
          <a:xfrm>
            <a:off x="11398999" y="6353128"/>
            <a:ext cx="600437" cy="365125"/>
          </a:xfrm>
          <a:prstGeom prst="rect">
            <a:avLst/>
          </a:prstGeom>
        </p:spPr>
        <p:txBody>
          <a:bodyPr vert="horz" lIns="76200" tIns="38100" rIns="76200" bIns="38100" rtlCol="0" anchor="ctr"/>
          <a:lstStyle>
            <a:defPPr>
              <a:defRPr lang="en-US"/>
            </a:defPPr>
            <a:lvl1pPr marL="0" algn="r" defTabSz="571395" rtl="0" eaLnBrk="1" latinLnBrk="0" hangingPunct="1">
              <a:defRPr sz="563" kern="1200">
                <a:solidFill>
                  <a:schemeClr val="bg2"/>
                </a:solidFill>
                <a:latin typeface="Verdana"/>
                <a:ea typeface="+mn-ea"/>
                <a:cs typeface="Verdana"/>
              </a:defRPr>
            </a:lvl1pPr>
            <a:lvl2pPr marL="285698" algn="l" defTabSz="571395" rtl="0" eaLnBrk="1" latinLnBrk="0" hangingPunct="1">
              <a:defRPr sz="1125" kern="1200">
                <a:solidFill>
                  <a:schemeClr val="tx1"/>
                </a:solidFill>
                <a:latin typeface="+mn-lt"/>
                <a:ea typeface="+mn-ea"/>
                <a:cs typeface="+mn-cs"/>
              </a:defRPr>
            </a:lvl2pPr>
            <a:lvl3pPr marL="571395" algn="l" defTabSz="571395" rtl="0" eaLnBrk="1" latinLnBrk="0" hangingPunct="1">
              <a:defRPr sz="1125" kern="1200">
                <a:solidFill>
                  <a:schemeClr val="tx1"/>
                </a:solidFill>
                <a:latin typeface="+mn-lt"/>
                <a:ea typeface="+mn-ea"/>
                <a:cs typeface="+mn-cs"/>
              </a:defRPr>
            </a:lvl3pPr>
            <a:lvl4pPr marL="857093" algn="l" defTabSz="571395" rtl="0" eaLnBrk="1" latinLnBrk="0" hangingPunct="1">
              <a:defRPr sz="1125" kern="1200">
                <a:solidFill>
                  <a:schemeClr val="tx1"/>
                </a:solidFill>
                <a:latin typeface="+mn-lt"/>
                <a:ea typeface="+mn-ea"/>
                <a:cs typeface="+mn-cs"/>
              </a:defRPr>
            </a:lvl4pPr>
            <a:lvl5pPr marL="1142791" algn="l" defTabSz="571395" rtl="0" eaLnBrk="1" latinLnBrk="0" hangingPunct="1">
              <a:defRPr sz="1125" kern="1200">
                <a:solidFill>
                  <a:schemeClr val="tx1"/>
                </a:solidFill>
                <a:latin typeface="+mn-lt"/>
                <a:ea typeface="+mn-ea"/>
                <a:cs typeface="+mn-cs"/>
              </a:defRPr>
            </a:lvl5pPr>
            <a:lvl6pPr marL="1428488" algn="l" defTabSz="571395" rtl="0" eaLnBrk="1" latinLnBrk="0" hangingPunct="1">
              <a:defRPr sz="1125" kern="1200">
                <a:solidFill>
                  <a:schemeClr val="tx1"/>
                </a:solidFill>
                <a:latin typeface="+mn-lt"/>
                <a:ea typeface="+mn-ea"/>
                <a:cs typeface="+mn-cs"/>
              </a:defRPr>
            </a:lvl6pPr>
            <a:lvl7pPr marL="1714187" algn="l" defTabSz="571395" rtl="0" eaLnBrk="1" latinLnBrk="0" hangingPunct="1">
              <a:defRPr sz="1125" kern="1200">
                <a:solidFill>
                  <a:schemeClr val="tx1"/>
                </a:solidFill>
                <a:latin typeface="+mn-lt"/>
                <a:ea typeface="+mn-ea"/>
                <a:cs typeface="+mn-cs"/>
              </a:defRPr>
            </a:lvl7pPr>
            <a:lvl8pPr marL="1999883" algn="l" defTabSz="571395" rtl="0" eaLnBrk="1" latinLnBrk="0" hangingPunct="1">
              <a:defRPr sz="1125" kern="1200">
                <a:solidFill>
                  <a:schemeClr val="tx1"/>
                </a:solidFill>
                <a:latin typeface="+mn-lt"/>
                <a:ea typeface="+mn-ea"/>
                <a:cs typeface="+mn-cs"/>
              </a:defRPr>
            </a:lvl8pPr>
            <a:lvl9pPr marL="2285581" algn="l" defTabSz="571395" rtl="0" eaLnBrk="1" latinLnBrk="0" hangingPunct="1">
              <a:defRPr sz="1125" kern="1200">
                <a:solidFill>
                  <a:schemeClr val="tx1"/>
                </a:solidFill>
                <a:latin typeface="+mn-lt"/>
                <a:ea typeface="+mn-ea"/>
                <a:cs typeface="+mn-cs"/>
              </a:defRPr>
            </a:lvl9pPr>
          </a:lstStyle>
          <a:p>
            <a:pPr defTabSz="914317" rtl="0">
              <a:defRPr/>
            </a:pPr>
            <a:fld id="{81BF0B4E-CE60-AB48-9D7E-4434414A7C38}" type="slidenum">
              <a:rPr lang="en-US" sz="1200">
                <a:solidFill>
                  <a:srgbClr val="FFFFFF"/>
                </a:solidFill>
              </a:rPr>
              <a:pPr defTabSz="914317" rtl="0">
                <a:defRPr/>
              </a:pPr>
              <a:t>12</a:t>
            </a:fld>
            <a:endParaRPr lang="en-GB" sz="1200">
              <a:solidFill>
                <a:srgbClr val="FFFFFF"/>
              </a:solidFill>
            </a:endParaRPr>
          </a:p>
        </p:txBody>
      </p:sp>
      <p:sp>
        <p:nvSpPr>
          <p:cNvPr id="54" name="TextBox 53">
            <a:extLst>
              <a:ext uri="{FF2B5EF4-FFF2-40B4-BE49-F238E27FC236}">
                <a16:creationId xmlns:a16="http://schemas.microsoft.com/office/drawing/2014/main" id="{852528C1-3A84-4778-A46B-04F18392490E}"/>
              </a:ext>
            </a:extLst>
          </p:cNvPr>
          <p:cNvSpPr txBox="1"/>
          <p:nvPr/>
        </p:nvSpPr>
        <p:spPr>
          <a:xfrm>
            <a:off x="6053132" y="5239853"/>
            <a:ext cx="5358532" cy="1077218"/>
          </a:xfrm>
          <a:prstGeom prst="rect">
            <a:avLst/>
          </a:prstGeom>
          <a:noFill/>
        </p:spPr>
        <p:txBody>
          <a:bodyPr wrap="square" rtlCol="0">
            <a:spAutoFit/>
          </a:bodyPr>
          <a:lstStyle/>
          <a:p>
            <a:pPr defTabSz="912732" rtl="0" fontAlgn="base">
              <a:spcBef>
                <a:spcPct val="0"/>
              </a:spcBef>
              <a:spcAft>
                <a:spcPct val="0"/>
              </a:spcAft>
              <a:defRPr/>
            </a:pPr>
            <a:r>
              <a:rPr lang="fr" sz="1600" b="1">
                <a:solidFill>
                  <a:srgbClr val="051291"/>
                </a:solidFill>
                <a:ea typeface="Verdana" panose="020B0604030504040204" pitchFamily="34" charset="0"/>
              </a:rPr>
              <a:t>Rappel : </a:t>
            </a:r>
            <a:r>
              <a:rPr lang="fr" sz="1600">
                <a:solidFill>
                  <a:srgbClr val="051291"/>
                </a:solidFill>
                <a:ea typeface="Verdana" panose="020B0604030504040204" pitchFamily="34" charset="0"/>
              </a:rPr>
              <a:t>1 dose de Ad26.ZEBOV peut être administrée aux personnes entièrement vaccinées présentant un risque imminent d’exposition au virus Ebola (&gt;4 mois après la fin du schéma thérapeutique primaire)</a:t>
            </a:r>
          </a:p>
        </p:txBody>
      </p:sp>
    </p:spTree>
    <p:extLst>
      <p:ext uri="{BB962C8B-B14F-4D97-AF65-F5344CB8AC3E}">
        <p14:creationId xmlns:p14="http://schemas.microsoft.com/office/powerpoint/2010/main" val="910066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7D685-7B9B-1C22-3D48-66E686FBB2AC}"/>
              </a:ext>
            </a:extLst>
          </p:cNvPr>
          <p:cNvSpPr>
            <a:spLocks noGrp="1"/>
          </p:cNvSpPr>
          <p:nvPr>
            <p:ph type="title"/>
          </p:nvPr>
        </p:nvSpPr>
        <p:spPr/>
        <p:txBody>
          <a:bodyPr rtlCol="0">
            <a:normAutofit/>
          </a:bodyPr>
          <a:lstStyle/>
          <a:p>
            <a:pPr rtl="0"/>
            <a:r>
              <a:rPr lang="fr" b="1">
                <a:solidFill>
                  <a:srgbClr val="051291"/>
                </a:solidFill>
              </a:rPr>
              <a:t>ERVEBO</a:t>
            </a:r>
            <a:r>
              <a:rPr lang="fr" b="1">
                <a:solidFill>
                  <a:srgbClr val="051291"/>
                </a:solidFill>
                <a:cs typeface="Times New Roman"/>
              </a:rPr>
              <a:t>® (rVSV-ZEBOV)</a:t>
            </a:r>
            <a:endParaRPr lang="en-US" b="1">
              <a:solidFill>
                <a:srgbClr val="051291"/>
              </a:solidFill>
            </a:endParaRPr>
          </a:p>
        </p:txBody>
      </p:sp>
      <p:sp>
        <p:nvSpPr>
          <p:cNvPr id="3" name="Content Placeholder 2">
            <a:extLst>
              <a:ext uri="{FF2B5EF4-FFF2-40B4-BE49-F238E27FC236}">
                <a16:creationId xmlns:a16="http://schemas.microsoft.com/office/drawing/2014/main" id="{DE025BE7-AAC7-0C82-CAA1-2CB2DEA4E078}"/>
              </a:ext>
            </a:extLst>
          </p:cNvPr>
          <p:cNvSpPr>
            <a:spLocks noGrp="1"/>
          </p:cNvSpPr>
          <p:nvPr>
            <p:ph idx="1"/>
          </p:nvPr>
        </p:nvSpPr>
        <p:spPr>
          <a:xfrm>
            <a:off x="523875" y="1371600"/>
            <a:ext cx="7593183" cy="4805363"/>
          </a:xfrm>
        </p:spPr>
        <p:txBody>
          <a:bodyPr vert="horz" lIns="90000" tIns="45720" rIns="91440" bIns="45720" rtlCol="0" anchor="t">
            <a:normAutofit/>
          </a:bodyPr>
          <a:lstStyle/>
          <a:p>
            <a:pPr marL="342900" indent="-342900" rtl="0">
              <a:buClr>
                <a:schemeClr val="tx1"/>
              </a:buClr>
              <a:buFont typeface="Arial" panose="020B0604020202020204" pitchFamily="34" charset="0"/>
              <a:buChar char="•"/>
            </a:pPr>
            <a:r>
              <a:rPr lang="fr" sz="2400" b="1"/>
              <a:t>ERVEBO®</a:t>
            </a:r>
            <a:r>
              <a:rPr lang="fr" sz="2400"/>
              <a:t> est un vaccin vivant, atténué et recombinant constitué du virus de la stomatite vésiculaire (rVSV)</a:t>
            </a:r>
          </a:p>
          <a:p>
            <a:pPr marL="342900" indent="-342900" rtl="0">
              <a:buClr>
                <a:schemeClr val="tx1"/>
              </a:buClr>
              <a:buFont typeface="Arial" panose="020B0604020202020204" pitchFamily="34" charset="0"/>
              <a:buChar char="•"/>
            </a:pPr>
            <a:endParaRPr lang="en-AU" sz="2400">
              <a:solidFill>
                <a:srgbClr val="FF0000"/>
              </a:solidFill>
            </a:endParaRPr>
          </a:p>
          <a:p>
            <a:pPr marL="342900" indent="-342900" rtl="0">
              <a:buClr>
                <a:schemeClr val="tx1"/>
              </a:buClr>
              <a:buFont typeface="Arial" panose="020B0604020202020204" pitchFamily="34" charset="0"/>
              <a:buChar char="•"/>
            </a:pPr>
            <a:r>
              <a:rPr lang="fr" sz="2400"/>
              <a:t>Stimule une réponse en anticorps contre l’espèce ebolavirus Zaïre</a:t>
            </a:r>
          </a:p>
          <a:p>
            <a:pPr marL="342900" indent="-342900" rtl="0">
              <a:buClr>
                <a:schemeClr val="tx1"/>
              </a:buClr>
              <a:buFont typeface="Arial" panose="020B0604020202020204" pitchFamily="34" charset="0"/>
              <a:buChar char="•"/>
            </a:pPr>
            <a:endParaRPr lang="en-AU" sz="2400"/>
          </a:p>
          <a:p>
            <a:pPr marL="342900" indent="-342900" rtl="0">
              <a:buClr>
                <a:schemeClr val="tx1"/>
              </a:buClr>
              <a:buFont typeface="Arial" panose="020B0604020202020204" pitchFamily="34" charset="0"/>
              <a:buChar char="•"/>
            </a:pPr>
            <a:r>
              <a:rPr lang="fr" sz="2400"/>
              <a:t>N’offre </a:t>
            </a:r>
            <a:r>
              <a:rPr lang="fr" sz="2400" b="1"/>
              <a:t>pas</a:t>
            </a:r>
            <a:r>
              <a:rPr lang="fr" sz="2400"/>
              <a:t> de protection contre d’autres espèces de virus Ebola (par exemple, l’espèce ebolavirus Soudan)</a:t>
            </a:r>
          </a:p>
          <a:p>
            <a:pPr marL="342900" indent="-342900" rtl="0">
              <a:buClr>
                <a:schemeClr val="tx1"/>
              </a:buClr>
              <a:buFont typeface="Arial" panose="020B0604020202020204" pitchFamily="34" charset="0"/>
              <a:buChar char="•"/>
            </a:pPr>
            <a:endParaRPr lang="en-AU" sz="2400" i="1"/>
          </a:p>
          <a:p>
            <a:pPr marL="342900" indent="-342900" rtl="0">
              <a:buClr>
                <a:schemeClr val="tx1"/>
              </a:buClr>
              <a:buFont typeface="Arial" panose="020B0604020202020204" pitchFamily="34" charset="0"/>
              <a:buChar char="•"/>
            </a:pPr>
            <a:r>
              <a:rPr lang="fr" sz="2400">
                <a:ea typeface="+mn-lt"/>
              </a:rPr>
              <a:t>Le vaccin ne contient pas le virus entier (</a:t>
            </a:r>
            <a:r>
              <a:rPr lang="fr" sz="2400" b="1">
                <a:ea typeface="+mn-lt"/>
              </a:rPr>
              <a:t>juste un petit bout !</a:t>
            </a:r>
            <a:r>
              <a:rPr lang="fr" sz="2400">
                <a:ea typeface="+mn-lt"/>
              </a:rPr>
              <a:t>) et ne peut pas infecter un individu avec le virus Ebola </a:t>
            </a:r>
            <a:endParaRPr lang="en-US" sz="2400">
              <a:ea typeface="+mn-lt"/>
            </a:endParaRPr>
          </a:p>
          <a:p>
            <a:pPr marL="342900" indent="-342900" rtl="0">
              <a:buClr>
                <a:schemeClr val="accent1"/>
              </a:buClr>
              <a:buFont typeface="Arial" panose="020B0604020202020204" pitchFamily="34" charset="0"/>
              <a:buChar char="•"/>
            </a:pPr>
            <a:endParaRPr lang="en-AU" sz="2400">
              <a:latin typeface="Calibri" panose="020F0502020204030204" pitchFamily="34" charset="0"/>
              <a:cs typeface="Calibri" panose="020F0502020204030204" pitchFamily="34" charset="0"/>
            </a:endParaRPr>
          </a:p>
          <a:p>
            <a:pPr marL="0" indent="0" rtl="0">
              <a:buClr>
                <a:schemeClr val="accent1"/>
              </a:buClr>
              <a:buNone/>
            </a:pPr>
            <a:endParaRPr lang="en-AU" sz="2400"/>
          </a:p>
          <a:p>
            <a:pPr marL="0" indent="0" rtl="0">
              <a:buClr>
                <a:schemeClr val="accent1"/>
              </a:buClr>
              <a:buNone/>
            </a:pPr>
            <a:endParaRPr lang="en-AU" sz="2400">
              <a:latin typeface="Atkinson Hyperlegible" pitchFamily="2" charset="77"/>
            </a:endParaRPr>
          </a:p>
          <a:p>
            <a:pPr rtl="0">
              <a:buClr>
                <a:schemeClr val="accent1"/>
              </a:buClr>
            </a:pPr>
            <a:endParaRPr lang="en-US" sz="2400">
              <a:latin typeface="Atkinson Hyperlegible" pitchFamily="2" charset="77"/>
            </a:endParaRPr>
          </a:p>
        </p:txBody>
      </p:sp>
      <p:grpSp>
        <p:nvGrpSpPr>
          <p:cNvPr id="4" name="Group 3">
            <a:extLst>
              <a:ext uri="{FF2B5EF4-FFF2-40B4-BE49-F238E27FC236}">
                <a16:creationId xmlns:a16="http://schemas.microsoft.com/office/drawing/2014/main" id="{9EC04EC7-0443-E4BF-37F0-FE32976E6BAC}"/>
              </a:ext>
            </a:extLst>
          </p:cNvPr>
          <p:cNvGrpSpPr/>
          <p:nvPr/>
        </p:nvGrpSpPr>
        <p:grpSpPr>
          <a:xfrm>
            <a:off x="8117058" y="1760423"/>
            <a:ext cx="3349811" cy="2277006"/>
            <a:chOff x="6372665" y="2063017"/>
            <a:chExt cx="5052080" cy="3328116"/>
          </a:xfrm>
        </p:grpSpPr>
        <p:pic>
          <p:nvPicPr>
            <p:cNvPr id="5" name="Picture 4">
              <a:extLst>
                <a:ext uri="{FF2B5EF4-FFF2-40B4-BE49-F238E27FC236}">
                  <a16:creationId xmlns:a16="http://schemas.microsoft.com/office/drawing/2014/main" id="{E8656E6E-870F-8701-FDB3-49D90E30A8D3}"/>
                </a:ext>
              </a:extLst>
            </p:cNvPr>
            <p:cNvPicPr>
              <a:picLocks noChangeAspect="1"/>
            </p:cNvPicPr>
            <p:nvPr/>
          </p:nvPicPr>
          <p:blipFill>
            <a:blip r:embed="rId3" cstate="print"/>
            <a:stretch>
              <a:fillRect/>
            </a:stretch>
          </p:blipFill>
          <p:spPr>
            <a:xfrm>
              <a:off x="6372665" y="2063017"/>
              <a:ext cx="5052080" cy="3328116"/>
            </a:xfrm>
            <a:prstGeom prst="rect">
              <a:avLst/>
            </a:prstGeom>
            <a:ln>
              <a:solidFill>
                <a:schemeClr val="tx1">
                  <a:lumMod val="50000"/>
                  <a:lumOff val="50000"/>
                </a:schemeClr>
              </a:solidFill>
            </a:ln>
          </p:spPr>
        </p:pic>
        <p:sp>
          <p:nvSpPr>
            <p:cNvPr id="6" name="TextBox 5">
              <a:extLst>
                <a:ext uri="{FF2B5EF4-FFF2-40B4-BE49-F238E27FC236}">
                  <a16:creationId xmlns:a16="http://schemas.microsoft.com/office/drawing/2014/main" id="{1FEE062C-E597-31F8-8421-C55FFCF11041}"/>
                </a:ext>
              </a:extLst>
            </p:cNvPr>
            <p:cNvSpPr txBox="1"/>
            <p:nvPr/>
          </p:nvSpPr>
          <p:spPr>
            <a:xfrm>
              <a:off x="8482620" y="3760105"/>
              <a:ext cx="1693056" cy="333977"/>
            </a:xfrm>
            <a:prstGeom prst="rect">
              <a:avLst/>
            </a:prstGeom>
            <a:noFill/>
            <a:ln>
              <a:solidFill>
                <a:schemeClr val="bg1"/>
              </a:solidFill>
            </a:ln>
          </p:spPr>
          <p:txBody>
            <a:bodyPr wrap="square" rtlCol="0">
              <a:spAutoFit/>
            </a:bodyPr>
            <a:lstStyle/>
            <a:p>
              <a:pPr rtl="0"/>
              <a:r>
                <a:rPr lang="fr" sz="1400" b="1">
                  <a:solidFill>
                    <a:srgbClr val="7030A0"/>
                  </a:solidFill>
                </a:rPr>
                <a:t>GP de l’EBOV</a:t>
              </a:r>
            </a:p>
          </p:txBody>
        </p:sp>
      </p:grpSp>
    </p:spTree>
    <p:extLst>
      <p:ext uri="{BB962C8B-B14F-4D97-AF65-F5344CB8AC3E}">
        <p14:creationId xmlns:p14="http://schemas.microsoft.com/office/powerpoint/2010/main" val="1635205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2096B5-D93B-DBD5-7E76-F03F5F456413}"/>
              </a:ext>
            </a:extLst>
          </p:cNvPr>
          <p:cNvSpPr>
            <a:spLocks noGrp="1"/>
          </p:cNvSpPr>
          <p:nvPr>
            <p:ph type="title"/>
          </p:nvPr>
        </p:nvSpPr>
        <p:spPr/>
        <p:txBody>
          <a:bodyPr rtlCol="0">
            <a:normAutofit/>
          </a:bodyPr>
          <a:lstStyle/>
          <a:p>
            <a:pPr rtl="0"/>
            <a:r>
              <a:rPr lang="fr" sz="2800">
                <a:solidFill>
                  <a:srgbClr val="051291"/>
                </a:solidFill>
                <a:latin typeface="Poppins" panose="00000500000000000000" pitchFamily="2" charset="0"/>
              </a:rPr>
              <a:t>Utilisation du vaccin ERVEBO dans le monde</a:t>
            </a:r>
          </a:p>
        </p:txBody>
      </p:sp>
      <p:sp>
        <p:nvSpPr>
          <p:cNvPr id="3" name="Text Placeholder 2">
            <a:extLst>
              <a:ext uri="{FF2B5EF4-FFF2-40B4-BE49-F238E27FC236}">
                <a16:creationId xmlns:a16="http://schemas.microsoft.com/office/drawing/2014/main" id="{9E43FCA7-EA9F-1D8D-7091-0DA4AC8E08F2}"/>
              </a:ext>
            </a:extLst>
          </p:cNvPr>
          <p:cNvSpPr>
            <a:spLocks noGrp="1"/>
          </p:cNvSpPr>
          <p:nvPr>
            <p:ph idx="1"/>
          </p:nvPr>
        </p:nvSpPr>
        <p:spPr>
          <a:xfrm>
            <a:off x="523876" y="1371600"/>
            <a:ext cx="7185220" cy="4805363"/>
          </a:xfrm>
        </p:spPr>
        <p:txBody>
          <a:bodyPr vert="horz" lIns="91440" tIns="45720" rIns="91440" bIns="45720" rtlCol="0" anchor="t">
            <a:noAutofit/>
          </a:bodyPr>
          <a:lstStyle/>
          <a:p>
            <a:pPr marL="456565" indent="-456565">
              <a:buClr>
                <a:schemeClr val="tx1"/>
              </a:buClr>
              <a:buFontTx/>
              <a:buChar char="•"/>
            </a:pPr>
            <a:r>
              <a:rPr lang="fr" sz="2000" dirty="0"/>
              <a:t>ERVEBO a été homologué par </a:t>
            </a:r>
            <a:endParaRPr lang="fr-FR" sz="2000" dirty="0"/>
          </a:p>
          <a:p>
            <a:pPr lvl="1">
              <a:buClr>
                <a:srgbClr val="000000"/>
              </a:buClr>
            </a:pPr>
            <a:r>
              <a:rPr lang="fr" sz="2000" dirty="0">
                <a:ea typeface="Calibri"/>
                <a:cs typeface="Calibri"/>
              </a:rPr>
              <a:t>Burundi, République centrafricaine, Côte d'Ivoire, République démocratique du Congo (RDC), Ghana, Guinée, République du Congo, Rwanda, Sierra Leone, Ouganda et Zambie.</a:t>
            </a:r>
          </a:p>
          <a:p>
            <a:pPr lvl="1">
              <a:buClr>
                <a:srgbClr val="000000"/>
              </a:buClr>
            </a:pPr>
            <a:r>
              <a:rPr lang="fr" sz="2000" dirty="0">
                <a:ea typeface="Calibri"/>
                <a:cs typeface="Calibri"/>
              </a:rPr>
              <a:t>l’Agence européenne des médicaments (EMA) et l’Administration des États-Unis chargée des aliments et des médicaments (FDA) à la fin de l’année 2019</a:t>
            </a:r>
            <a:endParaRPr lang="en-US" sz="2000" dirty="0">
              <a:ea typeface="Calibri" panose="020F0502020204030204"/>
              <a:cs typeface="Calibri" panose="020F0502020204030204"/>
            </a:endParaRPr>
          </a:p>
          <a:p>
            <a:pPr marL="456565" indent="-456565">
              <a:buClr>
                <a:schemeClr val="tx1"/>
              </a:buClr>
              <a:buFontTx/>
              <a:buChar char="•"/>
            </a:pPr>
            <a:r>
              <a:rPr lang="fr" sz="2000" dirty="0"/>
              <a:t>Il était, à l’origine, uniquement autorisé aux adultes de plus de 18 ans, mais l’étiquette a récemment été modifiée pour inclure tout individu âgé de 1 an et plus,</a:t>
            </a:r>
            <a:endParaRPr lang="en-US" sz="2000" dirty="0">
              <a:solidFill>
                <a:schemeClr val="tx1"/>
              </a:solidFill>
              <a:ea typeface="Calibri" panose="020F0502020204030204"/>
              <a:cs typeface="Calibri" panose="020F0502020204030204"/>
            </a:endParaRPr>
          </a:p>
          <a:p>
            <a:pPr marL="456565" indent="-456565" rtl="0">
              <a:buClr>
                <a:schemeClr val="tx1"/>
              </a:buClr>
              <a:buFontTx/>
              <a:buChar char="•"/>
            </a:pPr>
            <a:r>
              <a:rPr lang="fr" sz="2000" dirty="0"/>
              <a:t>Sa distribution était autrefois limitée, mais elle a augmentée</a:t>
            </a:r>
            <a:endParaRPr lang="fr" sz="2000" dirty="0">
              <a:solidFill>
                <a:schemeClr val="tx1"/>
              </a:solidFill>
              <a:ea typeface="Calibri" panose="020F0502020204030204"/>
              <a:cs typeface="Calibri" panose="020F0502020204030204"/>
            </a:endParaRPr>
          </a:p>
          <a:p>
            <a:pPr lvl="1" rtl="0">
              <a:buClr>
                <a:schemeClr val="tx1"/>
              </a:buClr>
            </a:pPr>
            <a:r>
              <a:rPr lang="fr" sz="2000" dirty="0"/>
              <a:t>Les stocks mondiaux sont actuellement pleins</a:t>
            </a:r>
            <a:endParaRPr lang="en-US" sz="2000" dirty="0">
              <a:ea typeface="Calibri" panose="020F0502020204030204"/>
              <a:cs typeface="Calibri" panose="020F0502020204030204"/>
            </a:endParaRPr>
          </a:p>
          <a:p>
            <a:pPr marL="456565" indent="-456565" rtl="0">
              <a:buClr>
                <a:schemeClr val="tx1"/>
              </a:buClr>
              <a:buFontTx/>
              <a:buChar char="•"/>
            </a:pPr>
            <a:r>
              <a:rPr lang="fr" sz="2000" dirty="0"/>
              <a:t>~500 000 personnes ont été vaccinées dans le monde</a:t>
            </a:r>
            <a:endParaRPr lang="fr" sz="2000" dirty="0">
              <a:ea typeface="Calibri"/>
              <a:cs typeface="Calibri"/>
            </a:endParaRPr>
          </a:p>
        </p:txBody>
      </p:sp>
      <p:pic>
        <p:nvPicPr>
          <p:cNvPr id="4" name="Picture 6" descr="Diagram, map&#10;&#10;Description automatically generated">
            <a:extLst>
              <a:ext uri="{FF2B5EF4-FFF2-40B4-BE49-F238E27FC236}">
                <a16:creationId xmlns:a16="http://schemas.microsoft.com/office/drawing/2014/main" id="{FE2DC659-78AB-AB26-D72B-78FE83D0811A}"/>
              </a:ext>
            </a:extLst>
          </p:cNvPr>
          <p:cNvPicPr>
            <a:picLocks noChangeAspect="1"/>
          </p:cNvPicPr>
          <p:nvPr/>
        </p:nvPicPr>
        <p:blipFill>
          <a:blip r:embed="rId3"/>
          <a:stretch>
            <a:fillRect/>
          </a:stretch>
        </p:blipFill>
        <p:spPr>
          <a:xfrm>
            <a:off x="7935293" y="2154611"/>
            <a:ext cx="3656631" cy="2794612"/>
          </a:xfrm>
          <a:prstGeom prst="rect">
            <a:avLst/>
          </a:prstGeom>
          <a:solidFill>
            <a:schemeClr val="tx1"/>
          </a:solidFill>
        </p:spPr>
      </p:pic>
    </p:spTree>
    <p:extLst>
      <p:ext uri="{BB962C8B-B14F-4D97-AF65-F5344CB8AC3E}">
        <p14:creationId xmlns:p14="http://schemas.microsoft.com/office/powerpoint/2010/main" val="942245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4CC8C42-A708-0DBC-6348-1F417476DC76}"/>
              </a:ext>
            </a:extLst>
          </p:cNvPr>
          <p:cNvSpPr>
            <a:spLocks noGrp="1"/>
          </p:cNvSpPr>
          <p:nvPr>
            <p:ph type="title"/>
          </p:nvPr>
        </p:nvSpPr>
        <p:spPr/>
        <p:txBody>
          <a:bodyPr rtlCol="0">
            <a:normAutofit/>
          </a:bodyPr>
          <a:lstStyle/>
          <a:p>
            <a:pPr rtl="0"/>
            <a:r>
              <a:rPr lang="fr" b="1">
                <a:solidFill>
                  <a:srgbClr val="051291"/>
                </a:solidFill>
              </a:rPr>
              <a:t>Efficacité vaccinale</a:t>
            </a:r>
          </a:p>
        </p:txBody>
      </p:sp>
      <p:sp>
        <p:nvSpPr>
          <p:cNvPr id="9" name="Text Placeholder 8">
            <a:extLst>
              <a:ext uri="{FF2B5EF4-FFF2-40B4-BE49-F238E27FC236}">
                <a16:creationId xmlns:a16="http://schemas.microsoft.com/office/drawing/2014/main" id="{042C31F5-AA0B-07CA-84F6-454A2827E0CE}"/>
              </a:ext>
            </a:extLst>
          </p:cNvPr>
          <p:cNvSpPr>
            <a:spLocks noGrp="1"/>
          </p:cNvSpPr>
          <p:nvPr>
            <p:ph idx="1"/>
          </p:nvPr>
        </p:nvSpPr>
        <p:spPr>
          <a:xfrm>
            <a:off x="523875" y="1371600"/>
            <a:ext cx="5961331" cy="4805363"/>
          </a:xfrm>
        </p:spPr>
        <p:txBody>
          <a:bodyPr rtlCol="0">
            <a:normAutofit/>
          </a:bodyPr>
          <a:lstStyle/>
          <a:p>
            <a:pPr marL="0" indent="0" rtl="0">
              <a:buClr>
                <a:schemeClr val="tx1"/>
              </a:buClr>
              <a:buNone/>
            </a:pPr>
            <a:r>
              <a:rPr lang="fr" sz="2400">
                <a:cs typeface="Calibri" panose="020F0502020204030204" pitchFamily="34" charset="0"/>
              </a:rPr>
              <a:t>ERVEBO</a:t>
            </a:r>
          </a:p>
          <a:p>
            <a:pPr rtl="0">
              <a:buClr>
                <a:schemeClr val="tx1"/>
              </a:buClr>
            </a:pPr>
            <a:r>
              <a:rPr lang="fr" sz="2400">
                <a:cs typeface="Calibri" panose="020F0502020204030204" pitchFamily="34" charset="0"/>
              </a:rPr>
              <a:t>L’essai clinique en ceinture « Ebola ça suffit ! » en Guinée s’est avéré d’une très grande efficacité [100 % (IC à 95 % :</a:t>
            </a:r>
            <a:r>
              <a:rPr lang="fr" sz="2400" b="1">
                <a:cs typeface="Calibri" panose="020F0502020204030204" pitchFamily="34" charset="0"/>
              </a:rPr>
              <a:t> 68.9–100.0)]</a:t>
            </a:r>
          </a:p>
          <a:p>
            <a:pPr rtl="0">
              <a:buClr>
                <a:schemeClr val="tx1"/>
              </a:buClr>
            </a:pPr>
            <a:endParaRPr lang="en-US" sz="2400" b="1">
              <a:cs typeface="Calibri" panose="020F0502020204030204" pitchFamily="34" charset="0"/>
            </a:endParaRPr>
          </a:p>
          <a:p>
            <a:pPr rtl="0">
              <a:buClr>
                <a:schemeClr val="tx1"/>
              </a:buClr>
            </a:pPr>
            <a:r>
              <a:rPr lang="fr" sz="2400">
                <a:solidFill>
                  <a:schemeClr val="tx1"/>
                </a:solidFill>
                <a:latin typeface="Atkinson Hyperlegible"/>
              </a:rPr>
              <a:t>Dose unique, 2x10</a:t>
            </a:r>
            <a:r>
              <a:rPr lang="fr" sz="2400" baseline="30000">
                <a:solidFill>
                  <a:schemeClr val="tx1"/>
                </a:solidFill>
                <a:latin typeface="Atkinson Hyperlegible"/>
              </a:rPr>
              <a:t>7 </a:t>
            </a:r>
            <a:r>
              <a:rPr lang="fr" sz="2400">
                <a:solidFill>
                  <a:schemeClr val="tx1"/>
                </a:solidFill>
                <a:latin typeface="Atkinson Hyperlegible"/>
              </a:rPr>
              <a:t>unités formant plage</a:t>
            </a:r>
          </a:p>
          <a:p>
            <a:pPr rtl="0">
              <a:buClr>
                <a:schemeClr val="tx1"/>
              </a:buClr>
            </a:pPr>
            <a:endParaRPr lang="en-US" altLang="en-US" sz="2400">
              <a:solidFill>
                <a:schemeClr val="tx1"/>
              </a:solidFill>
              <a:latin typeface="Atkinson Hyperlegible"/>
            </a:endParaRPr>
          </a:p>
          <a:p>
            <a:pPr rtl="0">
              <a:buClr>
                <a:schemeClr val="tx1"/>
              </a:buClr>
            </a:pPr>
            <a:r>
              <a:rPr lang="fr" sz="2400">
                <a:cs typeface="Calibri" panose="020F0502020204030204" pitchFamily="34" charset="0"/>
              </a:rPr>
              <a:t>Offre une protection après ~10 jours et peut donc être utilisé pour la riposte à une épidémie</a:t>
            </a:r>
          </a:p>
          <a:p>
            <a:pPr marL="0" indent="0" rtl="0">
              <a:buNone/>
            </a:pPr>
            <a:endParaRPr lang="en-US"/>
          </a:p>
        </p:txBody>
      </p:sp>
      <p:pic>
        <p:nvPicPr>
          <p:cNvPr id="4" name="Picture 3">
            <a:extLst>
              <a:ext uri="{FF2B5EF4-FFF2-40B4-BE49-F238E27FC236}">
                <a16:creationId xmlns:a16="http://schemas.microsoft.com/office/drawing/2014/main" id="{D822A431-A6CD-4718-AA7B-EFD0A145865C}"/>
              </a:ext>
            </a:extLst>
          </p:cNvPr>
          <p:cNvPicPr>
            <a:picLocks noChangeAspect="1"/>
          </p:cNvPicPr>
          <p:nvPr/>
        </p:nvPicPr>
        <p:blipFill rotWithShape="1">
          <a:blip r:embed="rId3"/>
          <a:srcRect l="3128" t="2563" r="2840"/>
          <a:stretch/>
        </p:blipFill>
        <p:spPr>
          <a:xfrm>
            <a:off x="6879102" y="1517866"/>
            <a:ext cx="3702251" cy="3373787"/>
          </a:xfrm>
          <a:prstGeom prst="rect">
            <a:avLst/>
          </a:prstGeom>
          <a:ln>
            <a:solidFill>
              <a:schemeClr val="tx1"/>
            </a:solidFill>
          </a:ln>
        </p:spPr>
      </p:pic>
      <p:sp>
        <p:nvSpPr>
          <p:cNvPr id="6" name="TextBox 5">
            <a:extLst>
              <a:ext uri="{FF2B5EF4-FFF2-40B4-BE49-F238E27FC236}">
                <a16:creationId xmlns:a16="http://schemas.microsoft.com/office/drawing/2014/main" id="{C4AC5D1C-D733-C108-8CBF-AE0A358C4F55}"/>
              </a:ext>
            </a:extLst>
          </p:cNvPr>
          <p:cNvSpPr txBox="1"/>
          <p:nvPr/>
        </p:nvSpPr>
        <p:spPr>
          <a:xfrm>
            <a:off x="6497153" y="5143939"/>
            <a:ext cx="5170972" cy="707886"/>
          </a:xfrm>
          <a:prstGeom prst="rect">
            <a:avLst/>
          </a:prstGeom>
          <a:noFill/>
        </p:spPr>
        <p:txBody>
          <a:bodyPr wrap="square" rtlCol="0">
            <a:spAutoFit/>
          </a:bodyPr>
          <a:lstStyle/>
          <a:p>
            <a:pPr rtl="0"/>
            <a:r>
              <a:rPr lang="fr" sz="1000" b="0" i="0">
                <a:solidFill>
                  <a:srgbClr val="202020"/>
                </a:solidFill>
                <a:effectLst/>
                <a:latin typeface="Atkinson Hyperlegible" pitchFamily="2" charset="77"/>
              </a:rPr>
              <a:t>Henao-Restrepo AM, Camacho A., Longini IM, Watson CH, Edmunds WJ, Egger M, et al. Efficacy and effectiveness of an rVSV-vectored vaccine in preventing Ebola virus disease: final results from the Guinea ring vaccination, open-label, cluster-randomised trial (Ebola Ça Suffit !). </a:t>
            </a:r>
            <a:r>
              <a:rPr lang="fr" sz="1000" b="0" i="1">
                <a:solidFill>
                  <a:srgbClr val="202020"/>
                </a:solidFill>
                <a:effectLst/>
                <a:latin typeface="Atkinson Hyperlegible" pitchFamily="2" charset="77"/>
              </a:rPr>
              <a:t>Lancet</a:t>
            </a:r>
            <a:r>
              <a:rPr lang="fr" sz="1000" i="1">
                <a:solidFill>
                  <a:srgbClr val="202020"/>
                </a:solidFill>
                <a:latin typeface="Atkinson Hyperlegible" pitchFamily="2" charset="77"/>
              </a:rPr>
              <a:t> : </a:t>
            </a:r>
            <a:r>
              <a:rPr lang="fr" sz="1000" b="0" i="0">
                <a:solidFill>
                  <a:srgbClr val="202020"/>
                </a:solidFill>
                <a:effectLst/>
                <a:latin typeface="Atkinson Hyperlegible" pitchFamily="2" charset="77"/>
              </a:rPr>
              <a:t>2017;389(10068):505–518.</a:t>
            </a:r>
            <a:endParaRPr lang="en-US" sz="1000">
              <a:latin typeface="Atkinson Hyperlegible" pitchFamily="2" charset="77"/>
            </a:endParaRPr>
          </a:p>
        </p:txBody>
      </p:sp>
    </p:spTree>
    <p:extLst>
      <p:ext uri="{BB962C8B-B14F-4D97-AF65-F5344CB8AC3E}">
        <p14:creationId xmlns:p14="http://schemas.microsoft.com/office/powerpoint/2010/main" val="3487203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E94AC-6E6F-7520-FC08-57D3EB7DAA56}"/>
              </a:ext>
            </a:extLst>
          </p:cNvPr>
          <p:cNvSpPr>
            <a:spLocks noGrp="1"/>
          </p:cNvSpPr>
          <p:nvPr>
            <p:ph type="title"/>
          </p:nvPr>
        </p:nvSpPr>
        <p:spPr/>
        <p:txBody>
          <a:bodyPr rtlCol="0">
            <a:normAutofit/>
          </a:bodyPr>
          <a:lstStyle/>
          <a:p>
            <a:pPr rtl="0"/>
            <a:r>
              <a:rPr lang="fr" b="1">
                <a:solidFill>
                  <a:srgbClr val="051291"/>
                </a:solidFill>
              </a:rPr>
              <a:t>Durabilité</a:t>
            </a:r>
          </a:p>
        </p:txBody>
      </p:sp>
      <p:sp>
        <p:nvSpPr>
          <p:cNvPr id="3" name="Text Placeholder 2">
            <a:extLst>
              <a:ext uri="{FF2B5EF4-FFF2-40B4-BE49-F238E27FC236}">
                <a16:creationId xmlns:a16="http://schemas.microsoft.com/office/drawing/2014/main" id="{8DF6D4AB-CC87-EFDD-67EE-E896DFC02609}"/>
              </a:ext>
            </a:extLst>
          </p:cNvPr>
          <p:cNvSpPr>
            <a:spLocks noGrp="1"/>
          </p:cNvSpPr>
          <p:nvPr>
            <p:ph idx="1"/>
          </p:nvPr>
        </p:nvSpPr>
        <p:spPr/>
        <p:txBody>
          <a:bodyPr vert="horz" lIns="91440" tIns="45720" rIns="91440" bIns="45720" rtlCol="0" anchor="t">
            <a:normAutofit/>
          </a:bodyPr>
          <a:lstStyle/>
          <a:p>
            <a:pPr marL="342900" indent="-342900" rtl="0">
              <a:buFont typeface="Arial" panose="020B0604020202020204" pitchFamily="34" charset="0"/>
              <a:buChar char="•"/>
            </a:pPr>
            <a:r>
              <a:rPr lang="fr" sz="2400">
                <a:cs typeface="Calibri" panose="020F0502020204030204" pitchFamily="34" charset="0"/>
              </a:rPr>
              <a:t>La durabilité à long terme reste inconnue</a:t>
            </a:r>
          </a:p>
          <a:p>
            <a:pPr marL="342900" indent="-342900" rtl="0">
              <a:buFont typeface="Arial" panose="020B0604020202020204" pitchFamily="34" charset="0"/>
              <a:buChar char="•"/>
            </a:pPr>
            <a:endParaRPr lang="en-US" sz="2400">
              <a:cs typeface="Calibri" panose="020F0502020204030204" pitchFamily="34" charset="0"/>
            </a:endParaRPr>
          </a:p>
          <a:p>
            <a:pPr marL="342900" indent="-342900" rtl="0">
              <a:buFont typeface="Arial" panose="020B0604020202020204" pitchFamily="34" charset="0"/>
              <a:buChar char="•"/>
            </a:pPr>
            <a:r>
              <a:rPr lang="fr" sz="2400">
                <a:cs typeface="Calibri" panose="020F0502020204030204" pitchFamily="34" charset="0"/>
              </a:rPr>
              <a:t>Les</a:t>
            </a:r>
            <a:r>
              <a:rPr lang="fr" sz="2400" b="0" i="0" u="none" strike="noStrike">
                <a:cs typeface="Calibri" panose="020F0502020204030204" pitchFamily="34" charset="0"/>
              </a:rPr>
              <a:t> réponses des anticorps sont maintenues jusqu’à 5 ans après la vaccination</a:t>
            </a:r>
          </a:p>
          <a:p>
            <a:pPr marL="627300" lvl="1" indent="-342900" rtl="0">
              <a:buClr>
                <a:srgbClr val="37373A"/>
              </a:buClr>
              <a:buFont typeface="Calibri" panose="020F0502020204030204" pitchFamily="34" charset="0"/>
              <a:buChar char="−"/>
            </a:pPr>
            <a:r>
              <a:rPr lang="fr">
                <a:cs typeface="Calibri" panose="020F0502020204030204" pitchFamily="34" charset="0"/>
              </a:rPr>
              <a:t>Des études sont en cours pour évaluer l’immunogénicité avec une dose de rappel à 18 mois et à d’autres périodes indiquées</a:t>
            </a:r>
          </a:p>
          <a:p>
            <a:pPr marL="627300" lvl="1" indent="-342900" rtl="0">
              <a:buClr>
                <a:srgbClr val="37373A"/>
              </a:buClr>
              <a:buFont typeface="Calibri" panose="020F0502020204030204" pitchFamily="34" charset="0"/>
              <a:buChar char="−"/>
            </a:pPr>
            <a:r>
              <a:rPr lang="fr">
                <a:cs typeface="Calibri" panose="020F0502020204030204" pitchFamily="34" charset="0"/>
              </a:rPr>
              <a:t>Il est nécessaire de mener des d’enquêtes sérologiques pour évaluer l’interchangeabilité des vaccins</a:t>
            </a:r>
          </a:p>
          <a:p>
            <a:pPr rtl="0">
              <a:buClr>
                <a:srgbClr val="37373A"/>
              </a:buClr>
              <a:buNone/>
            </a:pPr>
            <a:endParaRPr lang="en-US" sz="2400" b="1">
              <a:solidFill>
                <a:srgbClr val="051291"/>
              </a:solidFill>
              <a:cs typeface="Calibri" panose="020F0502020204030204" pitchFamily="34" charset="0"/>
            </a:endParaRPr>
          </a:p>
          <a:p>
            <a:pPr rtl="0">
              <a:buClr>
                <a:srgbClr val="37373A"/>
              </a:buClr>
              <a:buNone/>
            </a:pPr>
            <a:r>
              <a:rPr lang="fr" sz="2400">
                <a:solidFill>
                  <a:srgbClr val="051291"/>
                </a:solidFill>
                <a:cs typeface="Calibri"/>
              </a:rPr>
              <a:t>Remarque : un taux élevé d’anticorps ne signifie pas nécessairement que la protection est assurée et davantage de données factuelles devraient être produites pour déterminer si une dose de rappel (revaccination) devrait être administrée</a:t>
            </a:r>
            <a:endParaRPr lang="en-US" sz="2400" i="0">
              <a:solidFill>
                <a:srgbClr val="051291"/>
              </a:solidFill>
              <a:effectLst/>
              <a:ea typeface="Calibri" panose="020F0502020204030204"/>
              <a:cs typeface="Calibri"/>
            </a:endParaRPr>
          </a:p>
        </p:txBody>
      </p:sp>
    </p:spTree>
    <p:extLst>
      <p:ext uri="{BB962C8B-B14F-4D97-AF65-F5344CB8AC3E}">
        <p14:creationId xmlns:p14="http://schemas.microsoft.com/office/powerpoint/2010/main" val="2296526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0FAA7-3F7B-089B-DCE6-1AC1122E33CE}"/>
              </a:ext>
            </a:extLst>
          </p:cNvPr>
          <p:cNvSpPr>
            <a:spLocks noGrp="1"/>
          </p:cNvSpPr>
          <p:nvPr>
            <p:ph type="title"/>
          </p:nvPr>
        </p:nvSpPr>
        <p:spPr/>
        <p:txBody>
          <a:bodyPr rtlCol="0"/>
          <a:lstStyle/>
          <a:p>
            <a:pPr rtl="0"/>
            <a:r>
              <a:rPr lang="fr">
                <a:latin typeface="Poppins"/>
                <a:cs typeface="Poppins"/>
              </a:rPr>
              <a:t>Indications sur les vaccins et administration</a:t>
            </a:r>
            <a:endParaRPr lang="en-US"/>
          </a:p>
        </p:txBody>
      </p:sp>
      <p:sp>
        <p:nvSpPr>
          <p:cNvPr id="3" name="Content Placeholder 2">
            <a:extLst>
              <a:ext uri="{FF2B5EF4-FFF2-40B4-BE49-F238E27FC236}">
                <a16:creationId xmlns:a16="http://schemas.microsoft.com/office/drawing/2014/main" id="{2DF7F4FA-6AF1-F377-4F5A-7DD4E341BF95}"/>
              </a:ext>
            </a:extLst>
          </p:cNvPr>
          <p:cNvSpPr>
            <a:spLocks noGrp="1"/>
          </p:cNvSpPr>
          <p:nvPr>
            <p:ph idx="1"/>
          </p:nvPr>
        </p:nvSpPr>
        <p:spPr/>
        <p:txBody>
          <a:bodyPr vert="horz" lIns="91440" tIns="45720" rIns="91440" bIns="45720" rtlCol="0" anchor="t">
            <a:normAutofit/>
          </a:bodyPr>
          <a:lstStyle/>
          <a:p>
            <a:pPr rtl="0"/>
            <a:r>
              <a:rPr lang="fr" sz="2400"/>
              <a:t>Indiqué pour les individus </a:t>
            </a:r>
            <a:r>
              <a:rPr lang="fr" sz="2400">
                <a:solidFill>
                  <a:srgbClr val="1C1D1F"/>
                </a:solidFill>
              </a:rPr>
              <a:t>≥</a:t>
            </a:r>
            <a:r>
              <a:rPr lang="fr" sz="2400"/>
              <a:t>1 an</a:t>
            </a:r>
          </a:p>
          <a:p>
            <a:pPr rtl="0"/>
            <a:endParaRPr lang="en-AU" sz="2400"/>
          </a:p>
          <a:p>
            <a:pPr rtl="0"/>
            <a:r>
              <a:rPr lang="fr" sz="2400">
                <a:solidFill>
                  <a:srgbClr val="1C1D1F"/>
                </a:solidFill>
                <a:ea typeface="+mn-lt"/>
                <a:cs typeface="+mn-lt"/>
              </a:rPr>
              <a:t>Flacon unidose de 1 ml contenant ≥ 7,2 × 10</a:t>
            </a:r>
            <a:r>
              <a:rPr lang="fr" sz="2400" baseline="30000">
                <a:solidFill>
                  <a:srgbClr val="1C1D1F"/>
                </a:solidFill>
                <a:ea typeface="+mn-lt"/>
                <a:cs typeface="+mn-lt"/>
              </a:rPr>
              <a:t>7</a:t>
            </a:r>
            <a:r>
              <a:rPr lang="fr" sz="2400">
                <a:solidFill>
                  <a:srgbClr val="1C1D1F"/>
                </a:solidFill>
                <a:ea typeface="+mn-lt"/>
                <a:cs typeface="+mn-lt"/>
              </a:rPr>
              <a:t> d’</a:t>
            </a:r>
            <a:r>
              <a:rPr lang="fr" sz="2400" err="1">
                <a:solidFill>
                  <a:srgbClr val="1C1D1F"/>
                </a:solidFill>
                <a:ea typeface="+mn-lt"/>
                <a:cs typeface="+mn-lt"/>
              </a:rPr>
              <a:t>ufp</a:t>
            </a:r>
            <a:r>
              <a:rPr lang="fr" sz="2400">
                <a:solidFill>
                  <a:srgbClr val="1C1D1F"/>
                </a:solidFill>
                <a:ea typeface="+mn-lt"/>
                <a:cs typeface="+mn-lt"/>
              </a:rPr>
              <a:t>)</a:t>
            </a:r>
          </a:p>
          <a:p>
            <a:pPr rtl="0"/>
            <a:endParaRPr lang="en-US" sz="2400">
              <a:cs typeface="Calibri"/>
            </a:endParaRPr>
          </a:p>
          <a:p>
            <a:pPr rtl="0"/>
            <a:r>
              <a:rPr lang="fr" sz="2400">
                <a:solidFill>
                  <a:srgbClr val="1C1D1F"/>
                </a:solidFill>
                <a:ea typeface="+mn-lt"/>
                <a:cs typeface="+mn-lt"/>
              </a:rPr>
              <a:t>Seringue stérile (p. ex., seringue de 1 ml)</a:t>
            </a:r>
          </a:p>
          <a:p>
            <a:pPr rtl="0"/>
            <a:endParaRPr lang="en-US" sz="2400">
              <a:cs typeface="Calibri"/>
            </a:endParaRPr>
          </a:p>
          <a:p>
            <a:pPr rtl="0"/>
            <a:r>
              <a:rPr lang="fr" sz="2400">
                <a:solidFill>
                  <a:srgbClr val="1C1D1F"/>
                </a:solidFill>
                <a:ea typeface="+mn-lt"/>
                <a:cs typeface="+mn-lt"/>
              </a:rPr>
              <a:t>Aiguille stérile pour administration intramusculaire (IM) (p. ex., aiguille de calibre 22-25, longueur de 1 à 1,5 pouce)</a:t>
            </a:r>
          </a:p>
          <a:p>
            <a:pPr rtl="0"/>
            <a:endParaRPr lang="en-US" sz="2400"/>
          </a:p>
          <a:p>
            <a:pPr rtl="0"/>
            <a:r>
              <a:rPr lang="fr" sz="2400">
                <a:solidFill>
                  <a:srgbClr val="1C1D1F"/>
                </a:solidFill>
                <a:cs typeface="Calibri"/>
              </a:rPr>
              <a:t>Pas de données sur l’innocuité de l’administration simultanée d’autres vaccins</a:t>
            </a:r>
            <a:endParaRPr lang="fr" sz="2400">
              <a:solidFill>
                <a:srgbClr val="1C1D1F"/>
              </a:solidFill>
              <a:ea typeface="Calibri"/>
              <a:cs typeface="Calibri"/>
            </a:endParaRPr>
          </a:p>
          <a:p>
            <a:pPr rtl="0"/>
            <a:endParaRPr lang="en-US">
              <a:cs typeface="Calibri"/>
            </a:endParaRPr>
          </a:p>
          <a:p>
            <a:pPr rtl="0"/>
            <a:endParaRPr lang="en-US">
              <a:cs typeface="Calibri"/>
            </a:endParaRPr>
          </a:p>
        </p:txBody>
      </p:sp>
    </p:spTree>
    <p:extLst>
      <p:ext uri="{BB962C8B-B14F-4D97-AF65-F5344CB8AC3E}">
        <p14:creationId xmlns:p14="http://schemas.microsoft.com/office/powerpoint/2010/main" val="1745541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E5CDD-B82C-5C08-ECC8-E043EF39480E}"/>
              </a:ext>
            </a:extLst>
          </p:cNvPr>
          <p:cNvSpPr>
            <a:spLocks noGrp="1"/>
          </p:cNvSpPr>
          <p:nvPr>
            <p:ph type="title"/>
          </p:nvPr>
        </p:nvSpPr>
        <p:spPr/>
        <p:txBody>
          <a:bodyPr rtlCol="0">
            <a:normAutofit/>
          </a:bodyPr>
          <a:lstStyle/>
          <a:p>
            <a:pPr rtl="0"/>
            <a:r>
              <a:rPr lang="fr"/>
              <a:t>Après la vaccination</a:t>
            </a:r>
          </a:p>
        </p:txBody>
      </p:sp>
      <p:sp>
        <p:nvSpPr>
          <p:cNvPr id="3" name="Content Placeholder 2">
            <a:extLst>
              <a:ext uri="{FF2B5EF4-FFF2-40B4-BE49-F238E27FC236}">
                <a16:creationId xmlns:a16="http://schemas.microsoft.com/office/drawing/2014/main" id="{1B056966-79D6-6EB2-B0CB-2AAD9D84C21B}"/>
              </a:ext>
            </a:extLst>
          </p:cNvPr>
          <p:cNvSpPr>
            <a:spLocks noGrp="1"/>
          </p:cNvSpPr>
          <p:nvPr>
            <p:ph idx="1"/>
          </p:nvPr>
        </p:nvSpPr>
        <p:spPr/>
        <p:txBody>
          <a:bodyPr vert="horz" lIns="91440" tIns="45720" rIns="91440" bIns="45720" rtlCol="0" anchor="t">
            <a:normAutofit/>
          </a:bodyPr>
          <a:lstStyle/>
          <a:p>
            <a:pPr rtl="0"/>
            <a:r>
              <a:rPr lang="fr" sz="2400"/>
              <a:t>Des effets secondaires légers sont fréquents et attendus après la vaccination</a:t>
            </a:r>
          </a:p>
          <a:p>
            <a:pPr rtl="0"/>
            <a:endParaRPr lang="en-US" sz="2400"/>
          </a:p>
          <a:p>
            <a:pPr rtl="0"/>
            <a:r>
              <a:rPr lang="fr" sz="2400"/>
              <a:t>Après la vaccination, administrer du paracétamol à une dose allant jusqu’à 15 mg par kg toutes les 6 à 8 heures, avec un maximum de quatre doses en 24 heures, contre les effets secondaires mineurs courants ; il permet de soulager la douleur et de réduire la fièvre</a:t>
            </a:r>
          </a:p>
          <a:p>
            <a:pPr rtl="0"/>
            <a:endParaRPr lang="en-US" sz="2400"/>
          </a:p>
          <a:p>
            <a:pPr rtl="0"/>
            <a:r>
              <a:rPr lang="fr" sz="2400"/>
              <a:t>Il peut être recommandé aux personnes vaccinées de consulter un médecin si les symptômes venaient à durer plus de 24 à 48 heures ou s’ils s’aggravent</a:t>
            </a:r>
          </a:p>
          <a:p>
            <a:pPr rtl="0"/>
            <a:endParaRPr lang="en-US" sz="2400"/>
          </a:p>
          <a:p>
            <a:pPr rtl="0"/>
            <a:r>
              <a:rPr lang="fr" sz="2400"/>
              <a:t>Il n’y a aucun risque de contracter le virus Ebola ou une autre maladie avec ce vaccin</a:t>
            </a:r>
          </a:p>
          <a:p>
            <a:pPr rtl="0"/>
            <a:endParaRPr lang="en-US"/>
          </a:p>
        </p:txBody>
      </p:sp>
    </p:spTree>
    <p:extLst>
      <p:ext uri="{BB962C8B-B14F-4D97-AF65-F5344CB8AC3E}">
        <p14:creationId xmlns:p14="http://schemas.microsoft.com/office/powerpoint/2010/main" val="8420190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05E90B6-335C-B99D-D941-F32B310894C5}"/>
              </a:ext>
            </a:extLst>
          </p:cNvPr>
          <p:cNvSpPr>
            <a:spLocks noGrp="1"/>
          </p:cNvSpPr>
          <p:nvPr>
            <p:ph type="title"/>
          </p:nvPr>
        </p:nvSpPr>
        <p:spPr/>
        <p:txBody>
          <a:bodyPr rtlCol="0">
            <a:normAutofit/>
          </a:bodyPr>
          <a:lstStyle/>
          <a:p>
            <a:pPr rtl="0"/>
            <a:r>
              <a:rPr lang="fr" b="1">
                <a:solidFill>
                  <a:srgbClr val="051291"/>
                </a:solidFill>
              </a:rPr>
              <a:t>Sécurité</a:t>
            </a:r>
            <a:r>
              <a:rPr lang="fr"/>
              <a:t> </a:t>
            </a:r>
            <a:r>
              <a:rPr lang="fr" b="1">
                <a:solidFill>
                  <a:srgbClr val="051291"/>
                </a:solidFill>
              </a:rPr>
              <a:t>: contre-indications et effets secondaires</a:t>
            </a:r>
            <a:endParaRPr lang="en-US">
              <a:solidFill>
                <a:srgbClr val="051291"/>
              </a:solidFill>
            </a:endParaRPr>
          </a:p>
        </p:txBody>
      </p:sp>
      <p:sp>
        <p:nvSpPr>
          <p:cNvPr id="3" name="Content Placeholder 2">
            <a:extLst>
              <a:ext uri="{FF2B5EF4-FFF2-40B4-BE49-F238E27FC236}">
                <a16:creationId xmlns:a16="http://schemas.microsoft.com/office/drawing/2014/main" id="{DE025BE7-AAC7-0C82-CAA1-2CB2DEA4E078}"/>
              </a:ext>
            </a:extLst>
          </p:cNvPr>
          <p:cNvSpPr>
            <a:spLocks noGrp="1"/>
          </p:cNvSpPr>
          <p:nvPr>
            <p:ph idx="1"/>
          </p:nvPr>
        </p:nvSpPr>
        <p:spPr/>
        <p:txBody>
          <a:bodyPr vert="horz" lIns="90000" tIns="45720" rIns="91440" bIns="45720" rtlCol="0" anchor="t">
            <a:noAutofit/>
          </a:bodyPr>
          <a:lstStyle/>
          <a:p>
            <a:pPr marL="0" indent="0" rtl="0">
              <a:lnSpc>
                <a:spcPct val="100000"/>
              </a:lnSpc>
              <a:spcBef>
                <a:spcPts val="0"/>
              </a:spcBef>
              <a:spcAft>
                <a:spcPts val="0"/>
              </a:spcAft>
              <a:buNone/>
            </a:pPr>
            <a:endParaRPr lang="en-AU" sz="2400">
              <a:solidFill>
                <a:schemeClr val="tx1"/>
              </a:solidFill>
            </a:endParaRPr>
          </a:p>
          <a:p>
            <a:pPr marL="0" indent="0" rtl="0">
              <a:lnSpc>
                <a:spcPct val="100000"/>
              </a:lnSpc>
              <a:spcBef>
                <a:spcPts val="0"/>
              </a:spcBef>
              <a:spcAft>
                <a:spcPts val="0"/>
              </a:spcAft>
              <a:buNone/>
            </a:pPr>
            <a:r>
              <a:rPr lang="fr" sz="2400">
                <a:cs typeface="Calibri" panose="020F0502020204030204" pitchFamily="34" charset="0"/>
              </a:rPr>
              <a:t>Les effets secondaires surviennent généralement dans les 24 heures suivant la vaccination et s’estompent souvent après 1 à 2 jours</a:t>
            </a:r>
            <a:endParaRPr lang="fr-FR" sz="2400">
              <a:cs typeface="Calibri" panose="020F0502020204030204" pitchFamily="34" charset="0"/>
            </a:endParaRPr>
          </a:p>
          <a:p>
            <a:pPr marL="0" indent="0" rtl="0">
              <a:lnSpc>
                <a:spcPct val="100000"/>
              </a:lnSpc>
              <a:spcBef>
                <a:spcPts val="0"/>
              </a:spcBef>
              <a:spcAft>
                <a:spcPts val="0"/>
              </a:spcAft>
              <a:buNone/>
            </a:pPr>
            <a:endParaRPr lang="en-AU" sz="2400">
              <a:solidFill>
                <a:schemeClr val="tx1"/>
              </a:solidFill>
            </a:endParaRPr>
          </a:p>
          <a:p>
            <a:pPr marL="0" indent="0" rtl="0">
              <a:lnSpc>
                <a:spcPct val="100000"/>
              </a:lnSpc>
              <a:spcBef>
                <a:spcPts val="0"/>
              </a:spcBef>
              <a:spcAft>
                <a:spcPts val="0"/>
              </a:spcAft>
              <a:buClr>
                <a:schemeClr val="accent1"/>
              </a:buClr>
              <a:buNone/>
            </a:pPr>
            <a:endParaRPr lang="en-AU" sz="1800">
              <a:solidFill>
                <a:schemeClr val="tx1"/>
              </a:solidFill>
              <a:latin typeface="Calibri" panose="020F0502020204030204" pitchFamily="34" charset="0"/>
              <a:cs typeface="Calibri" panose="020F0502020204030204" pitchFamily="34" charset="0"/>
            </a:endParaRPr>
          </a:p>
          <a:p>
            <a:pPr rtl="0">
              <a:buClr>
                <a:schemeClr val="accent1"/>
              </a:buClr>
            </a:pPr>
            <a:endParaRPr lang="en-AU" sz="2400">
              <a:ea typeface="Calibri"/>
              <a:cs typeface="Calibri"/>
            </a:endParaRPr>
          </a:p>
        </p:txBody>
      </p:sp>
      <p:pic>
        <p:nvPicPr>
          <p:cNvPr id="5" name="Picture 2">
            <a:extLst>
              <a:ext uri="{FF2B5EF4-FFF2-40B4-BE49-F238E27FC236}">
                <a16:creationId xmlns:a16="http://schemas.microsoft.com/office/drawing/2014/main" id="{32D5DFDB-9C0C-4C47-A7B3-0E369AD6D6F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006" t="32201" r="52801" b="36551"/>
          <a:stretch/>
        </p:blipFill>
        <p:spPr bwMode="auto">
          <a:xfrm>
            <a:off x="581026" y="2673343"/>
            <a:ext cx="5173960" cy="22018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a16="http://schemas.microsoft.com/office/drawing/2014/main" id="{A17B3DF9-E872-4381-A34C-B8A83923208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060" b="2271"/>
          <a:stretch/>
        </p:blipFill>
        <p:spPr bwMode="auto">
          <a:xfrm>
            <a:off x="6236449" y="2673343"/>
            <a:ext cx="5285406" cy="220187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E23FA82-D0A9-4DDC-B2A9-45F20C0F2975}"/>
              </a:ext>
            </a:extLst>
          </p:cNvPr>
          <p:cNvSpPr txBox="1"/>
          <p:nvPr/>
        </p:nvSpPr>
        <p:spPr>
          <a:xfrm>
            <a:off x="523875" y="5003435"/>
            <a:ext cx="10826780" cy="830997"/>
          </a:xfrm>
          <a:prstGeom prst="rect">
            <a:avLst/>
          </a:prstGeom>
          <a:noFill/>
        </p:spPr>
        <p:txBody>
          <a:bodyPr wrap="square" rtlCol="0">
            <a:spAutoFit/>
          </a:bodyPr>
          <a:lstStyle/>
          <a:p>
            <a:pPr marL="0" indent="0" rtl="0">
              <a:lnSpc>
                <a:spcPct val="100000"/>
              </a:lnSpc>
              <a:spcBef>
                <a:spcPts val="0"/>
              </a:spcBef>
              <a:buNone/>
            </a:pPr>
            <a:r>
              <a:rPr lang="fr" sz="2400">
                <a:ea typeface="+mn-lt"/>
              </a:rPr>
              <a:t>Contre-indication : réaction allergique grave (p. ex. anaphylactique) à l’un des composants du vaccin ERVEBO®</a:t>
            </a:r>
            <a:endParaRPr lang="en-AU" sz="2400">
              <a:cs typeface="Calibri"/>
            </a:endParaRPr>
          </a:p>
        </p:txBody>
      </p:sp>
    </p:spTree>
    <p:extLst>
      <p:ext uri="{BB962C8B-B14F-4D97-AF65-F5344CB8AC3E}">
        <p14:creationId xmlns:p14="http://schemas.microsoft.com/office/powerpoint/2010/main" val="451223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045B2-F517-F508-1957-EAB9DFB439E4}"/>
              </a:ext>
            </a:extLst>
          </p:cNvPr>
          <p:cNvSpPr>
            <a:spLocks noGrp="1"/>
          </p:cNvSpPr>
          <p:nvPr>
            <p:ph type="title"/>
          </p:nvPr>
        </p:nvSpPr>
        <p:spPr/>
        <p:txBody>
          <a:bodyPr rtlCol="0">
            <a:normAutofit/>
          </a:bodyPr>
          <a:lstStyle/>
          <a:p>
            <a:pPr rtl="0"/>
            <a:r>
              <a:rPr lang="fr" b="1">
                <a:solidFill>
                  <a:srgbClr val="051291"/>
                </a:solidFill>
              </a:rPr>
              <a:t>Maladie à virus Ebola</a:t>
            </a:r>
          </a:p>
        </p:txBody>
      </p:sp>
      <p:sp>
        <p:nvSpPr>
          <p:cNvPr id="3" name="Content Placeholder 2">
            <a:extLst>
              <a:ext uri="{FF2B5EF4-FFF2-40B4-BE49-F238E27FC236}">
                <a16:creationId xmlns:a16="http://schemas.microsoft.com/office/drawing/2014/main" id="{105E06EF-6865-64A0-A927-CF270366D5A3}"/>
              </a:ext>
            </a:extLst>
          </p:cNvPr>
          <p:cNvSpPr>
            <a:spLocks noGrp="1"/>
          </p:cNvSpPr>
          <p:nvPr>
            <p:ph idx="1"/>
          </p:nvPr>
        </p:nvSpPr>
        <p:spPr>
          <a:xfrm>
            <a:off x="523875" y="1371600"/>
            <a:ext cx="6897857" cy="4805363"/>
          </a:xfrm>
        </p:spPr>
        <p:txBody>
          <a:bodyPr vert="horz" lIns="91440" tIns="45720" rIns="91440" bIns="45720" rtlCol="0" anchor="t">
            <a:normAutofit/>
          </a:bodyPr>
          <a:lstStyle/>
          <a:p>
            <a:pPr marL="0" indent="0" algn="l" rtl="0">
              <a:buNone/>
            </a:pPr>
            <a:r>
              <a:rPr lang="fr" sz="2400" b="0" i="0">
                <a:solidFill>
                  <a:srgbClr val="000000"/>
                </a:solidFill>
                <a:effectLst/>
              </a:rPr>
              <a:t>Il existe quatre </a:t>
            </a:r>
            <a:r>
              <a:rPr lang="fr" sz="2400" b="0" i="0">
                <a:solidFill>
                  <a:srgbClr val="1C1D1F"/>
                </a:solidFill>
                <a:effectLst/>
              </a:rPr>
              <a:t>espèces de virus Ebola </a:t>
            </a:r>
            <a:r>
              <a:rPr lang="fr" sz="2400" b="0" i="0">
                <a:solidFill>
                  <a:srgbClr val="000000"/>
                </a:solidFill>
                <a:effectLst/>
              </a:rPr>
              <a:t>qui provoquent la maladie chez l’homme :</a:t>
            </a:r>
          </a:p>
          <a:p>
            <a:pPr lvl="1"/>
            <a:r>
              <a:rPr lang="fr">
                <a:solidFill>
                  <a:srgbClr val="0070C0"/>
                </a:solidFill>
                <a:ea typeface="Calibri"/>
                <a:cs typeface="Calibri"/>
              </a:rPr>
              <a:t>Le virus Ebola</a:t>
            </a:r>
            <a:r>
              <a:rPr lang="fr">
                <a:solidFill>
                  <a:srgbClr val="000000"/>
                </a:solidFill>
                <a:ea typeface="Calibri"/>
                <a:cs typeface="Calibri"/>
              </a:rPr>
              <a:t> (espèce</a:t>
            </a:r>
            <a:r>
              <a:rPr lang="fr">
                <a:solidFill>
                  <a:srgbClr val="1C1D1F"/>
                </a:solidFill>
                <a:ea typeface="Calibri"/>
                <a:cs typeface="Calibri"/>
              </a:rPr>
              <a:t> </a:t>
            </a:r>
            <a:r>
              <a:rPr lang="fr" err="1">
                <a:solidFill>
                  <a:srgbClr val="000000"/>
                </a:solidFill>
                <a:ea typeface="Calibri"/>
                <a:cs typeface="Calibri"/>
              </a:rPr>
              <a:t>ebolavirus</a:t>
            </a:r>
            <a:r>
              <a:rPr lang="fr">
                <a:solidFill>
                  <a:srgbClr val="000000"/>
                </a:solidFill>
                <a:ea typeface="Calibri"/>
                <a:cs typeface="Calibri"/>
              </a:rPr>
              <a:t> Zaïre) provoque la maladie à virus Ebola (MVE)</a:t>
            </a:r>
            <a:endParaRPr lang="fr">
              <a:solidFill>
                <a:srgbClr val="0070C0"/>
              </a:solidFill>
            </a:endParaRPr>
          </a:p>
          <a:p>
            <a:pPr lvl="1"/>
            <a:r>
              <a:rPr lang="fr" b="0" i="0">
                <a:solidFill>
                  <a:srgbClr val="0070C0"/>
                </a:solidFill>
                <a:effectLst/>
              </a:rPr>
              <a:t>Le virus Soudan </a:t>
            </a:r>
            <a:r>
              <a:rPr lang="fr" b="0" i="0">
                <a:solidFill>
                  <a:srgbClr val="000000"/>
                </a:solidFill>
                <a:effectLst/>
              </a:rPr>
              <a:t>(espèce </a:t>
            </a:r>
            <a:r>
              <a:rPr lang="fr" b="0" i="0" err="1">
                <a:solidFill>
                  <a:srgbClr val="000000"/>
                </a:solidFill>
                <a:effectLst/>
              </a:rPr>
              <a:t>ebolavirus</a:t>
            </a:r>
            <a:r>
              <a:rPr lang="fr" b="0" i="0">
                <a:solidFill>
                  <a:srgbClr val="000000"/>
                </a:solidFill>
                <a:effectLst/>
              </a:rPr>
              <a:t> Soudan</a:t>
            </a:r>
            <a:r>
              <a:rPr lang="fr" b="0" i="1">
                <a:solidFill>
                  <a:srgbClr val="1C1D1F"/>
                </a:solidFill>
                <a:effectLst/>
              </a:rPr>
              <a:t>) provoque la maladie à virus Ebola causée par le virus Soudan</a:t>
            </a:r>
            <a:endParaRPr lang="fr"/>
          </a:p>
          <a:p>
            <a:pPr lvl="1" rtl="0"/>
            <a:r>
              <a:rPr lang="fr" b="0" i="0">
                <a:solidFill>
                  <a:srgbClr val="0070C0"/>
                </a:solidFill>
                <a:effectLst/>
              </a:rPr>
              <a:t>Le virus de la Forêt de </a:t>
            </a:r>
            <a:r>
              <a:rPr lang="fr" b="0" i="0" err="1">
                <a:solidFill>
                  <a:srgbClr val="0070C0"/>
                </a:solidFill>
                <a:effectLst/>
              </a:rPr>
              <a:t>Taï</a:t>
            </a:r>
            <a:r>
              <a:rPr lang="fr" b="0" i="0">
                <a:solidFill>
                  <a:srgbClr val="000000"/>
                </a:solidFill>
                <a:effectLst/>
              </a:rPr>
              <a:t> (espèce </a:t>
            </a:r>
            <a:r>
              <a:rPr lang="fr" b="0" i="0" err="1">
                <a:solidFill>
                  <a:srgbClr val="000000"/>
                </a:solidFill>
                <a:effectLst/>
              </a:rPr>
              <a:t>ebolavirus</a:t>
            </a:r>
            <a:r>
              <a:rPr lang="fr" b="0" i="0">
                <a:solidFill>
                  <a:srgbClr val="000000"/>
                </a:solidFill>
                <a:effectLst/>
              </a:rPr>
              <a:t> Forêt de </a:t>
            </a:r>
            <a:r>
              <a:rPr lang="fr" b="0" i="0" err="1">
                <a:solidFill>
                  <a:srgbClr val="000000"/>
                </a:solidFill>
                <a:effectLst/>
              </a:rPr>
              <a:t>Taï</a:t>
            </a:r>
            <a:r>
              <a:rPr lang="fr" b="0" i="1">
                <a:solidFill>
                  <a:srgbClr val="1C1D1F"/>
                </a:solidFill>
                <a:effectLst/>
              </a:rPr>
              <a:t>) provoque la maladie à virus Ebola de la Forêt de </a:t>
            </a:r>
            <a:r>
              <a:rPr lang="fr" b="0" i="1" err="1">
                <a:solidFill>
                  <a:srgbClr val="1C1D1F"/>
                </a:solidFill>
                <a:effectLst/>
              </a:rPr>
              <a:t>Taï</a:t>
            </a:r>
            <a:endParaRPr lang="fr" b="0" i="1" err="1">
              <a:solidFill>
                <a:srgbClr val="1C1D1F"/>
              </a:solidFill>
              <a:effectLst/>
              <a:ea typeface="Calibri"/>
              <a:cs typeface="Calibri"/>
            </a:endParaRPr>
          </a:p>
          <a:p>
            <a:pPr lvl="1" rtl="0"/>
            <a:r>
              <a:rPr lang="fr" b="0" i="0">
                <a:solidFill>
                  <a:srgbClr val="0070C0"/>
                </a:solidFill>
                <a:effectLst/>
              </a:rPr>
              <a:t>Le virus </a:t>
            </a:r>
            <a:r>
              <a:rPr lang="fr" b="0" i="0" err="1">
                <a:solidFill>
                  <a:srgbClr val="0070C0"/>
                </a:solidFill>
                <a:effectLst/>
              </a:rPr>
              <a:t>Bundibugyo</a:t>
            </a:r>
            <a:r>
              <a:rPr lang="fr" b="0" i="0">
                <a:solidFill>
                  <a:srgbClr val="000000"/>
                </a:solidFill>
                <a:effectLst/>
              </a:rPr>
              <a:t> (espèce </a:t>
            </a:r>
            <a:r>
              <a:rPr lang="fr" b="0" i="0" err="1">
                <a:solidFill>
                  <a:srgbClr val="000000"/>
                </a:solidFill>
                <a:effectLst/>
              </a:rPr>
              <a:t>ebolavirus</a:t>
            </a:r>
            <a:r>
              <a:rPr lang="fr" b="0" i="0">
                <a:solidFill>
                  <a:srgbClr val="000000"/>
                </a:solidFill>
                <a:effectLst/>
              </a:rPr>
              <a:t> </a:t>
            </a:r>
            <a:r>
              <a:rPr lang="fr" b="0" i="0" err="1">
                <a:solidFill>
                  <a:srgbClr val="000000"/>
                </a:solidFill>
                <a:effectLst/>
              </a:rPr>
              <a:t>Bundibugyo</a:t>
            </a:r>
            <a:r>
              <a:rPr lang="fr" b="0" i="1">
                <a:solidFill>
                  <a:srgbClr val="1C1D1F"/>
                </a:solidFill>
                <a:effectLst/>
              </a:rPr>
              <a:t>) provoque la maladie à virus Ebola </a:t>
            </a:r>
            <a:r>
              <a:rPr lang="fr" b="0" i="1" err="1">
                <a:solidFill>
                  <a:srgbClr val="1C1D1F"/>
                </a:solidFill>
                <a:effectLst/>
              </a:rPr>
              <a:t>Bundibugyo</a:t>
            </a:r>
            <a:endParaRPr lang="fr" b="0" i="1" err="1">
              <a:solidFill>
                <a:srgbClr val="1C1D1F"/>
              </a:solidFill>
              <a:effectLst/>
              <a:ea typeface="Calibri"/>
              <a:cs typeface="Calibri"/>
            </a:endParaRPr>
          </a:p>
          <a:p>
            <a:pPr rtl="0"/>
            <a:endParaRPr lang="en-US" b="0" i="0">
              <a:effectLst/>
              <a:ea typeface="Calibri"/>
              <a:cs typeface="Calibri"/>
            </a:endParaRPr>
          </a:p>
        </p:txBody>
      </p:sp>
      <p:sp>
        <p:nvSpPr>
          <p:cNvPr id="5" name="TextBox 4">
            <a:extLst>
              <a:ext uri="{FF2B5EF4-FFF2-40B4-BE49-F238E27FC236}">
                <a16:creationId xmlns:a16="http://schemas.microsoft.com/office/drawing/2014/main" id="{94B4077B-2941-4155-981B-688AE74E0B31}"/>
              </a:ext>
            </a:extLst>
          </p:cNvPr>
          <p:cNvSpPr txBox="1"/>
          <p:nvPr/>
        </p:nvSpPr>
        <p:spPr>
          <a:xfrm>
            <a:off x="289458" y="6179209"/>
            <a:ext cx="10251506" cy="400110"/>
          </a:xfrm>
          <a:prstGeom prst="rect">
            <a:avLst/>
          </a:prstGeom>
          <a:noFill/>
        </p:spPr>
        <p:txBody>
          <a:bodyPr wrap="square" rtlCol="0">
            <a:spAutoFit/>
          </a:bodyPr>
          <a:lstStyle/>
          <a:p>
            <a:pPr rtl="0"/>
            <a:r>
              <a:rPr lang="fr" sz="2000"/>
              <a:t>La majorité des flambées épidémiques sont causées par le </a:t>
            </a:r>
            <a:r>
              <a:rPr lang="fr" sz="2000" b="1"/>
              <a:t>virus Ebola ou MVE</a:t>
            </a:r>
          </a:p>
        </p:txBody>
      </p:sp>
      <p:pic>
        <p:nvPicPr>
          <p:cNvPr id="4" name="Picture 3" descr="A close-up of a microscopic view of a virus&#10;&#10;Description automatically generated">
            <a:extLst>
              <a:ext uri="{FF2B5EF4-FFF2-40B4-BE49-F238E27FC236}">
                <a16:creationId xmlns:a16="http://schemas.microsoft.com/office/drawing/2014/main" id="{5746C22B-36C9-29AF-BADD-D55373041E6B}"/>
              </a:ext>
            </a:extLst>
          </p:cNvPr>
          <p:cNvPicPr>
            <a:picLocks noChangeAspect="1"/>
          </p:cNvPicPr>
          <p:nvPr/>
        </p:nvPicPr>
        <p:blipFill>
          <a:blip r:embed="rId3"/>
          <a:stretch>
            <a:fillRect/>
          </a:stretch>
        </p:blipFill>
        <p:spPr>
          <a:xfrm>
            <a:off x="7666263" y="2184966"/>
            <a:ext cx="3493697" cy="2488067"/>
          </a:xfrm>
          <a:prstGeom prst="rect">
            <a:avLst/>
          </a:prstGeom>
        </p:spPr>
      </p:pic>
    </p:spTree>
    <p:extLst>
      <p:ext uri="{BB962C8B-B14F-4D97-AF65-F5344CB8AC3E}">
        <p14:creationId xmlns:p14="http://schemas.microsoft.com/office/powerpoint/2010/main" val="9907437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05E90B6-335C-B99D-D941-F32B310894C5}"/>
              </a:ext>
            </a:extLst>
          </p:cNvPr>
          <p:cNvSpPr>
            <a:spLocks noGrp="1"/>
          </p:cNvSpPr>
          <p:nvPr>
            <p:ph type="title"/>
          </p:nvPr>
        </p:nvSpPr>
        <p:spPr/>
        <p:txBody>
          <a:bodyPr rtlCol="0">
            <a:normAutofit/>
          </a:bodyPr>
          <a:lstStyle/>
          <a:p>
            <a:pPr rtl="0"/>
            <a:r>
              <a:rPr lang="fr" b="1">
                <a:solidFill>
                  <a:srgbClr val="051291"/>
                </a:solidFill>
              </a:rPr>
              <a:t>Femmes enceintes ou allaitantes</a:t>
            </a:r>
            <a:endParaRPr lang="en-US">
              <a:solidFill>
                <a:srgbClr val="051291"/>
              </a:solidFill>
            </a:endParaRPr>
          </a:p>
        </p:txBody>
      </p:sp>
      <p:sp>
        <p:nvSpPr>
          <p:cNvPr id="3" name="Content Placeholder 2">
            <a:extLst>
              <a:ext uri="{FF2B5EF4-FFF2-40B4-BE49-F238E27FC236}">
                <a16:creationId xmlns:a16="http://schemas.microsoft.com/office/drawing/2014/main" id="{DE025BE7-AAC7-0C82-CAA1-2CB2DEA4E078}"/>
              </a:ext>
            </a:extLst>
          </p:cNvPr>
          <p:cNvSpPr>
            <a:spLocks noGrp="1"/>
          </p:cNvSpPr>
          <p:nvPr>
            <p:ph idx="1"/>
          </p:nvPr>
        </p:nvSpPr>
        <p:spPr/>
        <p:txBody>
          <a:bodyPr vert="horz" lIns="90000" tIns="45720" rIns="91440" bIns="45720" rtlCol="0" anchor="t">
            <a:noAutofit/>
          </a:bodyPr>
          <a:lstStyle/>
          <a:p>
            <a:pPr rtl="0">
              <a:lnSpc>
                <a:spcPct val="100000"/>
              </a:lnSpc>
              <a:spcBef>
                <a:spcPts val="0"/>
              </a:spcBef>
              <a:spcAft>
                <a:spcPts val="0"/>
              </a:spcAft>
            </a:pPr>
            <a:r>
              <a:rPr lang="fr" sz="2400" dirty="0"/>
              <a:t>Le Groupe scientifique consultatif d’experts sur la vaccination (SAGE) a recommandé une utilisation« </a:t>
            </a:r>
            <a:r>
              <a:rPr lang="fr" sz="2400" u="sng" dirty="0"/>
              <a:t>hors indications officielles</a:t>
            </a:r>
            <a:r>
              <a:rPr lang="fr" sz="2400" dirty="0"/>
              <a:t> »</a:t>
            </a:r>
            <a:r>
              <a:rPr lang="fr" sz="2400" dirty="0">
                <a:ea typeface="+mn-lt"/>
              </a:rPr>
              <a:t> dans des situations d’épidémie pour les</a:t>
            </a:r>
            <a:r>
              <a:rPr lang="fr" sz="2400" dirty="0"/>
              <a:t> :</a:t>
            </a:r>
          </a:p>
          <a:p>
            <a:pPr lvl="1">
              <a:lnSpc>
                <a:spcPct val="100000"/>
              </a:lnSpc>
            </a:pPr>
            <a:r>
              <a:rPr lang="fr" dirty="0"/>
              <a:t>Enfants âgés de zéro à 1 an</a:t>
            </a:r>
            <a:endParaRPr lang="en-AU" strike="sngStrike" dirty="0">
              <a:ea typeface="Calibri"/>
              <a:cs typeface="Calibri"/>
            </a:endParaRPr>
          </a:p>
          <a:p>
            <a:pPr lvl="1" rtl="0">
              <a:lnSpc>
                <a:spcPct val="100000"/>
              </a:lnSpc>
            </a:pPr>
            <a:r>
              <a:rPr lang="fr" b="1" dirty="0"/>
              <a:t>Femmes </a:t>
            </a:r>
            <a:r>
              <a:rPr lang="fr" dirty="0"/>
              <a:t>enceintes</a:t>
            </a:r>
            <a:r>
              <a:rPr lang="fr" b="1" dirty="0"/>
              <a:t> et </a:t>
            </a:r>
            <a:r>
              <a:rPr lang="fr" dirty="0"/>
              <a:t>allaitantes</a:t>
            </a:r>
            <a:endParaRPr lang="fr" dirty="0">
              <a:ea typeface="Calibri"/>
              <a:cs typeface="Calibri"/>
            </a:endParaRPr>
          </a:p>
          <a:p>
            <a:pPr lvl="1" rtl="0">
              <a:lnSpc>
                <a:spcPct val="100000"/>
              </a:lnSpc>
            </a:pPr>
            <a:endParaRPr lang="en-AU">
              <a:solidFill>
                <a:schemeClr val="tx1"/>
              </a:solidFill>
              <a:ea typeface="Calibri"/>
            </a:endParaRPr>
          </a:p>
          <a:p>
            <a:pPr rtl="0">
              <a:lnSpc>
                <a:spcPct val="100000"/>
              </a:lnSpc>
              <a:spcBef>
                <a:spcPts val="0"/>
              </a:spcBef>
              <a:spcAft>
                <a:spcPts val="0"/>
              </a:spcAft>
            </a:pPr>
            <a:r>
              <a:rPr lang="fr" sz="2400" dirty="0"/>
              <a:t>Une autorisation officielle « hors indications officielles » est requise au niveau du pays pour ces sous-populations</a:t>
            </a:r>
            <a:endParaRPr lang="fr" sz="2400" dirty="0">
              <a:ea typeface="Calibri"/>
              <a:cs typeface="Calibri"/>
            </a:endParaRPr>
          </a:p>
          <a:p>
            <a:pPr rtl="0">
              <a:lnSpc>
                <a:spcPct val="100000"/>
              </a:lnSpc>
              <a:spcBef>
                <a:spcPts val="0"/>
              </a:spcBef>
              <a:spcAft>
                <a:spcPts val="0"/>
              </a:spcAft>
            </a:pPr>
            <a:endParaRPr lang="en-AU" sz="2400" b="1">
              <a:solidFill>
                <a:schemeClr val="tx1"/>
              </a:solidFill>
              <a:ea typeface="+mn-lt"/>
            </a:endParaRPr>
          </a:p>
          <a:p>
            <a:pPr rtl="0">
              <a:lnSpc>
                <a:spcPct val="100000"/>
              </a:lnSpc>
              <a:spcBef>
                <a:spcPts val="0"/>
              </a:spcBef>
              <a:spcAft>
                <a:spcPts val="0"/>
              </a:spcAft>
            </a:pPr>
            <a:endParaRPr lang="en-AU" sz="2000" b="1">
              <a:solidFill>
                <a:schemeClr val="tx1"/>
              </a:solidFill>
              <a:ea typeface="+mn-lt"/>
            </a:endParaRPr>
          </a:p>
          <a:p>
            <a:pPr rtl="0">
              <a:lnSpc>
                <a:spcPct val="100000"/>
              </a:lnSpc>
              <a:spcBef>
                <a:spcPts val="0"/>
              </a:spcBef>
              <a:spcAft>
                <a:spcPts val="0"/>
              </a:spcAft>
            </a:pPr>
            <a:r>
              <a:rPr lang="fr" sz="2400" dirty="0">
                <a:ea typeface="+mn-lt"/>
              </a:rPr>
              <a:t>Aucun signal de sécurité n’a été identifié lors d’une utilisation compassionnelle/ dans le cadre d’un protocole d’accès élargi en RDC</a:t>
            </a:r>
            <a:endParaRPr lang="en-AU" sz="2400" dirty="0">
              <a:solidFill>
                <a:schemeClr val="tx1"/>
              </a:solidFill>
              <a:ea typeface="+mn-lt"/>
            </a:endParaRPr>
          </a:p>
          <a:p>
            <a:pPr rtl="0">
              <a:buClr>
                <a:schemeClr val="accent1"/>
              </a:buClr>
            </a:pPr>
            <a:endParaRPr lang="en-AU" sz="2400">
              <a:ea typeface="Calibri"/>
              <a:cs typeface="Calibri"/>
            </a:endParaRPr>
          </a:p>
        </p:txBody>
      </p:sp>
    </p:spTree>
    <p:extLst>
      <p:ext uri="{BB962C8B-B14F-4D97-AF65-F5344CB8AC3E}">
        <p14:creationId xmlns:p14="http://schemas.microsoft.com/office/powerpoint/2010/main" val="1161321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B006F-EAAF-4530-85F3-96715A764AC0}"/>
              </a:ext>
            </a:extLst>
          </p:cNvPr>
          <p:cNvSpPr>
            <a:spLocks noGrp="1"/>
          </p:cNvSpPr>
          <p:nvPr>
            <p:ph type="title"/>
          </p:nvPr>
        </p:nvSpPr>
        <p:spPr>
          <a:xfrm>
            <a:off x="100644" y="984"/>
            <a:ext cx="11039475" cy="692150"/>
          </a:xfrm>
        </p:spPr>
        <p:txBody>
          <a:bodyPr rtlCol="0"/>
          <a:lstStyle/>
          <a:p>
            <a:pPr rtl="0"/>
            <a:r>
              <a:rPr lang="fr"/>
              <a:t>Caractéristiques et considérations relatives aux vaccins</a:t>
            </a:r>
          </a:p>
        </p:txBody>
      </p:sp>
      <p:graphicFrame>
        <p:nvGraphicFramePr>
          <p:cNvPr id="4" name="Table 4">
            <a:extLst>
              <a:ext uri="{FF2B5EF4-FFF2-40B4-BE49-F238E27FC236}">
                <a16:creationId xmlns:a16="http://schemas.microsoft.com/office/drawing/2014/main" id="{FB42ED14-6EC2-478D-A926-8D393882D9E7}"/>
              </a:ext>
            </a:extLst>
          </p:cNvPr>
          <p:cNvGraphicFramePr>
            <a:graphicFrameLocks noGrp="1"/>
          </p:cNvGraphicFramePr>
          <p:nvPr>
            <p:ph idx="1"/>
            <p:extLst>
              <p:ext uri="{D42A27DB-BD31-4B8C-83A1-F6EECF244321}">
                <p14:modId xmlns:p14="http://schemas.microsoft.com/office/powerpoint/2010/main" val="3757660064"/>
              </p:ext>
            </p:extLst>
          </p:nvPr>
        </p:nvGraphicFramePr>
        <p:xfrm>
          <a:off x="320737" y="678552"/>
          <a:ext cx="11269209" cy="5696459"/>
        </p:xfrm>
        <a:graphic>
          <a:graphicData uri="http://schemas.openxmlformats.org/drawingml/2006/table">
            <a:tbl>
              <a:tblPr firstRow="1" bandRow="1">
                <a:tableStyleId>{93296810-A885-4BE3-A3E7-6D5BEEA58F35}</a:tableStyleId>
              </a:tblPr>
              <a:tblGrid>
                <a:gridCol w="1698156">
                  <a:extLst>
                    <a:ext uri="{9D8B030D-6E8A-4147-A177-3AD203B41FA5}">
                      <a16:colId xmlns:a16="http://schemas.microsoft.com/office/drawing/2014/main" val="246105240"/>
                    </a:ext>
                  </a:extLst>
                </a:gridCol>
                <a:gridCol w="4785273">
                  <a:extLst>
                    <a:ext uri="{9D8B030D-6E8A-4147-A177-3AD203B41FA5}">
                      <a16:colId xmlns:a16="http://schemas.microsoft.com/office/drawing/2014/main" val="3423946876"/>
                    </a:ext>
                  </a:extLst>
                </a:gridCol>
                <a:gridCol w="4785780">
                  <a:extLst>
                    <a:ext uri="{9D8B030D-6E8A-4147-A177-3AD203B41FA5}">
                      <a16:colId xmlns:a16="http://schemas.microsoft.com/office/drawing/2014/main" val="1257272236"/>
                    </a:ext>
                  </a:extLst>
                </a:gridCol>
              </a:tblGrid>
              <a:tr h="356028">
                <a:tc>
                  <a:txBody>
                    <a:bodyPr/>
                    <a:lstStyle/>
                    <a:p>
                      <a:pPr rtl="0"/>
                      <a:endParaRPr lang="en-US" sz="1400">
                        <a:latin typeface="+mn-lt"/>
                      </a:endParaRPr>
                    </a:p>
                  </a:txBody>
                  <a:tcPr/>
                </a:tc>
                <a:tc>
                  <a:txBody>
                    <a:bodyPr/>
                    <a:lstStyle/>
                    <a:p>
                      <a:pPr rtl="0"/>
                      <a:r>
                        <a:rPr lang="fr" sz="1400" dirty="0" err="1"/>
                        <a:t>rVSV</a:t>
                      </a:r>
                      <a:r>
                        <a:rPr lang="fr" sz="1400" dirty="0"/>
                        <a:t>-ZEBOV (ERVEBO)</a:t>
                      </a:r>
                      <a:endParaRPr lang="en-US" sz="1400" dirty="0">
                        <a:latin typeface="+mn-lt"/>
                      </a:endParaRPr>
                    </a:p>
                  </a:txBody>
                  <a:tcPr/>
                </a:tc>
                <a:tc>
                  <a:txBody>
                    <a:bodyPr/>
                    <a:lstStyle/>
                    <a:p>
                      <a:pPr rtl="0"/>
                      <a:r>
                        <a:rPr lang="fr" sz="1400" dirty="0"/>
                        <a:t>Ad26.ZEBOV/MVA-BN-</a:t>
                      </a:r>
                      <a:r>
                        <a:rPr lang="fr" sz="1400" dirty="0" err="1"/>
                        <a:t>Filo</a:t>
                      </a:r>
                      <a:r>
                        <a:rPr lang="fr" sz="1400" dirty="0"/>
                        <a:t> (</a:t>
                      </a:r>
                      <a:r>
                        <a:rPr lang="fr" sz="1400" b="1" dirty="0" err="1"/>
                        <a:t>Zabdeno</a:t>
                      </a:r>
                      <a:r>
                        <a:rPr lang="fr" sz="1400" b="1" dirty="0"/>
                        <a:t>/</a:t>
                      </a:r>
                      <a:r>
                        <a:rPr lang="fr" sz="1400" b="1" dirty="0" err="1"/>
                        <a:t>Mvabea</a:t>
                      </a:r>
                      <a:r>
                        <a:rPr lang="fr" sz="1400" b="1" dirty="0"/>
                        <a:t>)</a:t>
                      </a:r>
                      <a:endParaRPr lang="en-US" sz="1400" dirty="0">
                        <a:latin typeface="+mn-lt"/>
                      </a:endParaRPr>
                    </a:p>
                  </a:txBody>
                  <a:tcPr/>
                </a:tc>
                <a:extLst>
                  <a:ext uri="{0D108BD9-81ED-4DB2-BD59-A6C34878D82A}">
                    <a16:rowId xmlns:a16="http://schemas.microsoft.com/office/drawing/2014/main" val="3359681042"/>
                  </a:ext>
                </a:extLst>
              </a:tr>
              <a:tr h="847104">
                <a:tc>
                  <a:txBody>
                    <a:bodyPr/>
                    <a:lstStyle/>
                    <a:p>
                      <a:pPr rtl="0"/>
                      <a:r>
                        <a:rPr lang="fr" sz="1400" b="1" dirty="0"/>
                        <a:t>Statut réglementaire</a:t>
                      </a:r>
                      <a:endParaRPr lang="en-US" sz="1400" b="1" dirty="0">
                        <a:latin typeface="+mn-lt"/>
                      </a:endParaRPr>
                    </a:p>
                  </a:txBody>
                  <a:tcPr/>
                </a:tc>
                <a:tc>
                  <a:txBody>
                    <a:bodyPr/>
                    <a:lstStyle/>
                    <a:p>
                      <a:pPr rtl="0"/>
                      <a:r>
                        <a:rPr lang="fr" sz="1400" dirty="0"/>
                        <a:t>Agréé par la FDA, l’EMA, le Programme de préqualification de l’OMS</a:t>
                      </a:r>
                    </a:p>
                    <a:p>
                      <a:pPr rtl="0"/>
                      <a:r>
                        <a:rPr lang="fr" sz="1400" dirty="0">
                          <a:latin typeface="+mn-lt"/>
                        </a:rPr>
                        <a:t>&gt; 500 000 personnes vaccinées dans le monde</a:t>
                      </a:r>
                    </a:p>
                  </a:txBody>
                  <a:tcPr/>
                </a:tc>
                <a:tc>
                  <a:txBody>
                    <a:bodyPr/>
                    <a:lstStyle/>
                    <a:p>
                      <a:pPr rtl="0"/>
                      <a:r>
                        <a:rPr lang="fr" sz="1400" dirty="0"/>
                        <a:t>Agréé par l’EMA sur la base du règlement relatif aux essais sur les animaux, le Programme de préqualification de l’OMS</a:t>
                      </a:r>
                    </a:p>
                    <a:p>
                      <a:pPr rtl="0"/>
                      <a:r>
                        <a:rPr lang="fr" sz="1400" dirty="0">
                          <a:latin typeface="+mn-lt"/>
                        </a:rPr>
                        <a:t>&gt; 300 000 personnes vaccinées dans le monde</a:t>
                      </a:r>
                    </a:p>
                  </a:txBody>
                  <a:tcPr/>
                </a:tc>
                <a:extLst>
                  <a:ext uri="{0D108BD9-81ED-4DB2-BD59-A6C34878D82A}">
                    <a16:rowId xmlns:a16="http://schemas.microsoft.com/office/drawing/2014/main" val="3532723984"/>
                  </a:ext>
                </a:extLst>
              </a:tr>
              <a:tr h="1350451">
                <a:tc>
                  <a:txBody>
                    <a:bodyPr/>
                    <a:lstStyle/>
                    <a:p>
                      <a:pPr rtl="0"/>
                      <a:r>
                        <a:rPr lang="fr" sz="1400" b="1" dirty="0">
                          <a:solidFill>
                            <a:schemeClr val="tx1"/>
                          </a:solidFill>
                        </a:rPr>
                        <a:t>Indication</a:t>
                      </a:r>
                      <a:endParaRPr lang="en-US" sz="1400" b="1" dirty="0">
                        <a:solidFill>
                          <a:schemeClr val="tx1"/>
                        </a:solidFill>
                        <a:latin typeface="+mn-lt"/>
                      </a:endParaRPr>
                    </a:p>
                  </a:txBody>
                  <a:tcPr/>
                </a:tc>
                <a:tc>
                  <a:txBody>
                    <a:bodyPr/>
                    <a:lstStyle/>
                    <a:p>
                      <a:pPr rtl="0"/>
                      <a:r>
                        <a:rPr lang="fr" sz="1400" b="0" i="0" u="none" strike="noStrike" noProof="0" dirty="0">
                          <a:solidFill>
                            <a:srgbClr val="1C1D1F"/>
                          </a:solidFill>
                          <a:latin typeface="Calibri"/>
                        </a:rPr>
                        <a:t>≥</a:t>
                      </a:r>
                      <a:r>
                        <a:rPr lang="fr" sz="1400" dirty="0">
                          <a:solidFill>
                            <a:schemeClr val="tx1"/>
                          </a:solidFill>
                        </a:rPr>
                        <a:t>1 an, dose unique</a:t>
                      </a:r>
                    </a:p>
                    <a:p>
                      <a:pPr rtl="0"/>
                      <a:endParaRPr lang="en-US" sz="1400">
                        <a:solidFill>
                          <a:schemeClr val="tx1"/>
                        </a:solidFill>
                        <a:latin typeface="+mn-lt"/>
                      </a:endParaRPr>
                    </a:p>
                    <a:p>
                      <a:pPr rtl="0"/>
                      <a:r>
                        <a:rPr lang="fr" sz="1400" dirty="0">
                          <a:solidFill>
                            <a:schemeClr val="tx1"/>
                          </a:solidFill>
                          <a:latin typeface="+mn-lt"/>
                        </a:rPr>
                        <a:t>SAGE recommande une utilisation hors indications officielles pour les femmes enceintes et allaitantes si ces dernières font partie d’un groupe à risque</a:t>
                      </a:r>
                    </a:p>
                  </a:txBody>
                  <a:tcPr/>
                </a:tc>
                <a:tc>
                  <a:txBody>
                    <a:bodyPr/>
                    <a:lstStyle/>
                    <a:p>
                      <a:pPr lvl="0">
                        <a:buNone/>
                      </a:pPr>
                      <a:r>
                        <a:rPr lang="fr" sz="1400" b="0" i="0" u="none" strike="noStrike" noProof="0" dirty="0">
                          <a:solidFill>
                            <a:srgbClr val="1C1D1F"/>
                          </a:solidFill>
                          <a:latin typeface="Calibri"/>
                        </a:rPr>
                        <a:t>≥</a:t>
                      </a:r>
                      <a:r>
                        <a:rPr lang="fr" sz="1400" dirty="0">
                          <a:solidFill>
                            <a:schemeClr val="tx1"/>
                          </a:solidFill>
                        </a:rPr>
                        <a:t>1 an, 2 doses à 56 jours d’interval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p>
                    <a:p>
                      <a:pPr marL="0" marR="0" lvl="0" indent="0" algn="l" defTabSz="914400" rtl="0" eaLnBrk="1" fontAlgn="auto" latinLnBrk="0" hangingPunct="1">
                        <a:lnSpc>
                          <a:spcPct val="100000"/>
                        </a:lnSpc>
                        <a:spcBef>
                          <a:spcPts val="0"/>
                        </a:spcBef>
                        <a:spcAft>
                          <a:spcPts val="0"/>
                        </a:spcAft>
                        <a:buClrTx/>
                        <a:buSzTx/>
                        <a:buFontTx/>
                        <a:buNone/>
                        <a:tabLst/>
                        <a:defRPr/>
                      </a:pPr>
                      <a:r>
                        <a:rPr lang="fr" sz="1400" dirty="0"/>
                        <a:t>*Une dose supplémentaire du vaccin Ad26.ZEBOV devrait être</a:t>
                      </a:r>
                      <a:r>
                        <a:rPr lang="fr" sz="1400" kern="1200" dirty="0">
                          <a:solidFill>
                            <a:schemeClr val="dk1"/>
                          </a:solidFill>
                          <a:effectLst/>
                          <a:latin typeface="+mn-lt"/>
                          <a:ea typeface="+mn-ea"/>
                          <a:cs typeface="+mn-cs"/>
                        </a:rPr>
                        <a:t> envisagée pour les personnes présentant un risque imminent d’exposition &gt; à 4 mois</a:t>
                      </a:r>
                    </a:p>
                  </a:txBody>
                  <a:tcPr/>
                </a:tc>
                <a:extLst>
                  <a:ext uri="{0D108BD9-81ED-4DB2-BD59-A6C34878D82A}">
                    <a16:rowId xmlns:a16="http://schemas.microsoft.com/office/drawing/2014/main" val="897897755"/>
                  </a:ext>
                </a:extLst>
              </a:tr>
              <a:tr h="601566">
                <a:tc>
                  <a:txBody>
                    <a:bodyPr/>
                    <a:lstStyle/>
                    <a:p>
                      <a:pPr rtl="0"/>
                      <a:r>
                        <a:rPr lang="fr" sz="1400" b="1" dirty="0">
                          <a:latin typeface="+mn-lt"/>
                        </a:rPr>
                        <a:t>Admin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400" dirty="0">
                          <a:solidFill>
                            <a:srgbClr val="1C1D1F"/>
                          </a:solidFill>
                          <a:ea typeface="+mn-lt"/>
                          <a:cs typeface="+mn-lt"/>
                        </a:rPr>
                        <a:t>1 ml flacon à dose unique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400" dirty="0">
                          <a:solidFill>
                            <a:srgbClr val="1C1D1F"/>
                          </a:solidFill>
                          <a:ea typeface="+mn-lt"/>
                          <a:cs typeface="+mn-lt"/>
                        </a:rPr>
                        <a:t>Administration intramusculaire (IM) </a:t>
                      </a:r>
                      <a:endParaRPr lang="en-US" sz="1400" b="0" dirty="0">
                        <a:solidFill>
                          <a:schemeClr val="tx1"/>
                        </a:solidFill>
                      </a:endParaRPr>
                    </a:p>
                  </a:txBody>
                  <a:tcPr/>
                </a:tc>
                <a:tc>
                  <a:txBody>
                    <a:bodyPr/>
                    <a:lstStyle/>
                    <a:p>
                      <a:pPr rtl="0"/>
                      <a:r>
                        <a:rPr lang="fr" sz="1400" b="0" dirty="0">
                          <a:solidFill>
                            <a:schemeClr val="tx1"/>
                          </a:solidFill>
                          <a:latin typeface="+mn-lt"/>
                        </a:rPr>
                        <a:t>Une dose (0,5 ml) de </a:t>
                      </a:r>
                      <a:r>
                        <a:rPr lang="fr" sz="1400" b="0" dirty="0" err="1">
                          <a:solidFill>
                            <a:schemeClr val="tx1"/>
                          </a:solidFill>
                          <a:latin typeface="+mn-lt"/>
                        </a:rPr>
                        <a:t>zabdeno</a:t>
                      </a:r>
                      <a:r>
                        <a:rPr lang="fr" sz="1400" b="0" dirty="0">
                          <a:solidFill>
                            <a:schemeClr val="tx1"/>
                          </a:solidFill>
                          <a:latin typeface="+mn-lt"/>
                        </a:rPr>
                        <a:t>, une dose (0,5 ml) de </a:t>
                      </a:r>
                      <a:r>
                        <a:rPr lang="fr" sz="1400" b="0" dirty="0" err="1">
                          <a:solidFill>
                            <a:schemeClr val="tx1"/>
                          </a:solidFill>
                          <a:latin typeface="+mn-lt"/>
                        </a:rPr>
                        <a:t>mvabea</a:t>
                      </a:r>
                      <a:r>
                        <a:rPr lang="fr" sz="1400" b="0" dirty="0">
                          <a:solidFill>
                            <a:schemeClr val="tx1"/>
                          </a:solidFill>
                          <a:latin typeface="+mn-lt"/>
                        </a:rPr>
                        <a:t> </a:t>
                      </a:r>
                    </a:p>
                    <a:p>
                      <a:pPr rtl="0"/>
                      <a:r>
                        <a:rPr lang="fr" sz="1400" b="0" dirty="0">
                          <a:solidFill>
                            <a:schemeClr val="tx1"/>
                          </a:solidFill>
                          <a:latin typeface="+mn-lt"/>
                        </a:rPr>
                        <a:t>Administration intramusculaire</a:t>
                      </a:r>
                    </a:p>
                  </a:txBody>
                  <a:tcPr/>
                </a:tc>
                <a:extLst>
                  <a:ext uri="{0D108BD9-81ED-4DB2-BD59-A6C34878D82A}">
                    <a16:rowId xmlns:a16="http://schemas.microsoft.com/office/drawing/2014/main" val="112858556"/>
                  </a:ext>
                </a:extLst>
              </a:tr>
              <a:tr h="1092641">
                <a:tc>
                  <a:txBody>
                    <a:bodyPr/>
                    <a:lstStyle/>
                    <a:p>
                      <a:pPr rtl="0"/>
                      <a:r>
                        <a:rPr lang="fr" sz="1400" b="1" dirty="0"/>
                        <a:t>Efficacité</a:t>
                      </a:r>
                      <a:endParaRPr lang="en-US" sz="1400" b="1" dirty="0">
                        <a:latin typeface="+mn-lt"/>
                      </a:endParaRPr>
                    </a:p>
                  </a:txBody>
                  <a:tcPr/>
                </a:tc>
                <a:tc>
                  <a:txBody>
                    <a:bodyPr/>
                    <a:lstStyle/>
                    <a:p>
                      <a:pPr rtl="0"/>
                      <a:r>
                        <a:rPr lang="fr" sz="1400" b="0" dirty="0">
                          <a:solidFill>
                            <a:schemeClr val="tx1"/>
                          </a:solidFill>
                        </a:rPr>
                        <a:t>Étude d’efficacité phase III. « Ça suffit » :100 % (IC de 95 % : 68.9–100.0)</a:t>
                      </a:r>
                    </a:p>
                    <a:p>
                      <a:pPr rtl="0"/>
                      <a:r>
                        <a:rPr lang="fr" sz="1400" b="0" dirty="0">
                          <a:solidFill>
                            <a:schemeClr val="tx1"/>
                          </a:solidFill>
                        </a:rPr>
                        <a:t>Efficacité réelle sur le terrain en RDC : </a:t>
                      </a:r>
                      <a:r>
                        <a:rPr lang="fr" sz="1400" dirty="0"/>
                        <a:t>IC de 97.5 %, 95 % [95.8 – 98.5 %]</a:t>
                      </a:r>
                      <a:endParaRPr lang="en-US" sz="1400" b="0" dirty="0">
                        <a:solidFill>
                          <a:schemeClr val="tx1"/>
                        </a:solidFill>
                      </a:endParaRPr>
                    </a:p>
                  </a:txBody>
                  <a:tcPr/>
                </a:tc>
                <a:tc>
                  <a:txBody>
                    <a:bodyPr/>
                    <a:lstStyle/>
                    <a:p>
                      <a:pPr rtl="0"/>
                      <a:r>
                        <a:rPr lang="fr" sz="1400" b="0" dirty="0">
                          <a:solidFill>
                            <a:schemeClr val="tx1"/>
                          </a:solidFill>
                        </a:rPr>
                        <a:t>Efficacité déduite à travers un modèle de test sur les animaux (devrait être supérieure à 53 % sur la base de la survie à une dose létale et de la corrélation avec les études d’immunogénicité chez l’homme)</a:t>
                      </a:r>
                      <a:endParaRPr lang="en-US" sz="1400" b="0" dirty="0">
                        <a:solidFill>
                          <a:schemeClr val="tx1"/>
                        </a:solidFill>
                        <a:latin typeface="+mn-lt"/>
                      </a:endParaRPr>
                    </a:p>
                  </a:txBody>
                  <a:tcPr/>
                </a:tc>
                <a:extLst>
                  <a:ext uri="{0D108BD9-81ED-4DB2-BD59-A6C34878D82A}">
                    <a16:rowId xmlns:a16="http://schemas.microsoft.com/office/drawing/2014/main" val="1312792438"/>
                  </a:ext>
                </a:extLst>
              </a:tr>
              <a:tr h="356028">
                <a:tc>
                  <a:txBody>
                    <a:bodyPr/>
                    <a:lstStyle/>
                    <a:p>
                      <a:pPr rtl="0"/>
                      <a:r>
                        <a:rPr lang="fr" sz="1400" b="1" dirty="0"/>
                        <a:t>Durabilité </a:t>
                      </a:r>
                      <a:endParaRPr lang="en-US" sz="1400" b="1" dirty="0">
                        <a:latin typeface="+mn-lt"/>
                      </a:endParaRPr>
                    </a:p>
                  </a:txBody>
                  <a:tcPr/>
                </a:tc>
                <a:tc>
                  <a:txBody>
                    <a:bodyPr/>
                    <a:lstStyle/>
                    <a:p>
                      <a:pPr rtl="0"/>
                      <a:r>
                        <a:rPr lang="fr" sz="1400" dirty="0"/>
                        <a:t>Inconnue ; études d’immunogénicité jusqu’à 5 ans</a:t>
                      </a:r>
                    </a:p>
                  </a:txBody>
                  <a:tcPr/>
                </a:tc>
                <a:tc>
                  <a:txBody>
                    <a:bodyPr/>
                    <a:lstStyle/>
                    <a:p>
                      <a:pPr rtl="0"/>
                      <a:r>
                        <a:rPr lang="fr" sz="1400" dirty="0"/>
                        <a:t>Inconnue ; études d’immunogénicité jusqu’à 5 ans</a:t>
                      </a:r>
                    </a:p>
                  </a:txBody>
                  <a:tcPr/>
                </a:tc>
                <a:extLst>
                  <a:ext uri="{0D108BD9-81ED-4DB2-BD59-A6C34878D82A}">
                    <a16:rowId xmlns:a16="http://schemas.microsoft.com/office/drawing/2014/main" val="2344675274"/>
                  </a:ext>
                </a:extLst>
              </a:tr>
              <a:tr h="1092641">
                <a:tc>
                  <a:txBody>
                    <a:bodyPr/>
                    <a:lstStyle/>
                    <a:p>
                      <a:pPr rtl="0"/>
                      <a:r>
                        <a:rPr lang="fr" sz="1400" b="1" dirty="0"/>
                        <a:t>Conservation</a:t>
                      </a:r>
                      <a:endParaRPr lang="en-US" sz="1400" b="1" dirty="0">
                        <a:latin typeface="+mn-lt"/>
                      </a:endParaRPr>
                    </a:p>
                  </a:txBody>
                  <a:tcPr/>
                </a:tc>
                <a:tc>
                  <a:txBody>
                    <a:bodyPr/>
                    <a:lstStyle/>
                    <a:p>
                      <a:pPr rtl="0"/>
                      <a:r>
                        <a:rPr lang="fr" sz="1400" dirty="0"/>
                        <a:t>&lt;-60 °C ; une fois décongelé, il peut être conservé jusqu’à 14 jours entre 2 °C et 8 °C. Ne peut pas être recongelé, conservé à température ambiante (jusqu’à 25 °C), le vaccin devrait être jeté après 4 heures</a:t>
                      </a:r>
                      <a:endParaRPr lang="en-US" sz="1400" dirty="0">
                        <a:latin typeface="+mn-lt"/>
                      </a:endParaRPr>
                    </a:p>
                  </a:txBody>
                  <a:tcPr/>
                </a:tc>
                <a:tc>
                  <a:txBody>
                    <a:bodyPr/>
                    <a:lstStyle/>
                    <a:p>
                      <a:pPr rtl="0"/>
                      <a:r>
                        <a:rPr lang="fr" sz="1400" dirty="0"/>
                        <a:t>Transporter entre -25 °C et -15 °C et conserver pendant une durée unique allant jusqu’à 20 mois ou entre 2 °C et 8 °C pendant une durée unique allant jusqu’à 8 mois</a:t>
                      </a:r>
                      <a:endParaRPr lang="en-US" sz="1400" dirty="0">
                        <a:latin typeface="+mn-lt"/>
                      </a:endParaRPr>
                    </a:p>
                  </a:txBody>
                  <a:tcPr/>
                </a:tc>
                <a:extLst>
                  <a:ext uri="{0D108BD9-81ED-4DB2-BD59-A6C34878D82A}">
                    <a16:rowId xmlns:a16="http://schemas.microsoft.com/office/drawing/2014/main" val="2005179166"/>
                  </a:ext>
                </a:extLst>
              </a:tr>
            </a:tbl>
          </a:graphicData>
        </a:graphic>
      </p:graphicFrame>
      <p:sp>
        <p:nvSpPr>
          <p:cNvPr id="3" name="TextBox 2">
            <a:extLst>
              <a:ext uri="{FF2B5EF4-FFF2-40B4-BE49-F238E27FC236}">
                <a16:creationId xmlns:a16="http://schemas.microsoft.com/office/drawing/2014/main" id="{D2549A21-7730-4CAD-851B-8D918628A066}"/>
              </a:ext>
            </a:extLst>
          </p:cNvPr>
          <p:cNvSpPr txBox="1"/>
          <p:nvPr/>
        </p:nvSpPr>
        <p:spPr>
          <a:xfrm>
            <a:off x="323626" y="6374886"/>
            <a:ext cx="4685931" cy="307777"/>
          </a:xfrm>
          <a:prstGeom prst="rect">
            <a:avLst/>
          </a:prstGeom>
          <a:noFill/>
        </p:spPr>
        <p:txBody>
          <a:bodyPr wrap="square" rtlCol="0">
            <a:spAutoFit/>
          </a:bodyPr>
          <a:lstStyle/>
          <a:p>
            <a:pPr rtl="0"/>
            <a:r>
              <a:rPr lang="fr" sz="1400"/>
              <a:t>*comme indiqué par l’Agence européenne des médicaments</a:t>
            </a:r>
          </a:p>
        </p:txBody>
      </p:sp>
    </p:spTree>
    <p:extLst>
      <p:ext uri="{BB962C8B-B14F-4D97-AF65-F5344CB8AC3E}">
        <p14:creationId xmlns:p14="http://schemas.microsoft.com/office/powerpoint/2010/main" val="3395929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63308-E7C3-7B65-C9DC-DFAEE7CC1F84}"/>
              </a:ext>
            </a:extLst>
          </p:cNvPr>
          <p:cNvSpPr>
            <a:spLocks noGrp="1"/>
          </p:cNvSpPr>
          <p:nvPr>
            <p:ph type="title"/>
          </p:nvPr>
        </p:nvSpPr>
        <p:spPr/>
        <p:txBody>
          <a:bodyPr rtlCol="0">
            <a:normAutofit/>
          </a:bodyPr>
          <a:lstStyle/>
          <a:p>
            <a:pPr rtl="0"/>
            <a:r>
              <a:rPr lang="fr"/>
              <a:t>Antécédent vaccinal</a:t>
            </a:r>
            <a:endParaRPr lang="fr-FR"/>
          </a:p>
        </p:txBody>
      </p:sp>
      <p:grpSp>
        <p:nvGrpSpPr>
          <p:cNvPr id="6" name="Group 5">
            <a:extLst>
              <a:ext uri="{FF2B5EF4-FFF2-40B4-BE49-F238E27FC236}">
                <a16:creationId xmlns:a16="http://schemas.microsoft.com/office/drawing/2014/main" id="{46319E6D-6C3E-2F0B-78E9-CE449BDCB02E}"/>
              </a:ext>
            </a:extLst>
          </p:cNvPr>
          <p:cNvGrpSpPr/>
          <p:nvPr/>
        </p:nvGrpSpPr>
        <p:grpSpPr>
          <a:xfrm>
            <a:off x="456746" y="2388253"/>
            <a:ext cx="11567481" cy="3734949"/>
            <a:chOff x="204240" y="1506742"/>
            <a:chExt cx="11867399" cy="3829011"/>
          </a:xfrm>
        </p:grpSpPr>
        <p:sp>
          <p:nvSpPr>
            <p:cNvPr id="7" name="Right Arrow 6">
              <a:extLst>
                <a:ext uri="{FF2B5EF4-FFF2-40B4-BE49-F238E27FC236}">
                  <a16:creationId xmlns:a16="http://schemas.microsoft.com/office/drawing/2014/main" id="{EF811327-21A1-768C-2C1F-C42D433566BC}"/>
                </a:ext>
              </a:extLst>
            </p:cNvPr>
            <p:cNvSpPr/>
            <p:nvPr/>
          </p:nvSpPr>
          <p:spPr>
            <a:xfrm>
              <a:off x="2584653" y="3349625"/>
              <a:ext cx="7461546" cy="747832"/>
            </a:xfrm>
            <a:prstGeom prst="rightArrow">
              <a:avLst>
                <a:gd name="adj1" fmla="val 50000"/>
                <a:gd name="adj2" fmla="val 0"/>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solidFill>
                    <a:schemeClr val="tx1"/>
                  </a:solidFill>
                </a:rPr>
                <a:t>Accès élargi/utilisation compassionnelle</a:t>
              </a:r>
              <a:endParaRPr lang="en-US" sz="2000">
                <a:solidFill>
                  <a:schemeClr val="tx1"/>
                </a:solidFill>
              </a:endParaRPr>
            </a:p>
          </p:txBody>
        </p:sp>
        <p:grpSp>
          <p:nvGrpSpPr>
            <p:cNvPr id="8" name="Group 7">
              <a:extLst>
                <a:ext uri="{FF2B5EF4-FFF2-40B4-BE49-F238E27FC236}">
                  <a16:creationId xmlns:a16="http://schemas.microsoft.com/office/drawing/2014/main" id="{A09D3D8F-61DF-E9BD-FC78-528D99D00906}"/>
                </a:ext>
              </a:extLst>
            </p:cNvPr>
            <p:cNvGrpSpPr/>
            <p:nvPr/>
          </p:nvGrpSpPr>
          <p:grpSpPr>
            <a:xfrm>
              <a:off x="2528779" y="1506742"/>
              <a:ext cx="9542860" cy="1559450"/>
              <a:chOff x="2428628" y="2482102"/>
              <a:chExt cx="9542860" cy="1559450"/>
            </a:xfrm>
          </p:grpSpPr>
          <p:sp>
            <p:nvSpPr>
              <p:cNvPr id="16" name="TextBox 15">
                <a:extLst>
                  <a:ext uri="{FF2B5EF4-FFF2-40B4-BE49-F238E27FC236}">
                    <a16:creationId xmlns:a16="http://schemas.microsoft.com/office/drawing/2014/main" id="{67CC89BB-FA4C-1632-3015-264819232B24}"/>
                  </a:ext>
                </a:extLst>
              </p:cNvPr>
              <p:cNvSpPr txBox="1"/>
              <p:nvPr/>
            </p:nvSpPr>
            <p:spPr>
              <a:xfrm>
                <a:off x="9696046" y="3126641"/>
                <a:ext cx="1729951" cy="662608"/>
              </a:xfrm>
              <a:prstGeom prst="rect">
                <a:avLst/>
              </a:prstGeom>
              <a:solidFill>
                <a:schemeClr val="accent1">
                  <a:lumMod val="20000"/>
                  <a:lumOff val="80000"/>
                </a:schemeClr>
              </a:solidFill>
              <a:ln w="6350">
                <a:solidFill>
                  <a:schemeClr val="tx1"/>
                </a:solidFill>
              </a:ln>
            </p:spPr>
            <p:txBody>
              <a:bodyPr wrap="none" rtlCol="0">
                <a:spAutoFit/>
              </a:bodyPr>
              <a:lstStyle>
                <a:defPPr>
                  <a:defRPr lang="fr-FR"/>
                </a:defPPr>
              </a:lstStyle>
              <a:p>
                <a:pPr rtl="0"/>
                <a:r>
                  <a:rPr lang="fr"/>
                  <a:t>Équateur, RDC</a:t>
                </a:r>
              </a:p>
              <a:p>
                <a:pPr rtl="0"/>
                <a:r>
                  <a:rPr lang="fr"/>
                  <a:t>Nord Kivu, RDC</a:t>
                </a:r>
              </a:p>
            </p:txBody>
          </p:sp>
          <p:sp>
            <p:nvSpPr>
              <p:cNvPr id="17" name="TextBox 16">
                <a:extLst>
                  <a:ext uri="{FF2B5EF4-FFF2-40B4-BE49-F238E27FC236}">
                    <a16:creationId xmlns:a16="http://schemas.microsoft.com/office/drawing/2014/main" id="{975A886B-4C59-7599-93F3-393F3A2F2857}"/>
                  </a:ext>
                </a:extLst>
              </p:cNvPr>
              <p:cNvSpPr txBox="1"/>
              <p:nvPr/>
            </p:nvSpPr>
            <p:spPr>
              <a:xfrm>
                <a:off x="2510133" y="3102299"/>
                <a:ext cx="1668240" cy="923330"/>
              </a:xfrm>
              <a:prstGeom prst="rect">
                <a:avLst/>
              </a:prstGeom>
              <a:solidFill>
                <a:schemeClr val="accent1">
                  <a:lumMod val="20000"/>
                  <a:lumOff val="80000"/>
                </a:schemeClr>
              </a:solidFill>
              <a:ln w="6350">
                <a:solidFill>
                  <a:schemeClr val="tx1"/>
                </a:solidFill>
              </a:ln>
            </p:spPr>
            <p:txBody>
              <a:bodyPr wrap="square" rtlCol="0">
                <a:spAutoFit/>
              </a:bodyPr>
              <a:lstStyle>
                <a:defPPr>
                  <a:defRPr lang="fr-FR"/>
                </a:defPPr>
              </a:lstStyle>
              <a:p>
                <a:pPr rtl="0"/>
                <a:endParaRPr lang="en-US"/>
              </a:p>
              <a:p>
                <a:pPr rtl="0"/>
                <a:r>
                  <a:rPr lang="fr"/>
                  <a:t>Équateur, RDC</a:t>
                </a:r>
                <a:br>
                  <a:rPr lang="en-US"/>
                </a:br>
                <a:endParaRPr lang="en-US"/>
              </a:p>
            </p:txBody>
          </p:sp>
          <p:sp>
            <p:nvSpPr>
              <p:cNvPr id="18" name="TextBox 17">
                <a:extLst>
                  <a:ext uri="{FF2B5EF4-FFF2-40B4-BE49-F238E27FC236}">
                    <a16:creationId xmlns:a16="http://schemas.microsoft.com/office/drawing/2014/main" id="{0D7DB614-3975-B20C-D3F0-98ED374308A5}"/>
                  </a:ext>
                </a:extLst>
              </p:cNvPr>
              <p:cNvSpPr txBox="1"/>
              <p:nvPr/>
            </p:nvSpPr>
            <p:spPr>
              <a:xfrm>
                <a:off x="4386242" y="3108254"/>
                <a:ext cx="1324658" cy="923330"/>
              </a:xfrm>
              <a:prstGeom prst="rect">
                <a:avLst/>
              </a:prstGeom>
              <a:solidFill>
                <a:schemeClr val="accent1">
                  <a:lumMod val="20000"/>
                  <a:lumOff val="80000"/>
                </a:schemeClr>
              </a:solidFill>
              <a:ln w="6350">
                <a:solidFill>
                  <a:schemeClr val="tx1"/>
                </a:solidFill>
              </a:ln>
            </p:spPr>
            <p:txBody>
              <a:bodyPr wrap="none" rtlCol="0">
                <a:spAutoFit/>
              </a:bodyPr>
              <a:lstStyle>
                <a:defPPr>
                  <a:defRPr lang="fr-FR"/>
                </a:defPPr>
              </a:lstStyle>
              <a:p>
                <a:pPr rtl="0"/>
                <a:endParaRPr lang="en-US"/>
              </a:p>
              <a:p>
                <a:pPr rtl="0"/>
                <a:r>
                  <a:rPr lang="fr"/>
                  <a:t>Est de la RDC</a:t>
                </a:r>
              </a:p>
              <a:p>
                <a:pPr rtl="0"/>
                <a:r>
                  <a:rPr lang="fr"/>
                  <a:t>Ouganda</a:t>
                </a:r>
              </a:p>
            </p:txBody>
          </p:sp>
          <p:sp>
            <p:nvSpPr>
              <p:cNvPr id="19" name="TextBox 18">
                <a:extLst>
                  <a:ext uri="{FF2B5EF4-FFF2-40B4-BE49-F238E27FC236}">
                    <a16:creationId xmlns:a16="http://schemas.microsoft.com/office/drawing/2014/main" id="{88347877-2650-747C-DC35-67462D028C2D}"/>
                  </a:ext>
                </a:extLst>
              </p:cNvPr>
              <p:cNvSpPr txBox="1"/>
              <p:nvPr/>
            </p:nvSpPr>
            <p:spPr>
              <a:xfrm>
                <a:off x="5899979" y="3096349"/>
                <a:ext cx="1519968" cy="923330"/>
              </a:xfrm>
              <a:prstGeom prst="rect">
                <a:avLst/>
              </a:prstGeom>
              <a:solidFill>
                <a:schemeClr val="accent1">
                  <a:lumMod val="20000"/>
                  <a:lumOff val="80000"/>
                </a:schemeClr>
              </a:solidFill>
              <a:ln w="6350">
                <a:solidFill>
                  <a:schemeClr val="tx1"/>
                </a:solidFill>
              </a:ln>
            </p:spPr>
            <p:txBody>
              <a:bodyPr wrap="none" rtlCol="0">
                <a:spAutoFit/>
              </a:bodyPr>
              <a:lstStyle>
                <a:defPPr>
                  <a:defRPr lang="fr-FR"/>
                </a:defPPr>
              </a:lstStyle>
              <a:p>
                <a:pPr rtl="0"/>
                <a:endParaRPr lang="en-US"/>
              </a:p>
              <a:p>
                <a:pPr rtl="0"/>
                <a:r>
                  <a:rPr lang="fr"/>
                  <a:t>Équateur, RDC</a:t>
                </a:r>
                <a:br>
                  <a:rPr lang="en-US"/>
                </a:br>
                <a:endParaRPr lang="en-US"/>
              </a:p>
            </p:txBody>
          </p:sp>
          <p:sp>
            <p:nvSpPr>
              <p:cNvPr id="20" name="TextBox 19">
                <a:extLst>
                  <a:ext uri="{FF2B5EF4-FFF2-40B4-BE49-F238E27FC236}">
                    <a16:creationId xmlns:a16="http://schemas.microsoft.com/office/drawing/2014/main" id="{F2943EE2-77C2-F08B-6BE8-6ED052F28D6B}"/>
                  </a:ext>
                </a:extLst>
              </p:cNvPr>
              <p:cNvSpPr txBox="1"/>
              <p:nvPr/>
            </p:nvSpPr>
            <p:spPr>
              <a:xfrm>
                <a:off x="7524209" y="2810992"/>
                <a:ext cx="2044918" cy="1230560"/>
              </a:xfrm>
              <a:prstGeom prst="rect">
                <a:avLst/>
              </a:prstGeom>
              <a:solidFill>
                <a:schemeClr val="accent1">
                  <a:lumMod val="20000"/>
                  <a:lumOff val="80000"/>
                </a:schemeClr>
              </a:solidFill>
              <a:ln w="6350">
                <a:solidFill>
                  <a:schemeClr val="tx1"/>
                </a:solidFill>
              </a:ln>
            </p:spPr>
            <p:txBody>
              <a:bodyPr wrap="none" rtlCol="0">
                <a:spAutoFit/>
              </a:bodyPr>
              <a:lstStyle>
                <a:defPPr>
                  <a:defRPr lang="fr-FR"/>
                </a:defPPr>
              </a:lstStyle>
              <a:p>
                <a:pPr rtl="0"/>
                <a:endParaRPr lang="en-US"/>
              </a:p>
              <a:p>
                <a:pPr rtl="0"/>
                <a:r>
                  <a:rPr lang="fr"/>
                  <a:t>N’Zérékoré, Guinée</a:t>
                </a:r>
              </a:p>
              <a:p>
                <a:pPr rtl="0"/>
                <a:r>
                  <a:rPr lang="fr"/>
                  <a:t>Nord Kivu, RDC</a:t>
                </a:r>
              </a:p>
              <a:p>
                <a:pPr rtl="0"/>
                <a:r>
                  <a:rPr lang="fr"/>
                  <a:t>Nord Kivu, RDC</a:t>
                </a:r>
              </a:p>
            </p:txBody>
          </p:sp>
          <p:sp>
            <p:nvSpPr>
              <p:cNvPr id="21" name="Chevron 20">
                <a:extLst>
                  <a:ext uri="{FF2B5EF4-FFF2-40B4-BE49-F238E27FC236}">
                    <a16:creationId xmlns:a16="http://schemas.microsoft.com/office/drawing/2014/main" id="{2AB4636A-9B09-2F77-6F4B-AEE1813579F3}"/>
                  </a:ext>
                </a:extLst>
              </p:cNvPr>
              <p:cNvSpPr/>
              <p:nvPr/>
            </p:nvSpPr>
            <p:spPr>
              <a:xfrm>
                <a:off x="2428628" y="2485619"/>
                <a:ext cx="2113490" cy="659777"/>
              </a:xfrm>
              <a:prstGeom prst="chevron">
                <a:avLst/>
              </a:prstGeom>
              <a:solidFill>
                <a:schemeClr val="accent2">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t>2018</a:t>
                </a:r>
              </a:p>
            </p:txBody>
          </p:sp>
          <p:sp>
            <p:nvSpPr>
              <p:cNvPr id="22" name="Chevron 21">
                <a:extLst>
                  <a:ext uri="{FF2B5EF4-FFF2-40B4-BE49-F238E27FC236}">
                    <a16:creationId xmlns:a16="http://schemas.microsoft.com/office/drawing/2014/main" id="{1780DDD4-A13B-F1F5-2F07-C80FF20E7295}"/>
                  </a:ext>
                </a:extLst>
              </p:cNvPr>
              <p:cNvSpPr/>
              <p:nvPr/>
            </p:nvSpPr>
            <p:spPr>
              <a:xfrm>
                <a:off x="4178929" y="2482102"/>
                <a:ext cx="2025059" cy="659777"/>
              </a:xfrm>
              <a:prstGeom prst="chevron">
                <a:avLst/>
              </a:prstGeom>
              <a:solidFill>
                <a:schemeClr val="accent2">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t>2018-2020</a:t>
                </a:r>
              </a:p>
            </p:txBody>
          </p:sp>
          <p:sp>
            <p:nvSpPr>
              <p:cNvPr id="23" name="Chevron 22">
                <a:extLst>
                  <a:ext uri="{FF2B5EF4-FFF2-40B4-BE49-F238E27FC236}">
                    <a16:creationId xmlns:a16="http://schemas.microsoft.com/office/drawing/2014/main" id="{1B700DFD-33C5-E40B-EFB7-8E0CBF02D01E}"/>
                  </a:ext>
                </a:extLst>
              </p:cNvPr>
              <p:cNvSpPr/>
              <p:nvPr/>
            </p:nvSpPr>
            <p:spPr>
              <a:xfrm>
                <a:off x="5826895" y="2482102"/>
                <a:ext cx="1947648" cy="659777"/>
              </a:xfrm>
              <a:prstGeom prst="chevron">
                <a:avLst/>
              </a:prstGeom>
              <a:solidFill>
                <a:schemeClr val="accent2">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t>2020</a:t>
                </a:r>
              </a:p>
            </p:txBody>
          </p:sp>
          <p:sp>
            <p:nvSpPr>
              <p:cNvPr id="24" name="Chevron 23">
                <a:extLst>
                  <a:ext uri="{FF2B5EF4-FFF2-40B4-BE49-F238E27FC236}">
                    <a16:creationId xmlns:a16="http://schemas.microsoft.com/office/drawing/2014/main" id="{E1767CD9-F173-5ED4-4C2A-4B6BFD03749C}"/>
                  </a:ext>
                </a:extLst>
              </p:cNvPr>
              <p:cNvSpPr/>
              <p:nvPr/>
            </p:nvSpPr>
            <p:spPr>
              <a:xfrm>
                <a:off x="9580722" y="2485620"/>
                <a:ext cx="2390766" cy="659777"/>
              </a:xfrm>
              <a:prstGeom prst="chevron">
                <a:avLst/>
              </a:prstGeom>
              <a:solidFill>
                <a:schemeClr val="accent2">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t>2022</a:t>
                </a:r>
              </a:p>
            </p:txBody>
          </p:sp>
          <p:sp>
            <p:nvSpPr>
              <p:cNvPr id="25" name="Chevron 24">
                <a:extLst>
                  <a:ext uri="{FF2B5EF4-FFF2-40B4-BE49-F238E27FC236}">
                    <a16:creationId xmlns:a16="http://schemas.microsoft.com/office/drawing/2014/main" id="{7AEA3B32-691C-5BF0-BFC6-91E424862C4D}"/>
                  </a:ext>
                </a:extLst>
              </p:cNvPr>
              <p:cNvSpPr/>
              <p:nvPr/>
            </p:nvSpPr>
            <p:spPr>
              <a:xfrm>
                <a:off x="7446126" y="2482102"/>
                <a:ext cx="2479581" cy="659777"/>
              </a:xfrm>
              <a:prstGeom prst="chevron">
                <a:avLst/>
              </a:prstGeom>
              <a:solidFill>
                <a:schemeClr val="accent2">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t>2021</a:t>
                </a:r>
              </a:p>
            </p:txBody>
          </p:sp>
        </p:grpSp>
        <p:grpSp>
          <p:nvGrpSpPr>
            <p:cNvPr id="9" name="Group 8">
              <a:extLst>
                <a:ext uri="{FF2B5EF4-FFF2-40B4-BE49-F238E27FC236}">
                  <a16:creationId xmlns:a16="http://schemas.microsoft.com/office/drawing/2014/main" id="{8276A1D8-E5F2-75C8-F3EE-012BE2D97C8C}"/>
                </a:ext>
              </a:extLst>
            </p:cNvPr>
            <p:cNvGrpSpPr/>
            <p:nvPr/>
          </p:nvGrpSpPr>
          <p:grpSpPr>
            <a:xfrm>
              <a:off x="204240" y="1506742"/>
              <a:ext cx="2574694" cy="1590490"/>
              <a:chOff x="67513" y="2482102"/>
              <a:chExt cx="2574694" cy="1590490"/>
            </a:xfrm>
          </p:grpSpPr>
          <p:sp>
            <p:nvSpPr>
              <p:cNvPr id="14" name="TextBox 13">
                <a:extLst>
                  <a:ext uri="{FF2B5EF4-FFF2-40B4-BE49-F238E27FC236}">
                    <a16:creationId xmlns:a16="http://schemas.microsoft.com/office/drawing/2014/main" id="{C5320962-2ACD-1449-A594-47F9DEB43C84}"/>
                  </a:ext>
                </a:extLst>
              </p:cNvPr>
              <p:cNvSpPr txBox="1"/>
              <p:nvPr/>
            </p:nvSpPr>
            <p:spPr>
              <a:xfrm>
                <a:off x="432589" y="3149262"/>
                <a:ext cx="1837697" cy="923330"/>
              </a:xfrm>
              <a:prstGeom prst="rect">
                <a:avLst/>
              </a:prstGeom>
              <a:solidFill>
                <a:schemeClr val="accent3">
                  <a:lumMod val="20000"/>
                  <a:lumOff val="80000"/>
                </a:schemeClr>
              </a:solidFill>
              <a:ln w="6350">
                <a:solidFill>
                  <a:schemeClr val="tx1"/>
                </a:solidFill>
              </a:ln>
            </p:spPr>
            <p:txBody>
              <a:bodyPr wrap="square" rtlCol="0">
                <a:spAutoFit/>
              </a:bodyPr>
              <a:lstStyle/>
              <a:p>
                <a:pPr rtl="0"/>
                <a:r>
                  <a:rPr lang="fr"/>
                  <a:t>Guinée</a:t>
                </a:r>
                <a:r>
                  <a:rPr lang="fr" sz="1800" b="1"/>
                  <a:t> *</a:t>
                </a:r>
                <a:endParaRPr lang="en-US"/>
              </a:p>
              <a:p>
                <a:pPr rtl="0"/>
                <a:r>
                  <a:rPr lang="fr"/>
                  <a:t>Sierra Leone</a:t>
                </a:r>
              </a:p>
              <a:p>
                <a:pPr rtl="0"/>
                <a:r>
                  <a:rPr lang="fr"/>
                  <a:t>Libéria</a:t>
                </a:r>
              </a:p>
            </p:txBody>
          </p:sp>
          <p:sp>
            <p:nvSpPr>
              <p:cNvPr id="15" name="Chevron 14">
                <a:extLst>
                  <a:ext uri="{FF2B5EF4-FFF2-40B4-BE49-F238E27FC236}">
                    <a16:creationId xmlns:a16="http://schemas.microsoft.com/office/drawing/2014/main" id="{B14D2A0E-C659-A405-08B4-280044ABD48C}"/>
                  </a:ext>
                </a:extLst>
              </p:cNvPr>
              <p:cNvSpPr/>
              <p:nvPr/>
            </p:nvSpPr>
            <p:spPr>
              <a:xfrm>
                <a:off x="67513" y="2482102"/>
                <a:ext cx="2574694" cy="675583"/>
              </a:xfrm>
              <a:prstGeom prst="chevron">
                <a:avLst/>
              </a:prstGeom>
              <a:solidFill>
                <a:srgbClr val="0040C0"/>
              </a:solidFill>
            </p:spPr>
            <p:style>
              <a:lnRef idx="3">
                <a:schemeClr val="lt1"/>
              </a:lnRef>
              <a:fillRef idx="1">
                <a:schemeClr val="accent2"/>
              </a:fillRef>
              <a:effectRef idx="1">
                <a:schemeClr val="accent2"/>
              </a:effectRef>
              <a:fontRef idx="minor">
                <a:schemeClr val="lt1"/>
              </a:fontRef>
            </p:style>
            <p:txBody>
              <a:bodyPr rtlCol="0" anchor="ctr"/>
              <a:lstStyle/>
              <a:p>
                <a:pPr algn="ctr" rtl="0"/>
                <a:r>
                  <a:rPr lang="fr" sz="2000" b="1"/>
                  <a:t>2014-2016</a:t>
                </a:r>
              </a:p>
            </p:txBody>
          </p:sp>
        </p:grpSp>
        <p:sp>
          <p:nvSpPr>
            <p:cNvPr id="10" name="Up Arrow Callout 9">
              <a:extLst>
                <a:ext uri="{FF2B5EF4-FFF2-40B4-BE49-F238E27FC236}">
                  <a16:creationId xmlns:a16="http://schemas.microsoft.com/office/drawing/2014/main" id="{F48630E4-43BA-72E9-677A-A49467890B9F}"/>
                </a:ext>
              </a:extLst>
            </p:cNvPr>
            <p:cNvSpPr/>
            <p:nvPr/>
          </p:nvSpPr>
          <p:spPr>
            <a:xfrm>
              <a:off x="569315" y="3138150"/>
              <a:ext cx="1837698" cy="923329"/>
            </a:xfrm>
            <a:prstGeom prst="upArrowCallout">
              <a:avLst>
                <a:gd name="adj1" fmla="val 9155"/>
                <a:gd name="adj2" fmla="val 17077"/>
                <a:gd name="adj3" fmla="val 25000"/>
                <a:gd name="adj4" fmla="val 64977"/>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2000" b="1">
                  <a:solidFill>
                    <a:schemeClr val="tx1"/>
                  </a:solidFill>
                </a:rPr>
                <a:t>Essais cliniques</a:t>
              </a:r>
              <a:endParaRPr lang="en-US" sz="2000" b="1">
                <a:solidFill>
                  <a:schemeClr val="tx1"/>
                </a:solidFill>
              </a:endParaRPr>
            </a:p>
          </p:txBody>
        </p:sp>
        <p:sp>
          <p:nvSpPr>
            <p:cNvPr id="11" name="Right Arrow 22">
              <a:extLst>
                <a:ext uri="{FF2B5EF4-FFF2-40B4-BE49-F238E27FC236}">
                  <a16:creationId xmlns:a16="http://schemas.microsoft.com/office/drawing/2014/main" id="{EF05BEB1-E723-F0BC-7EBF-F1C92A62BA3E}"/>
                </a:ext>
              </a:extLst>
            </p:cNvPr>
            <p:cNvSpPr>
              <a:spLocks noChangeArrowheads="1"/>
            </p:cNvSpPr>
            <p:nvPr>
              <p:custDataLst>
                <p:tags r:id="rId1"/>
              </p:custDataLst>
            </p:nvPr>
          </p:nvSpPr>
          <p:spPr bwMode="auto">
            <a:xfrm>
              <a:off x="8433672" y="3704710"/>
              <a:ext cx="3434535" cy="1631043"/>
            </a:xfrm>
            <a:prstGeom prst="rightArrow">
              <a:avLst>
                <a:gd name="adj1" fmla="val 50000"/>
                <a:gd name="adj2" fmla="val 0"/>
              </a:avLst>
            </a:prstGeom>
            <a:solidFill>
              <a:srgbClr val="DAE3F3"/>
            </a:solidFill>
            <a:ln w="28575" algn="ctr">
              <a:solidFill>
                <a:srgbClr val="2F528F"/>
              </a:solidFill>
              <a:miter lim="800000"/>
              <a:headEnd/>
              <a:tailEnd/>
            </a:ln>
          </p:spPr>
          <p:txBody>
            <a:bodyPr rtlCol="0" anchor="ctr"/>
            <a:lstStyle>
              <a:lvl1pPr>
                <a:defRPr>
                  <a:solidFill>
                    <a:schemeClr val="tx1"/>
                  </a:solidFill>
                  <a:latin typeface="Calibri Light" panose="020F0302020204030204" pitchFamily="34" charset="0"/>
                  <a:cs typeface="Arial" panose="020B0604020202020204" pitchFamily="34" charset="0"/>
                </a:defRPr>
              </a:lvl1pPr>
              <a:lvl2pPr marL="742950" indent="-285750">
                <a:defRPr>
                  <a:solidFill>
                    <a:schemeClr val="tx1"/>
                  </a:solidFill>
                  <a:latin typeface="Calibri Light" panose="020F0302020204030204" pitchFamily="34" charset="0"/>
                  <a:cs typeface="Arial" panose="020B0604020202020204" pitchFamily="34" charset="0"/>
                </a:defRPr>
              </a:lvl2pPr>
              <a:lvl3pPr marL="1143000" indent="-228600">
                <a:defRPr>
                  <a:solidFill>
                    <a:schemeClr val="tx1"/>
                  </a:solidFill>
                  <a:latin typeface="Calibri Light" panose="020F0302020204030204" pitchFamily="34" charset="0"/>
                  <a:cs typeface="Arial" panose="020B0604020202020204" pitchFamily="34" charset="0"/>
                </a:defRPr>
              </a:lvl3pPr>
              <a:lvl4pPr marL="1600200" indent="-228600">
                <a:defRPr>
                  <a:solidFill>
                    <a:schemeClr val="tx1"/>
                  </a:solidFill>
                  <a:latin typeface="Calibri Light" panose="020F0302020204030204" pitchFamily="34" charset="0"/>
                  <a:cs typeface="Arial" panose="020B0604020202020204" pitchFamily="34" charset="0"/>
                </a:defRPr>
              </a:lvl4pPr>
              <a:lvl5pPr marL="2057400" indent="-228600">
                <a:defRPr>
                  <a:solidFill>
                    <a:schemeClr val="tx1"/>
                  </a:solidFill>
                  <a:latin typeface="Calibri Light" panose="020F03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Light" panose="020F03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Light" panose="020F03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Light" panose="020F03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Light" panose="020F0302020204030204" pitchFamily="34" charset="0"/>
                  <a:cs typeface="Arial" panose="020B0604020202020204" pitchFamily="34" charset="0"/>
                </a:defRPr>
              </a:lvl9pPr>
            </a:lstStyle>
            <a:p>
              <a:pPr algn="ctr" rtl="0" eaLnBrk="1" hangingPunct="1"/>
              <a:r>
                <a:rPr lang="fr" sz="2000" b="1">
                  <a:latin typeface="+mn-lt"/>
                </a:rPr>
                <a:t>Doses homologuées pour le virus Ebola appartenant à l’espèce Zaïre</a:t>
              </a:r>
              <a:endParaRPr lang="en-US" altLang="en-US" sz="2000">
                <a:latin typeface="+mn-lt"/>
              </a:endParaRPr>
            </a:p>
          </p:txBody>
        </p:sp>
      </p:grpSp>
      <p:sp>
        <p:nvSpPr>
          <p:cNvPr id="3" name="Arrow: Up 2">
            <a:extLst>
              <a:ext uri="{FF2B5EF4-FFF2-40B4-BE49-F238E27FC236}">
                <a16:creationId xmlns:a16="http://schemas.microsoft.com/office/drawing/2014/main" id="{FB9AA0CA-D15B-4837-986A-9EC24761E97D}"/>
              </a:ext>
            </a:extLst>
          </p:cNvPr>
          <p:cNvSpPr/>
          <p:nvPr/>
        </p:nvSpPr>
        <p:spPr>
          <a:xfrm rot="10800000">
            <a:off x="5736288" y="1739435"/>
            <a:ext cx="271215" cy="643571"/>
          </a:xfrm>
          <a:prstGeom prst="upArrow">
            <a:avLst/>
          </a:prstGeom>
          <a:solidFill>
            <a:srgbClr val="AE1281"/>
          </a:solidFill>
          <a:ln>
            <a:solidFill>
              <a:srgbClr val="AE12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 name="TextBox 11">
            <a:extLst>
              <a:ext uri="{FF2B5EF4-FFF2-40B4-BE49-F238E27FC236}">
                <a16:creationId xmlns:a16="http://schemas.microsoft.com/office/drawing/2014/main" id="{40E37C50-ACBA-47FE-935E-0836B543D0FA}"/>
              </a:ext>
            </a:extLst>
          </p:cNvPr>
          <p:cNvSpPr txBox="1"/>
          <p:nvPr/>
        </p:nvSpPr>
        <p:spPr>
          <a:xfrm>
            <a:off x="5057661" y="1368509"/>
            <a:ext cx="1701832" cy="369332"/>
          </a:xfrm>
          <a:prstGeom prst="rect">
            <a:avLst/>
          </a:prstGeom>
          <a:noFill/>
        </p:spPr>
        <p:txBody>
          <a:bodyPr wrap="square" rtlCol="0">
            <a:spAutoFit/>
          </a:bodyPr>
          <a:lstStyle/>
          <a:p>
            <a:pPr rtl="0"/>
            <a:r>
              <a:rPr lang="fr" b="1"/>
              <a:t>Ervebo autorisé</a:t>
            </a:r>
          </a:p>
        </p:txBody>
      </p:sp>
    </p:spTree>
    <p:extLst>
      <p:ext uri="{BB962C8B-B14F-4D97-AF65-F5344CB8AC3E}">
        <p14:creationId xmlns:p14="http://schemas.microsoft.com/office/powerpoint/2010/main" val="332822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51DA7-208D-4856-8AD2-6F71E5767EE5}"/>
              </a:ext>
            </a:extLst>
          </p:cNvPr>
          <p:cNvSpPr>
            <a:spLocks noGrp="1"/>
          </p:cNvSpPr>
          <p:nvPr>
            <p:ph type="title"/>
          </p:nvPr>
        </p:nvSpPr>
        <p:spPr/>
        <p:txBody>
          <a:bodyPr rtlCol="0">
            <a:normAutofit fontScale="90000"/>
          </a:bodyPr>
          <a:lstStyle/>
          <a:p>
            <a:pPr rtl="0"/>
            <a:r>
              <a:rPr lang="fr"/>
              <a:t>Utilisation des vaccins contre Ebola dans la région, 2021-2023</a:t>
            </a:r>
          </a:p>
        </p:txBody>
      </p:sp>
      <p:graphicFrame>
        <p:nvGraphicFramePr>
          <p:cNvPr id="7" name="Content Placeholder 6">
            <a:extLst>
              <a:ext uri="{FF2B5EF4-FFF2-40B4-BE49-F238E27FC236}">
                <a16:creationId xmlns:a16="http://schemas.microsoft.com/office/drawing/2014/main" id="{2689612C-9282-432D-9465-7EA8412FEF42}"/>
              </a:ext>
            </a:extLst>
          </p:cNvPr>
          <p:cNvGraphicFramePr>
            <a:graphicFrameLocks noGrp="1"/>
          </p:cNvGraphicFramePr>
          <p:nvPr>
            <p:ph idx="1"/>
            <p:extLst>
              <p:ext uri="{D42A27DB-BD31-4B8C-83A1-F6EECF244321}">
                <p14:modId xmlns:p14="http://schemas.microsoft.com/office/powerpoint/2010/main" val="373901567"/>
              </p:ext>
            </p:extLst>
          </p:nvPr>
        </p:nvGraphicFramePr>
        <p:xfrm>
          <a:off x="504827" y="1022845"/>
          <a:ext cx="11087097" cy="5166813"/>
        </p:xfrm>
        <a:graphic>
          <a:graphicData uri="http://schemas.openxmlformats.org/drawingml/2006/table">
            <a:tbl>
              <a:tblPr firstRow="1" firstCol="1" bandRow="1">
                <a:tableStyleId>{5C22544A-7EE6-4342-B048-85BDC9FD1C3A}</a:tableStyleId>
              </a:tblPr>
              <a:tblGrid>
                <a:gridCol w="1087396">
                  <a:extLst>
                    <a:ext uri="{9D8B030D-6E8A-4147-A177-3AD203B41FA5}">
                      <a16:colId xmlns:a16="http://schemas.microsoft.com/office/drawing/2014/main" val="3536229668"/>
                    </a:ext>
                  </a:extLst>
                </a:gridCol>
                <a:gridCol w="816332">
                  <a:extLst>
                    <a:ext uri="{9D8B030D-6E8A-4147-A177-3AD203B41FA5}">
                      <a16:colId xmlns:a16="http://schemas.microsoft.com/office/drawing/2014/main" val="2545171286"/>
                    </a:ext>
                  </a:extLst>
                </a:gridCol>
                <a:gridCol w="790495">
                  <a:extLst>
                    <a:ext uri="{9D8B030D-6E8A-4147-A177-3AD203B41FA5}">
                      <a16:colId xmlns:a16="http://schemas.microsoft.com/office/drawing/2014/main" val="3255715578"/>
                    </a:ext>
                  </a:extLst>
                </a:gridCol>
                <a:gridCol w="1175835">
                  <a:extLst>
                    <a:ext uri="{9D8B030D-6E8A-4147-A177-3AD203B41FA5}">
                      <a16:colId xmlns:a16="http://schemas.microsoft.com/office/drawing/2014/main" val="148306705"/>
                    </a:ext>
                  </a:extLst>
                </a:gridCol>
                <a:gridCol w="1052091">
                  <a:extLst>
                    <a:ext uri="{9D8B030D-6E8A-4147-A177-3AD203B41FA5}">
                      <a16:colId xmlns:a16="http://schemas.microsoft.com/office/drawing/2014/main" val="657263131"/>
                    </a:ext>
                  </a:extLst>
                </a:gridCol>
                <a:gridCol w="930846">
                  <a:extLst>
                    <a:ext uri="{9D8B030D-6E8A-4147-A177-3AD203B41FA5}">
                      <a16:colId xmlns:a16="http://schemas.microsoft.com/office/drawing/2014/main" val="2282089038"/>
                    </a:ext>
                  </a:extLst>
                </a:gridCol>
                <a:gridCol w="1338767">
                  <a:extLst>
                    <a:ext uri="{9D8B030D-6E8A-4147-A177-3AD203B41FA5}">
                      <a16:colId xmlns:a16="http://schemas.microsoft.com/office/drawing/2014/main" val="3883923431"/>
                    </a:ext>
                  </a:extLst>
                </a:gridCol>
                <a:gridCol w="2514008">
                  <a:extLst>
                    <a:ext uri="{9D8B030D-6E8A-4147-A177-3AD203B41FA5}">
                      <a16:colId xmlns:a16="http://schemas.microsoft.com/office/drawing/2014/main" val="3926031583"/>
                    </a:ext>
                  </a:extLst>
                </a:gridCol>
                <a:gridCol w="1381327">
                  <a:extLst>
                    <a:ext uri="{9D8B030D-6E8A-4147-A177-3AD203B41FA5}">
                      <a16:colId xmlns:a16="http://schemas.microsoft.com/office/drawing/2014/main" val="2571079083"/>
                    </a:ext>
                  </a:extLst>
                </a:gridCol>
              </a:tblGrid>
              <a:tr h="1053545">
                <a:tc>
                  <a:txBody>
                    <a:bodyPr/>
                    <a:lstStyle/>
                    <a:p>
                      <a:pPr marL="0" marR="0" algn="l" rtl="0">
                        <a:lnSpc>
                          <a:spcPct val="107000"/>
                        </a:lnSpc>
                        <a:spcBef>
                          <a:spcPts val="0"/>
                        </a:spcBef>
                        <a:spcAft>
                          <a:spcPts val="0"/>
                        </a:spcAft>
                      </a:pPr>
                      <a:r>
                        <a:rPr lang="fr" sz="1600">
                          <a:effectLst/>
                          <a:latin typeface="+mn-lt"/>
                        </a:rPr>
                        <a:t>Pays</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600">
                          <a:effectLst/>
                          <a:latin typeface="+mn-lt"/>
                        </a:rPr>
                        <a:t>Ann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600">
                          <a:effectLst/>
                          <a:latin typeface="+mn-lt"/>
                        </a:rPr>
                        <a:t>Nb de doses expédiées</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600">
                          <a:solidFill>
                            <a:schemeClr val="bg1"/>
                          </a:solidFill>
                          <a:effectLst/>
                          <a:latin typeface="+mn-lt"/>
                          <a:ea typeface="Calibri" panose="020F0502020204030204" pitchFamily="34" charset="0"/>
                          <a:cs typeface="Times New Roman" panose="02020603050405020304" pitchFamily="18" charset="0"/>
                        </a:rPr>
                        <a:t>Population cible estimée</a:t>
                      </a:r>
                    </a:p>
                  </a:txBody>
                  <a:tcPr marL="35054" marR="35054" marT="0" marB="0" anchor="b"/>
                </a:tc>
                <a:tc>
                  <a:txBody>
                    <a:bodyPr/>
                    <a:lstStyle/>
                    <a:p>
                      <a:pPr marL="0" marR="0" algn="l" rtl="0">
                        <a:lnSpc>
                          <a:spcPct val="107000"/>
                        </a:lnSpc>
                        <a:spcBef>
                          <a:spcPts val="0"/>
                        </a:spcBef>
                        <a:spcAft>
                          <a:spcPts val="0"/>
                        </a:spcAft>
                      </a:pPr>
                      <a:r>
                        <a:rPr lang="fr" sz="1600">
                          <a:solidFill>
                            <a:schemeClr val="bg1"/>
                          </a:solidFill>
                          <a:effectLst/>
                          <a:latin typeface="+mn-lt"/>
                          <a:ea typeface="Calibri" panose="020F0502020204030204" pitchFamily="34" charset="0"/>
                          <a:cs typeface="Times New Roman" panose="02020603050405020304" pitchFamily="18" charset="0"/>
                        </a:rPr>
                        <a:t>Nombre de personnes vaccinées</a:t>
                      </a:r>
                    </a:p>
                  </a:txBody>
                  <a:tcPr marL="35054" marR="35054" marT="0" marB="0" anchor="b"/>
                </a:tc>
                <a:tc>
                  <a:txBody>
                    <a:bodyPr/>
                    <a:lstStyle/>
                    <a:p>
                      <a:pPr marL="0" marR="0" algn="l" rtl="0">
                        <a:lnSpc>
                          <a:spcPct val="107000"/>
                        </a:lnSpc>
                        <a:spcBef>
                          <a:spcPts val="0"/>
                        </a:spcBef>
                        <a:spcAft>
                          <a:spcPts val="0"/>
                        </a:spcAft>
                      </a:pPr>
                      <a:r>
                        <a:rPr lang="fr" sz="1600">
                          <a:solidFill>
                            <a:schemeClr val="bg1"/>
                          </a:solidFill>
                          <a:effectLst/>
                          <a:latin typeface="+mn-lt"/>
                          <a:ea typeface="Calibri" panose="020F0502020204030204" pitchFamily="34" charset="0"/>
                          <a:cs typeface="Times New Roman" panose="02020603050405020304" pitchFamily="18" charset="0"/>
                        </a:rPr>
                        <a:t>Couverture</a:t>
                      </a:r>
                    </a:p>
                  </a:txBody>
                  <a:tcPr marL="35054" marR="35054" marT="0" marB="0" anchor="b"/>
                </a:tc>
                <a:tc>
                  <a:txBody>
                    <a:bodyPr/>
                    <a:lstStyle/>
                    <a:p>
                      <a:pPr marL="0" marR="0" algn="l" rtl="0">
                        <a:lnSpc>
                          <a:spcPct val="107000"/>
                        </a:lnSpc>
                        <a:spcBef>
                          <a:spcPts val="0"/>
                        </a:spcBef>
                        <a:spcAft>
                          <a:spcPts val="0"/>
                        </a:spcAft>
                      </a:pPr>
                      <a:r>
                        <a:rPr lang="fr" sz="1600">
                          <a:effectLst/>
                          <a:latin typeface="+mn-lt"/>
                        </a:rPr>
                        <a:t>Indication</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600">
                          <a:effectLst/>
                          <a:latin typeface="+mn-lt"/>
                        </a:rPr>
                        <a:t>Groupe(s) cible(s)</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tc>
                  <a:txBody>
                    <a:bodyPr/>
                    <a:lstStyle/>
                    <a:p>
                      <a:pPr marL="0" marR="0" algn="l" rtl="0">
                        <a:lnSpc>
                          <a:spcPct val="107000"/>
                        </a:lnSpc>
                        <a:spcBef>
                          <a:spcPts val="0"/>
                        </a:spcBef>
                        <a:spcAft>
                          <a:spcPts val="0"/>
                        </a:spcAft>
                      </a:pPr>
                      <a:r>
                        <a:rPr lang="fr" sz="1600">
                          <a:effectLst/>
                          <a:latin typeface="+mn-lt"/>
                        </a:rPr>
                        <a:t>Demande auprès du GIC</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nchor="b"/>
                </a:tc>
                <a:extLst>
                  <a:ext uri="{0D108BD9-81ED-4DB2-BD59-A6C34878D82A}">
                    <a16:rowId xmlns:a16="http://schemas.microsoft.com/office/drawing/2014/main" val="3843207131"/>
                  </a:ext>
                </a:extLst>
              </a:tr>
              <a:tr h="309832">
                <a:tc rowSpan="5">
                  <a:txBody>
                    <a:bodyPr/>
                    <a:lstStyle/>
                    <a:p>
                      <a:pPr marL="0" marR="0" algn="l" rtl="0">
                        <a:lnSpc>
                          <a:spcPct val="107000"/>
                        </a:lnSpc>
                        <a:spcBef>
                          <a:spcPts val="0"/>
                        </a:spcBef>
                        <a:spcAft>
                          <a:spcPts val="0"/>
                        </a:spcAft>
                      </a:pPr>
                      <a:r>
                        <a:rPr lang="fr" sz="1600">
                          <a:effectLst/>
                          <a:latin typeface="+mn-lt"/>
                        </a:rPr>
                        <a:t>RDC</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021</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4 80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1 370</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effectLst/>
                          <a:latin typeface="+mn-lt"/>
                        </a:rPr>
                        <a:t>Flambée épidémique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Vaccination en ceintur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189872728"/>
                  </a:ext>
                </a:extLst>
              </a:tr>
              <a:tr h="309832">
                <a:tc vMerge="1">
                  <a:txBody>
                    <a:bodyPr/>
                    <a:lstStyle/>
                    <a:p>
                      <a:pPr rtl="0"/>
                      <a:endParaRPr lang="en-US"/>
                    </a:p>
                  </a:txBody>
                  <a:tcPr/>
                </a:tc>
                <a:tc>
                  <a:txBody>
                    <a:bodyPr/>
                    <a:lstStyle/>
                    <a:p>
                      <a:pPr marL="0" marR="0" algn="l" rtl="0">
                        <a:lnSpc>
                          <a:spcPct val="107000"/>
                        </a:lnSpc>
                        <a:spcBef>
                          <a:spcPts val="0"/>
                        </a:spcBef>
                        <a:spcAft>
                          <a:spcPts val="0"/>
                        </a:spcAft>
                      </a:pPr>
                      <a:r>
                        <a:rPr lang="fr" sz="1600">
                          <a:effectLst/>
                          <a:latin typeface="+mn-lt"/>
                        </a:rPr>
                        <a:t>2022</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1 77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2 105</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effectLst/>
                          <a:latin typeface="+mn-lt"/>
                        </a:rPr>
                        <a:t>Flambée épidémique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Vaccination en ceintur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4218608011"/>
                  </a:ext>
                </a:extLst>
              </a:tr>
              <a:tr h="309832">
                <a:tc vMerge="1">
                  <a:txBody>
                    <a:bodyPr/>
                    <a:lstStyle/>
                    <a:p>
                      <a:pPr rtl="0"/>
                      <a:endParaRPr lang="en-US"/>
                    </a:p>
                  </a:txBody>
                  <a:tcPr/>
                </a:tc>
                <a:tc>
                  <a:txBody>
                    <a:bodyPr/>
                    <a:lstStyle/>
                    <a:p>
                      <a:pPr marL="0" marR="0" algn="l" rtl="0">
                        <a:lnSpc>
                          <a:spcPct val="107000"/>
                        </a:lnSpc>
                        <a:spcBef>
                          <a:spcPts val="0"/>
                        </a:spcBef>
                        <a:spcAft>
                          <a:spcPts val="0"/>
                        </a:spcAft>
                      </a:pPr>
                      <a:r>
                        <a:rPr lang="fr" sz="1600">
                          <a:effectLst/>
                          <a:latin typeface="+mn-lt"/>
                        </a:rPr>
                        <a:t>2022</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962</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656</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r>
                        <a:rPr lang="fr" sz="1600">
                          <a:effectLst/>
                          <a:latin typeface="+mn-lt"/>
                        </a:rPr>
                        <a:t>Flambée épidémique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Vaccination en ceintur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606524546"/>
                  </a:ext>
                </a:extLst>
              </a:tr>
              <a:tr h="335475">
                <a:tc vMerge="1">
                  <a:txBody>
                    <a:bodyPr/>
                    <a:lstStyle/>
                    <a:p>
                      <a:pPr rtl="0"/>
                      <a:endParaRPr lang="en-US"/>
                    </a:p>
                  </a:txBody>
                  <a:tcPr/>
                </a:tc>
                <a:tc>
                  <a:txBody>
                    <a:bodyPr/>
                    <a:lstStyle/>
                    <a:p>
                      <a:pPr marL="0" marR="0" algn="l" rtl="0">
                        <a:lnSpc>
                          <a:spcPct val="107000"/>
                        </a:lnSpc>
                        <a:spcBef>
                          <a:spcPts val="0"/>
                        </a:spcBef>
                        <a:spcAft>
                          <a:spcPts val="0"/>
                        </a:spcAft>
                      </a:pPr>
                      <a:r>
                        <a:rPr lang="fr" sz="1600">
                          <a:effectLst/>
                          <a:latin typeface="+mn-lt"/>
                        </a:rPr>
                        <a:t>2023</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82 76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81 945</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43 273</a:t>
                      </a:r>
                    </a:p>
                  </a:txBody>
                  <a:tcPr marL="35054" marR="35054" marT="0" marB="0"/>
                </a:tc>
                <a:tc>
                  <a:txBody>
                    <a:bodyPr/>
                    <a:lstStyle/>
                    <a:p>
                      <a:pPr marL="0" marR="0" algn="l" rtl="0">
                        <a:lnSpc>
                          <a:spcPct val="107000"/>
                        </a:lnSpc>
                        <a:spcBef>
                          <a:spcPts val="0"/>
                        </a:spcBef>
                        <a:spcAft>
                          <a:spcPts val="0"/>
                        </a:spcAft>
                      </a:pPr>
                      <a:r>
                        <a:rPr lang="fr" sz="1600" b="1">
                          <a:solidFill>
                            <a:srgbClr val="000000"/>
                          </a:solidFill>
                          <a:effectLst/>
                          <a:latin typeface="+mn-lt"/>
                          <a:ea typeface="Calibri" panose="020F0502020204030204" pitchFamily="34" charset="0"/>
                          <a:cs typeface="Times New Roman" panose="02020603050405020304" pitchFamily="18" charset="0"/>
                        </a:rPr>
                        <a:t>52,8 %</a:t>
                      </a: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gents de première lign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4250007951"/>
                  </a:ext>
                </a:extLst>
              </a:tr>
              <a:tr h="335475">
                <a:tc vMerge="1">
                  <a:txBody>
                    <a:bodyPr/>
                    <a:lstStyle/>
                    <a:p>
                      <a:pPr marL="0" marR="0" algn="l" rtl="0">
                        <a:lnSpc>
                          <a:spcPct val="107000"/>
                        </a:lnSpc>
                        <a:spcBef>
                          <a:spcPts val="0"/>
                        </a:spcBef>
                        <a:spcAft>
                          <a:spcPts val="0"/>
                        </a:spcAft>
                      </a:pPr>
                      <a:endParaRPr lang="en-US" sz="15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023</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1 67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34 445</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22 569</a:t>
                      </a:r>
                    </a:p>
                  </a:txBody>
                  <a:tcPr marL="35054" marR="35054" marT="0" marB="0"/>
                </a:tc>
                <a:tc>
                  <a:txBody>
                    <a:bodyPr/>
                    <a:lstStyle/>
                    <a:p>
                      <a:pPr marL="0" marR="0" algn="l" rtl="0">
                        <a:lnSpc>
                          <a:spcPct val="107000"/>
                        </a:lnSpc>
                        <a:spcBef>
                          <a:spcPts val="0"/>
                        </a:spcBef>
                        <a:spcAft>
                          <a:spcPts val="0"/>
                        </a:spcAft>
                      </a:pPr>
                      <a:r>
                        <a:rPr lang="fr" sz="1600" b="1">
                          <a:solidFill>
                            <a:srgbClr val="000000"/>
                          </a:solidFill>
                          <a:effectLst/>
                          <a:latin typeface="+mn-lt"/>
                          <a:ea typeface="Calibri" panose="020F0502020204030204" pitchFamily="34" charset="0"/>
                          <a:cs typeface="Times New Roman" panose="02020603050405020304" pitchFamily="18" charset="0"/>
                        </a:rPr>
                        <a:t>65,5 %</a:t>
                      </a: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gents de première ligne</a:t>
                      </a:r>
                      <a:r>
                        <a:rPr lang="fr" sz="1600" baseline="30000">
                          <a:effectLst/>
                          <a:latin typeface="+mn-lt"/>
                        </a:rPr>
                        <a:t>†</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414954713"/>
                  </a:ext>
                </a:extLst>
              </a:tr>
              <a:tr h="309832">
                <a:tc rowSpan="2">
                  <a:txBody>
                    <a:bodyPr/>
                    <a:lstStyle/>
                    <a:p>
                      <a:pPr marL="0" marR="0" algn="l" rtl="0">
                        <a:lnSpc>
                          <a:spcPct val="107000"/>
                        </a:lnSpc>
                        <a:spcBef>
                          <a:spcPts val="0"/>
                        </a:spcBef>
                        <a:spcAft>
                          <a:spcPts val="0"/>
                        </a:spcAft>
                      </a:pPr>
                      <a:r>
                        <a:rPr lang="fr" sz="1600">
                          <a:effectLst/>
                          <a:latin typeface="+mn-lt"/>
                        </a:rPr>
                        <a:t>Ouganda</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022</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12 06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12 060</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12 007</a:t>
                      </a:r>
                    </a:p>
                  </a:txBody>
                  <a:tcPr marL="35054" marR="35054" marT="0" marB="0"/>
                </a:tc>
                <a:tc>
                  <a:txBody>
                    <a:bodyPr/>
                    <a:lstStyle/>
                    <a:p>
                      <a:pPr marL="0" marR="0" algn="l" rtl="0">
                        <a:lnSpc>
                          <a:spcPct val="107000"/>
                        </a:lnSpc>
                        <a:spcBef>
                          <a:spcPts val="0"/>
                        </a:spcBef>
                        <a:spcAft>
                          <a:spcPts val="0"/>
                        </a:spcAft>
                      </a:pPr>
                      <a:r>
                        <a:rPr lang="fr" sz="1600" b="1">
                          <a:solidFill>
                            <a:srgbClr val="000000"/>
                          </a:solidFill>
                          <a:effectLst/>
                          <a:latin typeface="+mn-lt"/>
                          <a:ea typeface="Calibri" panose="020F0502020204030204" pitchFamily="34" charset="0"/>
                          <a:cs typeface="Times New Roman" panose="02020603050405020304" pitchFamily="18" charset="0"/>
                        </a:rPr>
                        <a:t>99,6 %</a:t>
                      </a: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 </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gents de première lign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1853218791"/>
                  </a:ext>
                </a:extLst>
              </a:tr>
              <a:tr h="520841">
                <a:tc vMerge="1">
                  <a:txBody>
                    <a:bodyPr/>
                    <a:lstStyle/>
                    <a:p>
                      <a:pPr rtl="0"/>
                      <a:endParaRPr lang="en-US"/>
                    </a:p>
                  </a:txBody>
                  <a:tcPr/>
                </a:tc>
                <a:tc>
                  <a:txBody>
                    <a:bodyPr/>
                    <a:lstStyle/>
                    <a:p>
                      <a:pPr marL="0" marR="0" algn="l" rtl="0">
                        <a:lnSpc>
                          <a:spcPct val="107000"/>
                        </a:lnSpc>
                        <a:spcBef>
                          <a:spcPts val="0"/>
                        </a:spcBef>
                        <a:spcAft>
                          <a:spcPts val="0"/>
                        </a:spcAft>
                      </a:pPr>
                      <a:r>
                        <a:rPr lang="fr" sz="1600">
                          <a:effectLst/>
                          <a:latin typeface="+mn-lt"/>
                        </a:rPr>
                        <a:t>2023</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11 40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11 096</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9 640</a:t>
                      </a:r>
                    </a:p>
                  </a:txBody>
                  <a:tcPr marL="35054" marR="35054" marT="0" marB="0"/>
                </a:tc>
                <a:tc>
                  <a:txBody>
                    <a:bodyPr/>
                    <a:lstStyle/>
                    <a:p>
                      <a:pPr marL="0" marR="0" algn="l" rtl="0">
                        <a:lnSpc>
                          <a:spcPct val="107000"/>
                        </a:lnSpc>
                        <a:spcBef>
                          <a:spcPts val="0"/>
                        </a:spcBef>
                        <a:spcAft>
                          <a:spcPts val="0"/>
                        </a:spcAft>
                      </a:pPr>
                      <a:r>
                        <a:rPr lang="fr" sz="1600" b="1">
                          <a:solidFill>
                            <a:srgbClr val="000000"/>
                          </a:solidFill>
                          <a:effectLst/>
                          <a:latin typeface="+mn-lt"/>
                          <a:ea typeface="Calibri" panose="020F0502020204030204" pitchFamily="34" charset="0"/>
                          <a:cs typeface="Times New Roman" panose="02020603050405020304" pitchFamily="18" charset="0"/>
                        </a:rPr>
                        <a:t>86,9 %</a:t>
                      </a: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gents de première ligne et forces de sécurité</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Partiellement approuvé</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405303516"/>
                  </a:ext>
                </a:extLst>
              </a:tr>
              <a:tr h="520841">
                <a:tc>
                  <a:txBody>
                    <a:bodyPr/>
                    <a:lstStyle/>
                    <a:p>
                      <a:pPr marL="0" marR="0" algn="l" rtl="0">
                        <a:lnSpc>
                          <a:spcPct val="107000"/>
                        </a:lnSpc>
                        <a:spcBef>
                          <a:spcPts val="0"/>
                        </a:spcBef>
                        <a:spcAft>
                          <a:spcPts val="0"/>
                        </a:spcAft>
                      </a:pPr>
                      <a:r>
                        <a:rPr lang="fr" sz="1600">
                          <a:effectLst/>
                          <a:latin typeface="+mn-lt"/>
                        </a:rPr>
                        <a:t>Guinée-Bissau</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023</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11 17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7 835</a:t>
                      </a:r>
                    </a:p>
                  </a:txBody>
                  <a:tcPr marL="35054" marR="35054" marT="0" marB="0"/>
                </a:tc>
                <a:tc>
                  <a:txBody>
                    <a:bodyPr/>
                    <a:lstStyle/>
                    <a:p>
                      <a:pPr marL="0" marR="0" algn="l"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5 529</a:t>
                      </a:r>
                    </a:p>
                  </a:txBody>
                  <a:tcPr marL="35054" marR="35054" marT="0" marB="0"/>
                </a:tc>
                <a:tc>
                  <a:txBody>
                    <a:bodyPr/>
                    <a:lstStyle/>
                    <a:p>
                      <a:pPr marL="0" marR="0" algn="l" rtl="0">
                        <a:lnSpc>
                          <a:spcPct val="107000"/>
                        </a:lnSpc>
                        <a:spcBef>
                          <a:spcPts val="0"/>
                        </a:spcBef>
                        <a:spcAft>
                          <a:spcPts val="0"/>
                        </a:spcAft>
                      </a:pPr>
                      <a:r>
                        <a:rPr lang="fr" sz="1600" b="1">
                          <a:solidFill>
                            <a:srgbClr val="000000"/>
                          </a:solidFill>
                          <a:effectLst/>
                          <a:latin typeface="+mn-lt"/>
                          <a:ea typeface="Calibri" panose="020F0502020204030204" pitchFamily="34" charset="0"/>
                          <a:cs typeface="Times New Roman" panose="02020603050405020304" pitchFamily="18" charset="0"/>
                        </a:rPr>
                        <a:t>70,6 %</a:t>
                      </a: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Travailleurs de la santé et de première ligne, personnel d’appui</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Approuvée</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335245439"/>
                  </a:ext>
                </a:extLst>
              </a:tr>
              <a:tr h="309832">
                <a:tc>
                  <a:txBody>
                    <a:bodyPr/>
                    <a:lstStyle/>
                    <a:p>
                      <a:pPr marL="0" marR="0" algn="l" rtl="0">
                        <a:lnSpc>
                          <a:spcPct val="107000"/>
                        </a:lnSpc>
                        <a:spcBef>
                          <a:spcPts val="0"/>
                        </a:spcBef>
                        <a:spcAft>
                          <a:spcPts val="0"/>
                        </a:spcAft>
                      </a:pPr>
                      <a:r>
                        <a:rPr lang="fr" sz="1600">
                          <a:effectLst/>
                          <a:latin typeface="+mn-lt"/>
                        </a:rPr>
                        <a:t>Kenya</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2022</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0</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ctr"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ctr" rtl="0">
                        <a:lnSpc>
                          <a:spcPct val="107000"/>
                        </a:lnSpc>
                        <a:spcBef>
                          <a:spcPts val="0"/>
                        </a:spcBef>
                        <a:spcAft>
                          <a:spcPts val="0"/>
                        </a:spcAft>
                      </a:pPr>
                      <a:r>
                        <a:rPr lang="fr" sz="1600">
                          <a:solidFill>
                            <a:srgbClr val="000000"/>
                          </a:solidFill>
                          <a:effectLst/>
                          <a:latin typeface="+mn-lt"/>
                          <a:ea typeface="Calibri" panose="020F0502020204030204" pitchFamily="34" charset="0"/>
                          <a:cs typeface="Times New Roman" panose="02020603050405020304" pitchFamily="18" charset="0"/>
                        </a:rPr>
                        <a:t>-</a:t>
                      </a:r>
                    </a:p>
                  </a:txBody>
                  <a:tcPr marL="35054" marR="35054" marT="0" marB="0"/>
                </a:tc>
                <a:tc>
                  <a:txBody>
                    <a:bodyPr/>
                    <a:lstStyle/>
                    <a:p>
                      <a:pPr marL="0" marR="0" algn="l" rtl="0">
                        <a:lnSpc>
                          <a:spcPct val="107000"/>
                        </a:lnSpc>
                        <a:spcBef>
                          <a:spcPts val="0"/>
                        </a:spcBef>
                        <a:spcAft>
                          <a:spcPts val="0"/>
                        </a:spcAft>
                      </a:pP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Prévention</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Forces de sécurité</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tc>
                  <a:txBody>
                    <a:bodyPr/>
                    <a:lstStyle/>
                    <a:p>
                      <a:pPr marL="0" marR="0" algn="l" rtl="0">
                        <a:lnSpc>
                          <a:spcPct val="107000"/>
                        </a:lnSpc>
                        <a:spcBef>
                          <a:spcPts val="0"/>
                        </a:spcBef>
                        <a:spcAft>
                          <a:spcPts val="0"/>
                        </a:spcAft>
                      </a:pPr>
                      <a:r>
                        <a:rPr lang="fr" sz="1600">
                          <a:effectLst/>
                          <a:latin typeface="+mn-lt"/>
                        </a:rPr>
                        <a:t>Non approuvé</a:t>
                      </a:r>
                      <a:endParaRPr lang="en-US" sz="1600">
                        <a:solidFill>
                          <a:srgbClr val="000000"/>
                        </a:solidFill>
                        <a:effectLst/>
                        <a:latin typeface="+mn-lt"/>
                        <a:ea typeface="Calibri" panose="020F0502020204030204" pitchFamily="34" charset="0"/>
                        <a:cs typeface="Times New Roman" panose="02020603050405020304" pitchFamily="18" charset="0"/>
                      </a:endParaRPr>
                    </a:p>
                  </a:txBody>
                  <a:tcPr marL="35054" marR="35054" marT="0" marB="0"/>
                </a:tc>
                <a:extLst>
                  <a:ext uri="{0D108BD9-81ED-4DB2-BD59-A6C34878D82A}">
                    <a16:rowId xmlns:a16="http://schemas.microsoft.com/office/drawing/2014/main" val="2195144808"/>
                  </a:ext>
                </a:extLst>
              </a:tr>
            </a:tbl>
          </a:graphicData>
        </a:graphic>
      </p:graphicFrame>
      <p:sp>
        <p:nvSpPr>
          <p:cNvPr id="10" name="TextBox 9">
            <a:extLst>
              <a:ext uri="{FF2B5EF4-FFF2-40B4-BE49-F238E27FC236}">
                <a16:creationId xmlns:a16="http://schemas.microsoft.com/office/drawing/2014/main" id="{65EE224C-5D77-4B17-82BD-4A97066F9198}"/>
              </a:ext>
            </a:extLst>
          </p:cNvPr>
          <p:cNvSpPr txBox="1"/>
          <p:nvPr/>
        </p:nvSpPr>
        <p:spPr>
          <a:xfrm>
            <a:off x="182078" y="6189658"/>
            <a:ext cx="10948230" cy="541687"/>
          </a:xfrm>
          <a:prstGeom prst="rect">
            <a:avLst/>
          </a:prstGeom>
          <a:noFill/>
        </p:spPr>
        <p:txBody>
          <a:bodyPr wrap="square" rtlCol="0">
            <a:spAutoFit/>
          </a:bodyPr>
          <a:lstStyle/>
          <a:p>
            <a:pPr rtl="0">
              <a:lnSpc>
                <a:spcPct val="107000"/>
              </a:lnSpc>
              <a:spcAft>
                <a:spcPts val="300"/>
              </a:spcAft>
            </a:pPr>
            <a:r>
              <a:rPr lang="fr" sz="1200"/>
              <a:t>Kallay R et al. Use of Ebola Vaccines — Worldwide, 2021–2023. MMWR Morb Mortal Wkly Rep. 2024;73:360–364. DOI: </a:t>
            </a:r>
            <a:r>
              <a:rPr lang="fr" sz="1200" u="sng">
                <a:hlinkClick r:id="rId3"/>
              </a:rPr>
              <a:t>http://dx.doi.org/10.15585/mmwr.mm7316a1</a:t>
            </a:r>
            <a:br>
              <a:rPr lang="en-US" sz="1200"/>
            </a:br>
            <a:endParaRPr lang="en-US" sz="16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45257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FD7A7-8D94-3259-E229-AB23047BDC70}"/>
              </a:ext>
            </a:extLst>
          </p:cNvPr>
          <p:cNvSpPr>
            <a:spLocks noGrp="1"/>
          </p:cNvSpPr>
          <p:nvPr>
            <p:ph type="title"/>
          </p:nvPr>
        </p:nvSpPr>
        <p:spPr/>
        <p:txBody>
          <a:bodyPr rtlCol="0">
            <a:noAutofit/>
          </a:bodyPr>
          <a:lstStyle/>
          <a:p>
            <a:r>
              <a:rPr lang="fr" err="1">
                <a:latin typeface="Poppins"/>
                <a:cs typeface="Poppins"/>
              </a:rPr>
              <a:t>Decouverte</a:t>
            </a:r>
            <a:r>
              <a:rPr lang="fr">
                <a:latin typeface="Poppins"/>
                <a:cs typeface="Poppins"/>
              </a:rPr>
              <a:t> du virus Ebola 1976 </a:t>
            </a:r>
            <a:endParaRPr lang="en-US" i="0">
              <a:effectLst/>
              <a:latin typeface="Poppins"/>
              <a:cs typeface="Poppins"/>
            </a:endParaRPr>
          </a:p>
        </p:txBody>
      </p:sp>
      <p:sp>
        <p:nvSpPr>
          <p:cNvPr id="4" name="Text Placeholder 3">
            <a:extLst>
              <a:ext uri="{FF2B5EF4-FFF2-40B4-BE49-F238E27FC236}">
                <a16:creationId xmlns:a16="http://schemas.microsoft.com/office/drawing/2014/main" id="{B66F6E39-FF73-4813-0A69-7069FC8B26B6}"/>
              </a:ext>
            </a:extLst>
          </p:cNvPr>
          <p:cNvSpPr>
            <a:spLocks noGrp="1"/>
          </p:cNvSpPr>
          <p:nvPr>
            <p:ph idx="1"/>
          </p:nvPr>
        </p:nvSpPr>
        <p:spPr/>
        <p:txBody>
          <a:bodyPr vert="horz" lIns="91440" tIns="45720" rIns="91440" bIns="45720" rtlCol="0" anchor="t">
            <a:normAutofit fontScale="92500" lnSpcReduction="20000"/>
          </a:bodyPr>
          <a:lstStyle/>
          <a:p>
            <a:pPr marL="0" indent="0" rtl="0">
              <a:buNone/>
            </a:pPr>
            <a:r>
              <a:rPr lang="fr-FR" sz="2400" dirty="0">
                <a:solidFill>
                  <a:srgbClr val="0040C0"/>
                </a:solidFill>
              </a:rPr>
              <a:t>La </a:t>
            </a:r>
            <a:r>
              <a:rPr lang="fr-FR" sz="2400" i="0" dirty="0">
                <a:solidFill>
                  <a:srgbClr val="0040C0"/>
                </a:solidFill>
                <a:effectLst/>
              </a:rPr>
              <a:t>maladie à virus Ebola a été détectée pour la première fois dans la province de l’Équateur, la plupart des cas survenant à moins de 70 km de distance du village de </a:t>
            </a:r>
            <a:r>
              <a:rPr lang="fr-FR" sz="2400" i="0" dirty="0" err="1">
                <a:solidFill>
                  <a:srgbClr val="0040C0"/>
                </a:solidFill>
                <a:effectLst/>
              </a:rPr>
              <a:t>Yambuku</a:t>
            </a:r>
            <a:r>
              <a:rPr lang="fr-FR" sz="2400" i="0" dirty="0">
                <a:solidFill>
                  <a:srgbClr val="0040C0"/>
                </a:solidFill>
                <a:effectLst/>
              </a:rPr>
              <a:t>.  Le cas indicateur a été traité à l’hôpital de mission de </a:t>
            </a:r>
            <a:r>
              <a:rPr lang="fr-FR" sz="2400" i="0" dirty="0" err="1">
                <a:solidFill>
                  <a:srgbClr val="0040C0"/>
                </a:solidFill>
                <a:effectLst/>
              </a:rPr>
              <a:t>Yambuku</a:t>
            </a:r>
            <a:r>
              <a:rPr lang="fr-FR" sz="2400" i="0" dirty="0">
                <a:solidFill>
                  <a:srgbClr val="0040C0"/>
                </a:solidFill>
                <a:effectLst/>
              </a:rPr>
              <a:t> au moyen d’une solution injectable destinée à soigner un paludisme potentiel. Par la suite, la transmission s’est faite à travers l’utilisation d’aiguilles et de seringues contaminées dans les hôpitaux et cliniques de la région, ainsi que par contact étroit entre les personnes. </a:t>
            </a:r>
            <a:endParaRPr lang="fr-FR" sz="2400" i="0" dirty="0">
              <a:solidFill>
                <a:srgbClr val="0040C0"/>
              </a:solidFill>
              <a:effectLst/>
              <a:ea typeface="Calibri"/>
              <a:cs typeface="Calibri"/>
            </a:endParaRPr>
          </a:p>
          <a:p>
            <a:pPr marL="0" indent="0" rtl="0">
              <a:buNone/>
            </a:pPr>
            <a:endParaRPr lang="fr-FR" sz="2400">
              <a:solidFill>
                <a:srgbClr val="0040C0"/>
              </a:solidFill>
              <a:ea typeface="Calibri"/>
              <a:cs typeface="Calibri"/>
            </a:endParaRPr>
          </a:p>
          <a:p>
            <a:pPr marL="0" indent="0" rtl="0">
              <a:buNone/>
            </a:pPr>
            <a:r>
              <a:rPr lang="fr-FR" sz="2400" b="0" i="0" dirty="0">
                <a:solidFill>
                  <a:srgbClr val="000000"/>
                </a:solidFill>
                <a:effectLst/>
              </a:rPr>
              <a:t>Une autre flambée épidémique s’est déclarée à la même époque (</a:t>
            </a:r>
            <a:r>
              <a:rPr lang="fr-FR" sz="2400" dirty="0">
                <a:solidFill>
                  <a:srgbClr val="000000"/>
                </a:solidFill>
              </a:rPr>
              <a:t>1976) dans ce qui est aujourd’hui le Soudan du Sud.</a:t>
            </a:r>
            <a:endParaRPr lang="fr-FR" sz="2400" b="0" i="0" dirty="0">
              <a:solidFill>
                <a:srgbClr val="000000"/>
              </a:solidFill>
              <a:effectLst/>
              <a:ea typeface="Calibri"/>
              <a:cs typeface="Calibri"/>
            </a:endParaRPr>
          </a:p>
          <a:p>
            <a:pPr marL="0" indent="0" rtl="0">
              <a:buNone/>
            </a:pPr>
            <a:r>
              <a:rPr lang="fr-FR" sz="2400" b="0" i="0" dirty="0">
                <a:solidFill>
                  <a:srgbClr val="0040C0"/>
                </a:solidFill>
                <a:effectLst/>
              </a:rPr>
              <a:t>Elle a touché les villes de </a:t>
            </a:r>
            <a:r>
              <a:rPr lang="fr-FR" sz="2400" b="0" i="0" dirty="0" err="1">
                <a:solidFill>
                  <a:srgbClr val="0040C0"/>
                </a:solidFill>
                <a:effectLst/>
              </a:rPr>
              <a:t>Nzara</a:t>
            </a:r>
            <a:r>
              <a:rPr lang="fr-FR" sz="2400" b="0" i="0" dirty="0">
                <a:solidFill>
                  <a:srgbClr val="0040C0"/>
                </a:solidFill>
                <a:effectLst/>
              </a:rPr>
              <a:t> et </a:t>
            </a:r>
            <a:r>
              <a:rPr lang="fr-FR" sz="2400" b="0" i="0" dirty="0" err="1">
                <a:solidFill>
                  <a:srgbClr val="0040C0"/>
                </a:solidFill>
                <a:effectLst/>
              </a:rPr>
              <a:t>Maridi</a:t>
            </a:r>
            <a:r>
              <a:rPr lang="fr-FR" sz="2400" b="0" i="0" dirty="0">
                <a:solidFill>
                  <a:srgbClr val="0040C0"/>
                </a:solidFill>
                <a:effectLst/>
              </a:rPr>
              <a:t> ainsi que les zones environnantes. On pense que cette épidémie a commencé avec les ouvriers d’une usine de coton où 37 % des travailleurs affectés à la salle des tissus étaient infectés. Le virus s’est propagé principalement par contact étroit avec les personnes infectées au sein d’hôpitaux. De nombreux personnels de santé ont été contaminés.</a:t>
            </a:r>
            <a:endParaRPr lang="fr-FR" sz="2400" b="0" i="0" dirty="0">
              <a:solidFill>
                <a:srgbClr val="0040C0"/>
              </a:solidFill>
              <a:effectLst/>
              <a:ea typeface="Calibri"/>
              <a:cs typeface="Calibri"/>
            </a:endParaRPr>
          </a:p>
          <a:p>
            <a:pPr marL="0" indent="0" rtl="0">
              <a:buNone/>
            </a:pPr>
            <a:endParaRPr lang="fr-FR" sz="2400" b="0" i="0">
              <a:solidFill>
                <a:srgbClr val="0040C0"/>
              </a:solidFill>
              <a:effectLst/>
              <a:ea typeface="Calibri"/>
              <a:cs typeface="Calibri"/>
            </a:endParaRPr>
          </a:p>
          <a:p>
            <a:pPr marL="0" indent="0">
              <a:buNone/>
            </a:pPr>
            <a:r>
              <a:rPr lang="fr-FR" sz="2400" dirty="0">
                <a:solidFill>
                  <a:srgbClr val="000000"/>
                </a:solidFill>
                <a:cs typeface="Times New Roman"/>
              </a:rPr>
              <a:t>On compte cinq flambées connues entre 1976 et 1979 et un total de 638 cas dont 454 décès (taux de létalité de 71 %) </a:t>
            </a:r>
            <a:endParaRPr lang="fr-FR" sz="2400" dirty="0">
              <a:latin typeface="Calibri" panose="020F0502020204030204" pitchFamily="34" charset="0"/>
              <a:ea typeface="Calibri" panose="020F0502020204030204" pitchFamily="34" charset="0"/>
              <a:cs typeface="Times New Roman"/>
            </a:endParaRPr>
          </a:p>
          <a:p>
            <a:pPr marL="342900" indent="-342900" rtl="0">
              <a:buFont typeface="Arial" panose="020B0604020202020204" pitchFamily="34" charset="0"/>
              <a:buChar char="•"/>
            </a:pPr>
            <a:endParaRPr lang="en-US">
              <a:latin typeface="Calibri" panose="020F0502020204030204" pitchFamily="34" charset="0"/>
              <a:cs typeface="Calibri" panose="020F0502020204030204" pitchFamily="34" charset="0"/>
            </a:endParaRPr>
          </a:p>
          <a:p>
            <a:pPr marL="342900" indent="-342900" rtl="0">
              <a:buFont typeface="Arial" panose="020B0604020202020204" pitchFamily="34" charset="0"/>
              <a:buChar char="•"/>
            </a:pPr>
            <a:endParaRPr lang="en-US">
              <a:latin typeface="Calibri" panose="020F0502020204030204" pitchFamily="34" charset="0"/>
              <a:cs typeface="Calibri" panose="020F0502020204030204" pitchFamily="34" charset="0"/>
            </a:endParaRPr>
          </a:p>
          <a:p>
            <a:pPr rtl="0"/>
            <a:endParaRPr lang="en-US"/>
          </a:p>
        </p:txBody>
      </p:sp>
    </p:spTree>
    <p:extLst>
      <p:ext uri="{BB962C8B-B14F-4D97-AF65-F5344CB8AC3E}">
        <p14:creationId xmlns:p14="http://schemas.microsoft.com/office/powerpoint/2010/main" val="1168008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rtlCol="0"/>
          <a:lstStyle/>
          <a:p>
            <a:pPr rtl="0"/>
            <a:r>
              <a:rPr lang="fr"/>
              <a:t>Fin du 20e siècle (1989 - 1996)</a:t>
            </a:r>
          </a:p>
        </p:txBody>
      </p:sp>
      <p:sp>
        <p:nvSpPr>
          <p:cNvPr id="3" name="Content Placeholder 2"/>
          <p:cNvSpPr>
            <a:spLocks noGrp="1"/>
          </p:cNvSpPr>
          <p:nvPr>
            <p:ph idx="1"/>
          </p:nvPr>
        </p:nvSpPr>
        <p:spPr/>
        <p:txBody>
          <a:bodyPr vert="horz" lIns="91440" tIns="45720" rIns="91440" bIns="45720" rtlCol="0" anchor="t">
            <a:normAutofit/>
          </a:bodyPr>
          <a:lstStyle/>
          <a:p>
            <a:pPr marL="380365" lvl="1" rtl="0">
              <a:spcBef>
                <a:spcPts val="0"/>
              </a:spcBef>
              <a:spcAft>
                <a:spcPts val="1600"/>
              </a:spcAft>
              <a:defRPr/>
            </a:pPr>
            <a:r>
              <a:rPr lang="fr" sz="2400">
                <a:solidFill>
                  <a:srgbClr val="000000"/>
                </a:solidFill>
                <a:cs typeface="Times New Roman"/>
              </a:rPr>
              <a:t>1989 : Virus Reston découvert chez des singes de laboratoire importés des Philippines aux États-Unis.</a:t>
            </a:r>
            <a:endParaRPr lang="en-US">
              <a:cs typeface="Times New Roman"/>
            </a:endParaRPr>
          </a:p>
          <a:p>
            <a:pPr marL="380365" lvl="1" rtl="0">
              <a:spcBef>
                <a:spcPts val="0"/>
              </a:spcBef>
              <a:spcAft>
                <a:spcPts val="1600"/>
              </a:spcAft>
              <a:defRPr/>
            </a:pPr>
            <a:r>
              <a:rPr lang="fr" sz="2400">
                <a:solidFill>
                  <a:srgbClr val="000000"/>
                </a:solidFill>
                <a:ea typeface="Calibri" panose="020F0502020204030204" pitchFamily="34" charset="0"/>
                <a:cs typeface="Times New Roman"/>
              </a:rPr>
              <a:t>1994 : Virus de la Forêt de Ta</a:t>
            </a:r>
            <a:r>
              <a:rPr lang="fr" sz="2400">
                <a:solidFill>
                  <a:srgbClr val="000000"/>
                </a:solidFill>
                <a:ea typeface="Calibri" panose="020F0502020204030204" pitchFamily="34" charset="0"/>
                <a:cs typeface="Calibri"/>
              </a:rPr>
              <a:t>ï</a:t>
            </a:r>
            <a:r>
              <a:rPr lang="fr" sz="2400">
                <a:solidFill>
                  <a:srgbClr val="000000"/>
                </a:solidFill>
                <a:ea typeface="Calibri" panose="020F0502020204030204" pitchFamily="34" charset="0"/>
                <a:cs typeface="Times New Roman"/>
              </a:rPr>
              <a:t> découvert en C</a:t>
            </a:r>
            <a:r>
              <a:rPr lang="fr" sz="2400">
                <a:solidFill>
                  <a:srgbClr val="000000"/>
                </a:solidFill>
                <a:ea typeface="Calibri" panose="020F0502020204030204" pitchFamily="34" charset="0"/>
                <a:cs typeface="Calibri"/>
              </a:rPr>
              <a:t>ô</a:t>
            </a:r>
            <a:r>
              <a:rPr lang="fr" sz="2400">
                <a:solidFill>
                  <a:srgbClr val="000000"/>
                </a:solidFill>
                <a:ea typeface="Calibri" panose="020F0502020204030204" pitchFamily="34" charset="0"/>
                <a:cs typeface="Times New Roman"/>
              </a:rPr>
              <a:t>te d’Ivoire par un enquêteur de terrain qui avait pratiqué l’autopsie d’un chimpanzé sauvage.</a:t>
            </a:r>
          </a:p>
          <a:p>
            <a:pPr marL="913765" lvl="2" rtl="0">
              <a:spcBef>
                <a:spcPts val="0"/>
              </a:spcBef>
              <a:spcAft>
                <a:spcPts val="1600"/>
              </a:spcAft>
              <a:defRPr/>
            </a:pPr>
            <a:r>
              <a:rPr lang="fr" sz="2400">
                <a:solidFill>
                  <a:srgbClr val="000000"/>
                </a:solidFill>
                <a:ea typeface="Calibri" panose="020F0502020204030204" pitchFamily="34" charset="0"/>
                <a:cs typeface="Times New Roman" panose="02020603050405020304" pitchFamily="18" charset="0"/>
              </a:rPr>
              <a:t>Demeure le seul cas humain connu de virus de la Forêt de Taï à ce jour.  </a:t>
            </a:r>
            <a:endParaRPr lang="es-BO" sz="2400">
              <a:solidFill>
                <a:srgbClr val="000000"/>
              </a:solidFill>
              <a:ea typeface="Calibri" panose="020F0502020204030204" pitchFamily="34" charset="0"/>
              <a:cs typeface="Times New Roman" panose="02020603050405020304" pitchFamily="18" charset="0"/>
            </a:endParaRPr>
          </a:p>
          <a:p>
            <a:pPr marL="380365" lvl="1" rtl="0">
              <a:spcBef>
                <a:spcPts val="0"/>
              </a:spcBef>
              <a:spcAft>
                <a:spcPts val="1600"/>
              </a:spcAft>
              <a:defRPr/>
            </a:pPr>
            <a:r>
              <a:rPr lang="fr" sz="2400" b="1">
                <a:solidFill>
                  <a:srgbClr val="000000"/>
                </a:solidFill>
                <a:ea typeface="Calibri" panose="020F0502020204030204" pitchFamily="34" charset="0"/>
                <a:cs typeface="Times New Roman" panose="02020603050405020304" pitchFamily="18" charset="0"/>
              </a:rPr>
              <a:t>On recense 8 flambées épidémiques connues entre 1989 et 1996. </a:t>
            </a:r>
          </a:p>
          <a:p>
            <a:pPr marL="913765" lvl="2" rtl="0">
              <a:spcBef>
                <a:spcPts val="0"/>
              </a:spcBef>
              <a:spcAft>
                <a:spcPts val="1600"/>
              </a:spcAft>
              <a:defRPr/>
            </a:pPr>
            <a:r>
              <a:rPr lang="fr" sz="2400" b="1">
                <a:solidFill>
                  <a:srgbClr val="000000"/>
                </a:solidFill>
                <a:ea typeface="Calibri" panose="020F0502020204030204" pitchFamily="34" charset="0"/>
                <a:cs typeface="Times New Roman" panose="02020603050405020304" pitchFamily="18" charset="0"/>
              </a:rPr>
              <a:t>Un total de 468 cas et 353 décès (taux de létalité de 75 %) ont été répertoriés</a:t>
            </a:r>
            <a:endParaRPr lang="es-BO" sz="2400">
              <a:solidFill>
                <a:srgbClr val="000000"/>
              </a:solidFill>
              <a:ea typeface="Calibri" panose="020F0502020204030204" pitchFamily="34" charset="0"/>
              <a:cs typeface="Times New Roman" panose="02020603050405020304" pitchFamily="18" charset="0"/>
            </a:endParaRPr>
          </a:p>
          <a:p>
            <a:pPr marL="151765" lvl="1" indent="0" rtl="0">
              <a:spcBef>
                <a:spcPts val="0"/>
              </a:spcBef>
              <a:spcAft>
                <a:spcPts val="1600"/>
              </a:spcAft>
              <a:buClr>
                <a:srgbClr val="8E8D01"/>
              </a:buClr>
              <a:buNone/>
              <a:defRPr/>
            </a:pPr>
            <a:endParaRPr lang="en-US" sz="2400">
              <a:solidFill>
                <a:srgbClr val="000000"/>
              </a:solidFill>
              <a:cs typeface="Calibri" panose="020F0502020204030204"/>
            </a:endParaRPr>
          </a:p>
        </p:txBody>
      </p:sp>
    </p:spTree>
    <p:extLst>
      <p:ext uri="{BB962C8B-B14F-4D97-AF65-F5344CB8AC3E}">
        <p14:creationId xmlns:p14="http://schemas.microsoft.com/office/powerpoint/2010/main" val="89279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rtlCol="0"/>
          <a:lstStyle/>
          <a:p>
            <a:pPr rtl="0"/>
            <a:r>
              <a:rPr lang="fr"/>
              <a:t>Début du siècle (2000-2008)</a:t>
            </a:r>
          </a:p>
        </p:txBody>
      </p:sp>
      <p:sp>
        <p:nvSpPr>
          <p:cNvPr id="3" name="Content Placeholder 2"/>
          <p:cNvSpPr>
            <a:spLocks noGrp="1"/>
          </p:cNvSpPr>
          <p:nvPr>
            <p:ph idx="1"/>
          </p:nvPr>
        </p:nvSpPr>
        <p:spPr>
          <a:xfrm>
            <a:off x="523876" y="1371600"/>
            <a:ext cx="6222158" cy="4805363"/>
          </a:xfrm>
        </p:spPr>
        <p:txBody>
          <a:bodyPr vert="horz" lIns="91440" tIns="45720" rIns="91440" bIns="45720" rtlCol="0" anchor="t">
            <a:normAutofit/>
          </a:bodyPr>
          <a:lstStyle/>
          <a:p>
            <a:pPr marL="380365" lvl="1" rtl="0">
              <a:spcBef>
                <a:spcPts val="0"/>
              </a:spcBef>
              <a:spcAft>
                <a:spcPts val="1600"/>
              </a:spcAft>
              <a:buClr>
                <a:srgbClr val="8E8D01"/>
              </a:buClr>
              <a:defRPr/>
            </a:pPr>
            <a:r>
              <a:rPr lang="fr" sz="2400">
                <a:solidFill>
                  <a:srgbClr val="000000"/>
                </a:solidFill>
                <a:cs typeface="Times New Roman"/>
              </a:rPr>
              <a:t>2000 : Virus Soudan découvert en Ouganda</a:t>
            </a:r>
          </a:p>
          <a:p>
            <a:pPr marL="380365" lvl="1" rtl="0">
              <a:spcBef>
                <a:spcPts val="0"/>
              </a:spcBef>
              <a:spcAft>
                <a:spcPts val="1600"/>
              </a:spcAft>
              <a:buClr>
                <a:srgbClr val="8E8D01"/>
              </a:buClr>
              <a:defRPr/>
            </a:pPr>
            <a:r>
              <a:rPr lang="fr" sz="2400">
                <a:solidFill>
                  <a:srgbClr val="000000"/>
                </a:solidFill>
                <a:cs typeface="Times New Roman"/>
              </a:rPr>
              <a:t>2001 : </a:t>
            </a:r>
            <a:r>
              <a:rPr lang="fr" sz="2400">
                <a:solidFill>
                  <a:srgbClr val="000000"/>
                </a:solidFill>
                <a:latin typeface="Calibri"/>
                <a:ea typeface="Calibri" panose="020F0502020204030204" pitchFamily="34" charset="0"/>
                <a:cs typeface="Times New Roman"/>
              </a:rPr>
              <a:t>premiers cas de virus Ebola (espèce Zaïre) signalés en République du Congo, le long de la frontière avec le Gabon.</a:t>
            </a:r>
            <a:endParaRPr lang="es-BO" sz="2400">
              <a:solidFill>
                <a:srgbClr val="000000"/>
              </a:solidFill>
              <a:latin typeface="Calibri"/>
              <a:ea typeface="Calibri" panose="020F0502020204030204" pitchFamily="34" charset="0"/>
              <a:cs typeface="Times New Roman"/>
            </a:endParaRPr>
          </a:p>
          <a:p>
            <a:pPr marL="380365" lvl="1" rtl="0">
              <a:spcBef>
                <a:spcPts val="0"/>
              </a:spcBef>
              <a:spcAft>
                <a:spcPts val="1600"/>
              </a:spcAft>
              <a:buClr>
                <a:srgbClr val="8E8D01"/>
              </a:buClr>
              <a:defRPr/>
            </a:pPr>
            <a:r>
              <a:rPr lang="fr" sz="2400">
                <a:solidFill>
                  <a:srgbClr val="000000"/>
                </a:solidFill>
                <a:cs typeface="Times New Roman"/>
              </a:rPr>
              <a:t>2007 : Virus Bundibugyo</a:t>
            </a:r>
            <a:r>
              <a:rPr lang="fr">
                <a:solidFill>
                  <a:srgbClr val="000000"/>
                </a:solidFill>
                <a:cs typeface="Times New Roman"/>
              </a:rPr>
              <a:t> </a:t>
            </a:r>
            <a:r>
              <a:rPr lang="fr" sz="2400">
                <a:solidFill>
                  <a:srgbClr val="000000"/>
                </a:solidFill>
                <a:cs typeface="Times New Roman"/>
              </a:rPr>
              <a:t>  découvert en Ouganda.</a:t>
            </a:r>
          </a:p>
          <a:p>
            <a:pPr marL="380365" lvl="1" rtl="0">
              <a:spcBef>
                <a:spcPts val="0"/>
              </a:spcBef>
              <a:spcAft>
                <a:spcPts val="1600"/>
              </a:spcAft>
              <a:buClr>
                <a:srgbClr val="8E8D01"/>
              </a:buClr>
              <a:defRPr/>
            </a:pPr>
            <a:r>
              <a:rPr lang="fr" sz="2400" b="1">
                <a:solidFill>
                  <a:srgbClr val="000000"/>
                </a:solidFill>
                <a:latin typeface="Calibri" panose="020F0502020204030204" pitchFamily="34" charset="0"/>
                <a:ea typeface="Calibri" panose="020F0502020204030204" pitchFamily="34" charset="0"/>
                <a:cs typeface="Times New Roman" panose="02020603050405020304" pitchFamily="18" charset="0"/>
              </a:rPr>
              <a:t>On compte 12 flambées épidémiques connues entre 2000 et 2008. </a:t>
            </a:r>
          </a:p>
          <a:p>
            <a:pPr marL="913765" lvl="2" rtl="0">
              <a:spcBef>
                <a:spcPts val="0"/>
              </a:spcBef>
              <a:spcAft>
                <a:spcPts val="1600"/>
              </a:spcAft>
              <a:buClr>
                <a:srgbClr val="8E8D01"/>
              </a:buClr>
              <a:defRPr/>
            </a:pPr>
            <a:r>
              <a:rPr lang="fr" sz="2400" b="1">
                <a:solidFill>
                  <a:srgbClr val="000000"/>
                </a:solidFill>
                <a:latin typeface="Calibri" panose="020F0502020204030204" pitchFamily="34" charset="0"/>
                <a:ea typeface="Calibri" panose="020F0502020204030204" pitchFamily="34" charset="0"/>
                <a:cs typeface="Times New Roman" panose="02020603050405020304" pitchFamily="18" charset="0"/>
              </a:rPr>
              <a:t>Un total de 1 190 cas et 740 décès (taux de létalité de 62 %) ont été signalés</a:t>
            </a:r>
            <a:endParaRPr lang="en-US" sz="2400">
              <a:solidFill>
                <a:srgbClr val="000000"/>
              </a:solidFill>
              <a:cs typeface="Calibri" panose="020F0502020204030204"/>
            </a:endParaRPr>
          </a:p>
          <a:p>
            <a:pPr marL="380365" lvl="1" rtl="0">
              <a:spcBef>
                <a:spcPts val="0"/>
              </a:spcBef>
              <a:spcAft>
                <a:spcPts val="1600"/>
              </a:spcAft>
              <a:buClr>
                <a:srgbClr val="8E8D01"/>
              </a:buClr>
              <a:defRPr/>
            </a:pPr>
            <a:endParaRPr lang="en-US" sz="2400">
              <a:solidFill>
                <a:srgbClr val="000000"/>
              </a:solidFill>
              <a:cs typeface="Calibri" panose="020F0502020204030204"/>
            </a:endParaRPr>
          </a:p>
        </p:txBody>
      </p:sp>
      <p:pic>
        <p:nvPicPr>
          <p:cNvPr id="4" name="Picture 5" descr="Small_BundiMountains2">
            <a:extLst>
              <a:ext uri="{FF2B5EF4-FFF2-40B4-BE49-F238E27FC236}">
                <a16:creationId xmlns:a16="http://schemas.microsoft.com/office/drawing/2014/main" id="{662BF745-8005-9EB3-DF91-DA6D08F0B7D0}"/>
              </a:ext>
            </a:extLst>
          </p:cNvPr>
          <p:cNvPicPr>
            <a:picLocks noChangeAspect="1" noChangeArrowheads="1"/>
          </p:cNvPicPr>
          <p:nvPr/>
        </p:nvPicPr>
        <p:blipFill>
          <a:blip r:embed="rId3" cstate="print"/>
          <a:srcRect/>
          <a:stretch>
            <a:fillRect/>
          </a:stretch>
        </p:blipFill>
        <p:spPr bwMode="auto">
          <a:xfrm>
            <a:off x="6908936" y="1806106"/>
            <a:ext cx="4868683" cy="3245788"/>
          </a:xfrm>
          <a:prstGeom prst="rect">
            <a:avLst/>
          </a:prstGeom>
          <a:noFill/>
        </p:spPr>
      </p:pic>
    </p:spTree>
    <p:extLst>
      <p:ext uri="{BB962C8B-B14F-4D97-AF65-F5344CB8AC3E}">
        <p14:creationId xmlns:p14="http://schemas.microsoft.com/office/powerpoint/2010/main" val="1739929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rtlCol="0"/>
          <a:lstStyle/>
          <a:p>
            <a:pPr rtl="0"/>
            <a:r>
              <a:rPr lang="fr"/>
              <a:t>Début du XXI</a:t>
            </a:r>
            <a:r>
              <a:rPr lang="fr" baseline="30000"/>
              <a:t>e </a:t>
            </a:r>
            <a:r>
              <a:rPr lang="fr"/>
              <a:t>siècle (2011 – 2020) : les choses changent !</a:t>
            </a:r>
          </a:p>
        </p:txBody>
      </p:sp>
      <p:sp>
        <p:nvSpPr>
          <p:cNvPr id="3" name="Content Placeholder 2"/>
          <p:cNvSpPr>
            <a:spLocks noGrp="1"/>
          </p:cNvSpPr>
          <p:nvPr>
            <p:ph idx="1"/>
          </p:nvPr>
        </p:nvSpPr>
        <p:spPr>
          <a:xfrm>
            <a:off x="550847" y="1074893"/>
            <a:ext cx="7411967" cy="5095326"/>
          </a:xfrm>
        </p:spPr>
        <p:txBody>
          <a:bodyPr vert="horz" lIns="91440" tIns="45720" rIns="91440" bIns="45720" rtlCol="0" anchor="t">
            <a:normAutofit lnSpcReduction="10000"/>
          </a:bodyPr>
          <a:lstStyle/>
          <a:p>
            <a:pPr marL="380365" lvl="1" rtl="0">
              <a:spcBef>
                <a:spcPts val="0"/>
              </a:spcBef>
              <a:spcAft>
                <a:spcPts val="800"/>
              </a:spcAft>
              <a:defRPr/>
            </a:pPr>
            <a:r>
              <a:rPr lang="fr" sz="2400">
                <a:solidFill>
                  <a:srgbClr val="000000"/>
                </a:solidFill>
                <a:ea typeface="Calibri" panose="020F0502020204030204" pitchFamily="34" charset="0"/>
                <a:cs typeface="Times New Roman"/>
              </a:rPr>
              <a:t>2011-2012 : l’Ouganda a enregistré trois épidémies causées par le virus Soudan</a:t>
            </a:r>
            <a:r>
              <a:rPr lang="fr">
                <a:solidFill>
                  <a:srgbClr val="000000"/>
                </a:solidFill>
                <a:ea typeface="Calibri" panose="020F0502020204030204" pitchFamily="34" charset="0"/>
                <a:cs typeface="Times New Roman"/>
              </a:rPr>
              <a:t> </a:t>
            </a:r>
            <a:endParaRPr lang="en-US"/>
          </a:p>
          <a:p>
            <a:pPr marL="380365" lvl="1" rtl="0">
              <a:spcBef>
                <a:spcPts val="0"/>
              </a:spcBef>
              <a:spcAft>
                <a:spcPts val="800"/>
              </a:spcAft>
              <a:defRPr/>
            </a:pPr>
            <a:r>
              <a:rPr lang="fr" sz="2400">
                <a:solidFill>
                  <a:srgbClr val="000000"/>
                </a:solidFill>
                <a:ea typeface="Calibri" panose="020F0502020204030204" pitchFamily="34" charset="0"/>
                <a:cs typeface="Times New Roman"/>
              </a:rPr>
              <a:t>2014–2016 : flambée épidémique de la maladie à virus Ebola en Afrique de l’Ouest</a:t>
            </a:r>
            <a:r>
              <a:rPr lang="fr">
                <a:solidFill>
                  <a:srgbClr val="000000"/>
                </a:solidFill>
                <a:ea typeface="Calibri" panose="020F0502020204030204" pitchFamily="34" charset="0"/>
                <a:cs typeface="Times New Roman"/>
              </a:rPr>
              <a:t> </a:t>
            </a:r>
            <a:endParaRPr lang="en-US" sz="2400">
              <a:solidFill>
                <a:srgbClr val="000000"/>
              </a:solidFill>
              <a:ea typeface="Calibri" panose="020F0502020204030204" pitchFamily="34" charset="0"/>
              <a:cs typeface="Times New Roman" panose="02020603050405020304" pitchFamily="18" charset="0"/>
            </a:endParaRPr>
          </a:p>
          <a:p>
            <a:pPr marL="913765" lvl="2" rtl="0">
              <a:spcBef>
                <a:spcPts val="0"/>
              </a:spcBef>
              <a:spcAft>
                <a:spcPts val="800"/>
              </a:spcAft>
              <a:defRPr/>
            </a:pPr>
            <a:r>
              <a:rPr lang="fr" sz="2400">
                <a:solidFill>
                  <a:srgbClr val="000000"/>
                </a:solidFill>
                <a:ea typeface="Calibri" panose="020F0502020204030204" pitchFamily="34" charset="0"/>
                <a:cs typeface="Times New Roman" panose="02020603050405020304" pitchFamily="18" charset="0"/>
              </a:rPr>
              <a:t>La plupart des cas ont été recensés en Guinée, au Libéria et en Sierra Leone</a:t>
            </a:r>
          </a:p>
          <a:p>
            <a:pPr marL="913765" lvl="2" rtl="0">
              <a:spcBef>
                <a:spcPts val="0"/>
              </a:spcBef>
              <a:spcAft>
                <a:spcPts val="800"/>
              </a:spcAft>
              <a:defRPr/>
            </a:pPr>
            <a:r>
              <a:rPr lang="fr" sz="2400">
                <a:solidFill>
                  <a:srgbClr val="000000"/>
                </a:solidFill>
                <a:ea typeface="Calibri" panose="020F0502020204030204" pitchFamily="34" charset="0"/>
                <a:cs typeface="Times New Roman" panose="02020603050405020304" pitchFamily="18" charset="0"/>
              </a:rPr>
              <a:t>Au total, 28 652 cas et 11 325 décès ont été signalés. </a:t>
            </a:r>
          </a:p>
          <a:p>
            <a:pPr marL="380365" lvl="1" rtl="0">
              <a:spcBef>
                <a:spcPts val="0"/>
              </a:spcBef>
              <a:spcAft>
                <a:spcPts val="800"/>
              </a:spcAft>
              <a:defRPr/>
            </a:pPr>
            <a:r>
              <a:rPr lang="fr" sz="2400">
                <a:solidFill>
                  <a:srgbClr val="000000"/>
                </a:solidFill>
                <a:ea typeface="Calibri" panose="020F0502020204030204" pitchFamily="34" charset="0"/>
                <a:cs typeface="Times New Roman"/>
              </a:rPr>
              <a:t>2018 : le virus Bombali (</a:t>
            </a:r>
            <a:r>
              <a:rPr lang="fr" sz="2400" i="1">
                <a:solidFill>
                  <a:srgbClr val="000000"/>
                </a:solidFill>
                <a:ea typeface="Calibri" panose="020F0502020204030204" pitchFamily="34" charset="0"/>
                <a:cs typeface="Times New Roman"/>
              </a:rPr>
              <a:t>Bombali ebolavirus</a:t>
            </a:r>
            <a:r>
              <a:rPr lang="fr" sz="2400">
                <a:solidFill>
                  <a:srgbClr val="000000"/>
                </a:solidFill>
                <a:ea typeface="Calibri" panose="020F0502020204030204" pitchFamily="34" charset="0"/>
                <a:cs typeface="Times New Roman"/>
              </a:rPr>
              <a:t>) a été identifié chez des chauves-souris en Sierra Leone en 2018.</a:t>
            </a:r>
            <a:r>
              <a:rPr lang="fr">
                <a:solidFill>
                  <a:srgbClr val="000000"/>
                </a:solidFill>
                <a:ea typeface="Calibri" panose="020F0502020204030204" pitchFamily="34" charset="0"/>
                <a:cs typeface="Times New Roman"/>
              </a:rPr>
              <a:t> </a:t>
            </a:r>
            <a:endParaRPr lang="en-US" sz="2400">
              <a:solidFill>
                <a:srgbClr val="000000"/>
              </a:solidFill>
              <a:ea typeface="Calibri" panose="020F0502020204030204" pitchFamily="34" charset="0"/>
              <a:cs typeface="Times New Roman" panose="02020603050405020304" pitchFamily="18" charset="0"/>
            </a:endParaRPr>
          </a:p>
          <a:p>
            <a:pPr marL="380365" lvl="1" rtl="0">
              <a:spcBef>
                <a:spcPts val="0"/>
              </a:spcBef>
              <a:spcAft>
                <a:spcPts val="800"/>
              </a:spcAft>
              <a:defRPr/>
            </a:pPr>
            <a:r>
              <a:rPr lang="fr" sz="2400">
                <a:solidFill>
                  <a:srgbClr val="000000"/>
                </a:solidFill>
                <a:ea typeface="Calibri" panose="020F0502020204030204" pitchFamily="34" charset="0"/>
                <a:cs typeface="Times New Roman"/>
              </a:rPr>
              <a:t>2018-2020 : flambée épidémique de la maladie à virus Ebola en RDC</a:t>
            </a:r>
            <a:r>
              <a:rPr lang="fr">
                <a:solidFill>
                  <a:srgbClr val="000000"/>
                </a:solidFill>
                <a:ea typeface="Calibri" panose="020F0502020204030204" pitchFamily="34" charset="0"/>
                <a:cs typeface="Times New Roman"/>
              </a:rPr>
              <a:t> </a:t>
            </a:r>
            <a:endParaRPr lang="en-US" sz="2400">
              <a:solidFill>
                <a:srgbClr val="000000"/>
              </a:solidFill>
              <a:ea typeface="Calibri" panose="020F0502020204030204" pitchFamily="34" charset="0"/>
              <a:cs typeface="Times New Roman" panose="02020603050405020304" pitchFamily="18" charset="0"/>
            </a:endParaRPr>
          </a:p>
          <a:p>
            <a:pPr marL="913765" lvl="2" rtl="0">
              <a:spcBef>
                <a:spcPts val="0"/>
              </a:spcBef>
              <a:spcAft>
                <a:spcPts val="800"/>
              </a:spcAft>
              <a:defRPr/>
            </a:pPr>
            <a:r>
              <a:rPr lang="fr" sz="2400">
                <a:solidFill>
                  <a:srgbClr val="000000"/>
                </a:solidFill>
                <a:ea typeface="Calibri" panose="020F0502020204030204" pitchFamily="34" charset="0"/>
                <a:cs typeface="Times New Roman" panose="02020603050405020304" pitchFamily="18" charset="0"/>
              </a:rPr>
              <a:t>Au total, 3 470 cas et 2 287 décès ont été signalés </a:t>
            </a:r>
          </a:p>
          <a:p>
            <a:pPr marL="380365" lvl="1" rtl="0">
              <a:spcBef>
                <a:spcPts val="0"/>
              </a:spcBef>
              <a:spcAft>
                <a:spcPts val="1600"/>
              </a:spcAft>
              <a:buClr>
                <a:srgbClr val="8E8D01"/>
              </a:buClr>
              <a:defRPr/>
            </a:pPr>
            <a:endParaRPr lang="en-US" sz="2400">
              <a:solidFill>
                <a:srgbClr val="000000"/>
              </a:solidFill>
              <a:cs typeface="Calibri" panose="020F0502020204030204"/>
            </a:endParaRPr>
          </a:p>
        </p:txBody>
      </p:sp>
      <p:pic>
        <p:nvPicPr>
          <p:cNvPr id="5" name="Picture 4" descr="Gulu Hosp">
            <a:extLst>
              <a:ext uri="{FF2B5EF4-FFF2-40B4-BE49-F238E27FC236}">
                <a16:creationId xmlns:a16="http://schemas.microsoft.com/office/drawing/2014/main" id="{6FE6628F-2D75-1B20-13FC-268640DE82A1}"/>
              </a:ext>
            </a:extLst>
          </p:cNvPr>
          <p:cNvPicPr>
            <a:picLocks noChangeAspect="1" noChangeArrowheads="1"/>
          </p:cNvPicPr>
          <p:nvPr/>
        </p:nvPicPr>
        <p:blipFill>
          <a:blip r:embed="rId3" cstate="print"/>
          <a:srcRect/>
          <a:stretch>
            <a:fillRect/>
          </a:stretch>
        </p:blipFill>
        <p:spPr bwMode="auto">
          <a:xfrm>
            <a:off x="7977212" y="1089316"/>
            <a:ext cx="3902691" cy="2602411"/>
          </a:xfrm>
          <a:prstGeom prst="rect">
            <a:avLst/>
          </a:prstGeom>
          <a:noFill/>
          <a:ln>
            <a:solidFill>
              <a:schemeClr val="bg1"/>
            </a:solidFill>
          </a:ln>
        </p:spPr>
      </p:pic>
    </p:spTree>
    <p:extLst>
      <p:ext uri="{BB962C8B-B14F-4D97-AF65-F5344CB8AC3E}">
        <p14:creationId xmlns:p14="http://schemas.microsoft.com/office/powerpoint/2010/main" val="350001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rtlCol="0"/>
          <a:lstStyle/>
          <a:p>
            <a:pPr rtl="0"/>
            <a:r>
              <a:rPr lang="fr"/>
              <a:t>Développements récents (2021 – 2022) </a:t>
            </a:r>
          </a:p>
        </p:txBody>
      </p:sp>
      <p:sp>
        <p:nvSpPr>
          <p:cNvPr id="3" name="Content Placeholder 2"/>
          <p:cNvSpPr>
            <a:spLocks noGrp="1"/>
          </p:cNvSpPr>
          <p:nvPr>
            <p:ph idx="1"/>
          </p:nvPr>
        </p:nvSpPr>
        <p:spPr>
          <a:xfrm>
            <a:off x="523876" y="1371600"/>
            <a:ext cx="6566242" cy="4805363"/>
          </a:xfrm>
        </p:spPr>
        <p:txBody>
          <a:bodyPr rtlCol="0"/>
          <a:lstStyle/>
          <a:p>
            <a:pPr marL="380990" lvl="1" rtl="0">
              <a:spcBef>
                <a:spcPts val="0"/>
              </a:spcBef>
              <a:spcAft>
                <a:spcPts val="800"/>
              </a:spcAft>
              <a:defRPr/>
            </a:pPr>
            <a:r>
              <a:rPr lang="fr" sz="2400">
                <a:solidFill>
                  <a:srgbClr val="000000"/>
                </a:solidFill>
                <a:latin typeface="Calibri" panose="020F0502020204030204" pitchFamily="34" charset="0"/>
                <a:ea typeface="Calibri" panose="020F0502020204030204" pitchFamily="34" charset="0"/>
                <a:cs typeface="Times New Roman" panose="02020603050405020304" pitchFamily="18" charset="0"/>
              </a:rPr>
              <a:t>2021 : flambées simultanées d’Ebola en RDC et en Guinée</a:t>
            </a:r>
          </a:p>
          <a:p>
            <a:pPr marL="380990" lvl="1" rtl="0">
              <a:spcBef>
                <a:spcPts val="0"/>
              </a:spcBef>
              <a:spcAft>
                <a:spcPts val="800"/>
              </a:spcAft>
              <a:defRPr/>
            </a:pPr>
            <a:r>
              <a:rPr lang="fr" sz="2400">
                <a:solidFill>
                  <a:srgbClr val="000000"/>
                </a:solidFill>
                <a:latin typeface="Calibri" panose="020F0502020204030204" pitchFamily="34" charset="0"/>
                <a:ea typeface="Calibri" panose="020F0502020204030204" pitchFamily="34" charset="0"/>
                <a:cs typeface="Times New Roman" panose="02020603050405020304" pitchFamily="18" charset="0"/>
              </a:rPr>
              <a:t>2022 : épidémie de maladie à virus Ebola causée par le virus Soudan dans le district de Mubende, dans l’ouest de l’Ouganda</a:t>
            </a:r>
          </a:p>
          <a:p>
            <a:pPr marL="914377" lvl="2" rtl="0">
              <a:spcBef>
                <a:spcPts val="0"/>
              </a:spcBef>
              <a:spcAft>
                <a:spcPts val="800"/>
              </a:spcAft>
              <a:defRPr/>
            </a:pPr>
            <a:r>
              <a:rPr lang="fr" sz="2400">
                <a:solidFill>
                  <a:srgbClr val="000000"/>
                </a:solidFill>
                <a:latin typeface="Calibri" panose="020F0502020204030204" pitchFamily="34" charset="0"/>
                <a:ea typeface="Calibri" panose="020F0502020204030204" pitchFamily="34" charset="0"/>
                <a:cs typeface="Times New Roman" panose="02020603050405020304" pitchFamily="18" charset="0"/>
              </a:rPr>
              <a:t>Total de 142 cas (et 22 probables) et 55 décès confirmés (taux de létalité de 34 %)</a:t>
            </a:r>
          </a:p>
          <a:p>
            <a:pPr marL="380990" lvl="1" rtl="0">
              <a:spcBef>
                <a:spcPts val="0"/>
              </a:spcBef>
              <a:spcAft>
                <a:spcPts val="800"/>
              </a:spcAft>
              <a:defRPr/>
            </a:pPr>
            <a:r>
              <a:rPr lang="fr" sz="2400" b="1">
                <a:solidFill>
                  <a:srgbClr val="000000"/>
                </a:solidFill>
                <a:latin typeface="Calibri" panose="020F0502020204030204" pitchFamily="34" charset="0"/>
                <a:ea typeface="Calibri" panose="020F0502020204030204" pitchFamily="34" charset="0"/>
                <a:cs typeface="Times New Roman" panose="02020603050405020304" pitchFamily="18" charset="0"/>
              </a:rPr>
              <a:t>16 flambées épidémiques ont été recensées entre 2011 et 2022.</a:t>
            </a:r>
          </a:p>
          <a:p>
            <a:pPr marL="914377" lvl="2" rtl="0">
              <a:spcBef>
                <a:spcPts val="0"/>
              </a:spcBef>
              <a:spcAft>
                <a:spcPts val="800"/>
              </a:spcAft>
              <a:defRPr/>
            </a:pPr>
            <a:r>
              <a:rPr lang="fr" sz="2400" b="1">
                <a:solidFill>
                  <a:srgbClr val="000000"/>
                </a:solidFill>
                <a:latin typeface="Calibri" panose="020F0502020204030204" pitchFamily="34" charset="0"/>
                <a:ea typeface="Calibri" panose="020F0502020204030204" pitchFamily="34" charset="0"/>
                <a:cs typeface="Times New Roman" panose="02020603050405020304" pitchFamily="18" charset="0"/>
              </a:rPr>
              <a:t>Un total de 32 843 cas et 13 938 décès ont été signalés (taux de létalité de 42 %)</a:t>
            </a:r>
            <a:endParaRPr lang="es-BO" sz="240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80990" lvl="1" rtl="0">
              <a:spcBef>
                <a:spcPts val="0"/>
              </a:spcBef>
              <a:spcAft>
                <a:spcPts val="1600"/>
              </a:spcAft>
              <a:buClr>
                <a:srgbClr val="8E8D01"/>
              </a:buClr>
              <a:defRPr/>
            </a:pPr>
            <a:endParaRPr lang="en-US" sz="2400">
              <a:solidFill>
                <a:srgbClr val="000000"/>
              </a:solidFill>
            </a:endParaRPr>
          </a:p>
        </p:txBody>
      </p:sp>
      <p:pic>
        <p:nvPicPr>
          <p:cNvPr id="25" name="Picture 24" descr="Map&#10;&#10;Description automatically generated">
            <a:extLst>
              <a:ext uri="{FF2B5EF4-FFF2-40B4-BE49-F238E27FC236}">
                <a16:creationId xmlns:a16="http://schemas.microsoft.com/office/drawing/2014/main" id="{4EEF927D-2399-9650-69FB-987A040688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1166" y="1371600"/>
            <a:ext cx="4136958" cy="4497572"/>
          </a:xfrm>
          <a:prstGeom prst="rect">
            <a:avLst/>
          </a:prstGeom>
        </p:spPr>
      </p:pic>
    </p:spTree>
    <p:extLst>
      <p:ext uri="{BB962C8B-B14F-4D97-AF65-F5344CB8AC3E}">
        <p14:creationId xmlns:p14="http://schemas.microsoft.com/office/powerpoint/2010/main" val="3076320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7122" y="88648"/>
            <a:ext cx="11039475" cy="692150"/>
          </a:xfrm>
        </p:spPr>
        <p:txBody>
          <a:bodyPr rtlCol="0">
            <a:normAutofit/>
          </a:bodyPr>
          <a:lstStyle/>
          <a:p>
            <a:pPr rtl="0"/>
            <a:r>
              <a:rPr lang="fr" b="1">
                <a:solidFill>
                  <a:srgbClr val="051291"/>
                </a:solidFill>
                <a:ea typeface="Calibri"/>
              </a:rPr>
              <a:t>Transmission de la maladie à virus Ebola</a:t>
            </a:r>
            <a:endParaRPr lang="en-US" b="1">
              <a:solidFill>
                <a:srgbClr val="051291"/>
              </a:solidFill>
              <a:ea typeface="Calibri"/>
            </a:endParaRPr>
          </a:p>
        </p:txBody>
      </p:sp>
      <p:sp>
        <p:nvSpPr>
          <p:cNvPr id="4" name="TextBox 1">
            <a:extLst>
              <a:ext uri="{FF2B5EF4-FFF2-40B4-BE49-F238E27FC236}">
                <a16:creationId xmlns:a16="http://schemas.microsoft.com/office/drawing/2014/main" id="{970CD680-8442-2D99-B3FD-35C014C0EF21}"/>
              </a:ext>
            </a:extLst>
          </p:cNvPr>
          <p:cNvSpPr txBox="1"/>
          <p:nvPr/>
        </p:nvSpPr>
        <p:spPr>
          <a:xfrm>
            <a:off x="552848" y="6383167"/>
            <a:ext cx="1873596"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fr" sz="1200" b="1">
                <a:latin typeface="Calibri"/>
                <a:ea typeface="Calibri"/>
                <a:cs typeface="Calibri"/>
              </a:rPr>
              <a:t>Image de CDC, États-Unis</a:t>
            </a:r>
            <a:endParaRPr lang="fr-FR" sz="1200" b="1">
              <a:latin typeface="Calibri"/>
              <a:ea typeface="Calibri"/>
              <a:cs typeface="Calibri"/>
            </a:endParaRPr>
          </a:p>
        </p:txBody>
      </p:sp>
      <p:graphicFrame>
        <p:nvGraphicFramePr>
          <p:cNvPr id="16" name="Diagram 15">
            <a:extLst>
              <a:ext uri="{FF2B5EF4-FFF2-40B4-BE49-F238E27FC236}">
                <a16:creationId xmlns:a16="http://schemas.microsoft.com/office/drawing/2014/main" id="{F8D3813D-5DCE-0C84-3535-1A05582C616D}"/>
              </a:ext>
            </a:extLst>
          </p:cNvPr>
          <p:cNvGraphicFramePr/>
          <p:nvPr>
            <p:extLst>
              <p:ext uri="{D42A27DB-BD31-4B8C-83A1-F6EECF244321}">
                <p14:modId xmlns:p14="http://schemas.microsoft.com/office/powerpoint/2010/main" val="4197730943"/>
              </p:ext>
            </p:extLst>
          </p:nvPr>
        </p:nvGraphicFramePr>
        <p:xfrm>
          <a:off x="627355" y="3301050"/>
          <a:ext cx="10937289" cy="2522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83" name="Group 562">
            <a:extLst>
              <a:ext uri="{FF2B5EF4-FFF2-40B4-BE49-F238E27FC236}">
                <a16:creationId xmlns:a16="http://schemas.microsoft.com/office/drawing/2014/main" id="{A8964CD6-D858-B39A-691B-C9508A4C9312}"/>
              </a:ext>
            </a:extLst>
          </p:cNvPr>
          <p:cNvGrpSpPr>
            <a:grpSpLocks/>
          </p:cNvGrpSpPr>
          <p:nvPr/>
        </p:nvGrpSpPr>
        <p:grpSpPr bwMode="auto">
          <a:xfrm>
            <a:off x="4192505" y="1613708"/>
            <a:ext cx="745483" cy="1225894"/>
            <a:chOff x="1792" y="5"/>
            <a:chExt cx="2175" cy="4310"/>
          </a:xfrm>
        </p:grpSpPr>
        <p:sp>
          <p:nvSpPr>
            <p:cNvPr id="784" name="Freeform 563">
              <a:extLst>
                <a:ext uri="{FF2B5EF4-FFF2-40B4-BE49-F238E27FC236}">
                  <a16:creationId xmlns:a16="http://schemas.microsoft.com/office/drawing/2014/main" id="{2B6EBC06-1CFA-E295-1D1F-1B38D1BE5916}"/>
                </a:ext>
              </a:extLst>
            </p:cNvPr>
            <p:cNvSpPr>
              <a:spLocks/>
            </p:cNvSpPr>
            <p:nvPr/>
          </p:nvSpPr>
          <p:spPr bwMode="auto">
            <a:xfrm>
              <a:off x="1792" y="5"/>
              <a:ext cx="2175" cy="4310"/>
            </a:xfrm>
            <a:custGeom>
              <a:avLst/>
              <a:gdLst>
                <a:gd name="T0" fmla="*/ 352 w 4352"/>
                <a:gd name="T1" fmla="*/ 1681 h 8622"/>
                <a:gd name="T2" fmla="*/ 356 w 4352"/>
                <a:gd name="T3" fmla="*/ 1480 h 8622"/>
                <a:gd name="T4" fmla="*/ 316 w 4352"/>
                <a:gd name="T5" fmla="*/ 1192 h 8622"/>
                <a:gd name="T6" fmla="*/ 349 w 4352"/>
                <a:gd name="T7" fmla="*/ 987 h 8622"/>
                <a:gd name="T8" fmla="*/ 365 w 4352"/>
                <a:gd name="T9" fmla="*/ 803 h 8622"/>
                <a:gd name="T10" fmla="*/ 338 w 4352"/>
                <a:gd name="T11" fmla="*/ 709 h 8622"/>
                <a:gd name="T12" fmla="*/ 281 w 4352"/>
                <a:gd name="T13" fmla="*/ 870 h 8622"/>
                <a:gd name="T14" fmla="*/ 158 w 4352"/>
                <a:gd name="T15" fmla="*/ 1057 h 8622"/>
                <a:gd name="T16" fmla="*/ 125 w 4352"/>
                <a:gd name="T17" fmla="*/ 1160 h 8622"/>
                <a:gd name="T18" fmla="*/ 101 w 4352"/>
                <a:gd name="T19" fmla="*/ 1183 h 8622"/>
                <a:gd name="T20" fmla="*/ 58 w 4352"/>
                <a:gd name="T21" fmla="*/ 1183 h 8622"/>
                <a:gd name="T22" fmla="*/ 70 w 4352"/>
                <a:gd name="T23" fmla="*/ 1111 h 8622"/>
                <a:gd name="T24" fmla="*/ 20 w 4352"/>
                <a:gd name="T25" fmla="*/ 1154 h 8622"/>
                <a:gd name="T26" fmla="*/ 43 w 4352"/>
                <a:gd name="T27" fmla="*/ 1064 h 8622"/>
                <a:gd name="T28" fmla="*/ 12 w 4352"/>
                <a:gd name="T29" fmla="*/ 1058 h 8622"/>
                <a:gd name="T30" fmla="*/ 85 w 4352"/>
                <a:gd name="T31" fmla="*/ 999 h 8622"/>
                <a:gd name="T32" fmla="*/ 148 w 4352"/>
                <a:gd name="T33" fmla="*/ 857 h 8622"/>
                <a:gd name="T34" fmla="*/ 226 w 4352"/>
                <a:gd name="T35" fmla="*/ 711 h 8622"/>
                <a:gd name="T36" fmla="*/ 247 w 4352"/>
                <a:gd name="T37" fmla="*/ 488 h 8622"/>
                <a:gd name="T38" fmla="*/ 348 w 4352"/>
                <a:gd name="T39" fmla="*/ 384 h 8622"/>
                <a:gd name="T40" fmla="*/ 466 w 4352"/>
                <a:gd name="T41" fmla="*/ 293 h 8622"/>
                <a:gd name="T42" fmla="*/ 444 w 4352"/>
                <a:gd name="T43" fmla="*/ 208 h 8622"/>
                <a:gd name="T44" fmla="*/ 417 w 4352"/>
                <a:gd name="T45" fmla="*/ 161 h 8622"/>
                <a:gd name="T46" fmla="*/ 434 w 4352"/>
                <a:gd name="T47" fmla="*/ 64 h 8622"/>
                <a:gd name="T48" fmla="*/ 544 w 4352"/>
                <a:gd name="T49" fmla="*/ 1 h 8622"/>
                <a:gd name="T50" fmla="*/ 629 w 4352"/>
                <a:gd name="T51" fmla="*/ 75 h 8622"/>
                <a:gd name="T52" fmla="*/ 650 w 4352"/>
                <a:gd name="T53" fmla="*/ 136 h 8622"/>
                <a:gd name="T54" fmla="*/ 621 w 4352"/>
                <a:gd name="T55" fmla="*/ 230 h 8622"/>
                <a:gd name="T56" fmla="*/ 624 w 4352"/>
                <a:gd name="T57" fmla="*/ 358 h 8622"/>
                <a:gd name="T58" fmla="*/ 784 w 4352"/>
                <a:gd name="T59" fmla="*/ 416 h 8622"/>
                <a:gd name="T60" fmla="*/ 829 w 4352"/>
                <a:gd name="T61" fmla="*/ 573 h 8622"/>
                <a:gd name="T62" fmla="*/ 853 w 4352"/>
                <a:gd name="T63" fmla="*/ 740 h 8622"/>
                <a:gd name="T64" fmla="*/ 963 w 4352"/>
                <a:gd name="T65" fmla="*/ 981 h 8622"/>
                <a:gd name="T66" fmla="*/ 1086 w 4352"/>
                <a:gd name="T67" fmla="*/ 1048 h 8622"/>
                <a:gd name="T68" fmla="*/ 1028 w 4352"/>
                <a:gd name="T69" fmla="*/ 1047 h 8622"/>
                <a:gd name="T70" fmla="*/ 1064 w 4352"/>
                <a:gd name="T71" fmla="*/ 1122 h 8622"/>
                <a:gd name="T72" fmla="*/ 1038 w 4352"/>
                <a:gd name="T73" fmla="*/ 1126 h 8622"/>
                <a:gd name="T74" fmla="*/ 1047 w 4352"/>
                <a:gd name="T75" fmla="*/ 1172 h 8622"/>
                <a:gd name="T76" fmla="*/ 992 w 4352"/>
                <a:gd name="T77" fmla="*/ 1118 h 8622"/>
                <a:gd name="T78" fmla="*/ 996 w 4352"/>
                <a:gd name="T79" fmla="*/ 1182 h 8622"/>
                <a:gd name="T80" fmla="*/ 957 w 4352"/>
                <a:gd name="T81" fmla="*/ 1174 h 8622"/>
                <a:gd name="T82" fmla="*/ 879 w 4352"/>
                <a:gd name="T83" fmla="*/ 1002 h 8622"/>
                <a:gd name="T84" fmla="*/ 731 w 4352"/>
                <a:gd name="T85" fmla="*/ 767 h 8622"/>
                <a:gd name="T86" fmla="*/ 709 w 4352"/>
                <a:gd name="T87" fmla="*/ 930 h 8622"/>
                <a:gd name="T88" fmla="*/ 730 w 4352"/>
                <a:gd name="T89" fmla="*/ 1046 h 8622"/>
                <a:gd name="T90" fmla="*/ 708 w 4352"/>
                <a:gd name="T91" fmla="*/ 1435 h 8622"/>
                <a:gd name="T92" fmla="*/ 669 w 4352"/>
                <a:gd name="T93" fmla="*/ 1767 h 8622"/>
                <a:gd name="T94" fmla="*/ 615 w 4352"/>
                <a:gd name="T95" fmla="*/ 2007 h 8622"/>
                <a:gd name="T96" fmla="*/ 638 w 4352"/>
                <a:gd name="T97" fmla="*/ 2067 h 8622"/>
                <a:gd name="T98" fmla="*/ 641 w 4352"/>
                <a:gd name="T99" fmla="*/ 2121 h 8622"/>
                <a:gd name="T100" fmla="*/ 603 w 4352"/>
                <a:gd name="T101" fmla="*/ 2146 h 8622"/>
                <a:gd name="T102" fmla="*/ 539 w 4352"/>
                <a:gd name="T103" fmla="*/ 2109 h 8622"/>
                <a:gd name="T104" fmla="*/ 539 w 4352"/>
                <a:gd name="T105" fmla="*/ 1960 h 8622"/>
                <a:gd name="T106" fmla="*/ 538 w 4352"/>
                <a:gd name="T107" fmla="*/ 1754 h 8622"/>
                <a:gd name="T108" fmla="*/ 551 w 4352"/>
                <a:gd name="T109" fmla="*/ 1517 h 8622"/>
                <a:gd name="T110" fmla="*/ 507 w 4352"/>
                <a:gd name="T111" fmla="*/ 1480 h 8622"/>
                <a:gd name="T112" fmla="*/ 487 w 4352"/>
                <a:gd name="T113" fmla="*/ 1874 h 8622"/>
                <a:gd name="T114" fmla="*/ 495 w 4352"/>
                <a:gd name="T115" fmla="*/ 2018 h 8622"/>
                <a:gd name="T116" fmla="*/ 453 w 4352"/>
                <a:gd name="T117" fmla="*/ 2152 h 8622"/>
                <a:gd name="T118" fmla="*/ 408 w 4352"/>
                <a:gd name="T119" fmla="*/ 2130 h 8622"/>
                <a:gd name="T120" fmla="*/ 376 w 4352"/>
                <a:gd name="T121" fmla="*/ 2087 h 8622"/>
                <a:gd name="T122" fmla="*/ 403 w 4352"/>
                <a:gd name="T123" fmla="*/ 2040 h 8622"/>
                <a:gd name="T124" fmla="*/ 404 w 4352"/>
                <a:gd name="T125" fmla="*/ 1927 h 86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352" h="8622">
                  <a:moveTo>
                    <a:pt x="1573" y="7588"/>
                  </a:moveTo>
                  <a:lnTo>
                    <a:pt x="1515" y="7412"/>
                  </a:lnTo>
                  <a:lnTo>
                    <a:pt x="1484" y="7293"/>
                  </a:lnTo>
                  <a:lnTo>
                    <a:pt x="1440" y="7103"/>
                  </a:lnTo>
                  <a:lnTo>
                    <a:pt x="1425" y="7020"/>
                  </a:lnTo>
                  <a:lnTo>
                    <a:pt x="1414" y="6918"/>
                  </a:lnTo>
                  <a:lnTo>
                    <a:pt x="1408" y="6725"/>
                  </a:lnTo>
                  <a:lnTo>
                    <a:pt x="1413" y="6628"/>
                  </a:lnTo>
                  <a:lnTo>
                    <a:pt x="1424" y="6531"/>
                  </a:lnTo>
                  <a:lnTo>
                    <a:pt x="1435" y="6429"/>
                  </a:lnTo>
                  <a:lnTo>
                    <a:pt x="1439" y="6332"/>
                  </a:lnTo>
                  <a:lnTo>
                    <a:pt x="1447" y="6130"/>
                  </a:lnTo>
                  <a:lnTo>
                    <a:pt x="1442" y="6026"/>
                  </a:lnTo>
                  <a:lnTo>
                    <a:pt x="1427" y="5922"/>
                  </a:lnTo>
                  <a:lnTo>
                    <a:pt x="1370" y="5681"/>
                  </a:lnTo>
                  <a:lnTo>
                    <a:pt x="1351" y="5613"/>
                  </a:lnTo>
                  <a:lnTo>
                    <a:pt x="1315" y="5377"/>
                  </a:lnTo>
                  <a:lnTo>
                    <a:pt x="1284" y="5149"/>
                  </a:lnTo>
                  <a:lnTo>
                    <a:pt x="1261" y="4922"/>
                  </a:lnTo>
                  <a:lnTo>
                    <a:pt x="1260" y="4847"/>
                  </a:lnTo>
                  <a:lnTo>
                    <a:pt x="1265" y="4769"/>
                  </a:lnTo>
                  <a:lnTo>
                    <a:pt x="1275" y="4616"/>
                  </a:lnTo>
                  <a:lnTo>
                    <a:pt x="1286" y="4465"/>
                  </a:lnTo>
                  <a:lnTo>
                    <a:pt x="1314" y="4312"/>
                  </a:lnTo>
                  <a:lnTo>
                    <a:pt x="1337" y="4225"/>
                  </a:lnTo>
                  <a:lnTo>
                    <a:pt x="1369" y="4131"/>
                  </a:lnTo>
                  <a:lnTo>
                    <a:pt x="1393" y="4035"/>
                  </a:lnTo>
                  <a:lnTo>
                    <a:pt x="1399" y="3951"/>
                  </a:lnTo>
                  <a:lnTo>
                    <a:pt x="1401" y="3856"/>
                  </a:lnTo>
                  <a:lnTo>
                    <a:pt x="1420" y="3774"/>
                  </a:lnTo>
                  <a:lnTo>
                    <a:pt x="1446" y="3689"/>
                  </a:lnTo>
                  <a:lnTo>
                    <a:pt x="1467" y="3588"/>
                  </a:lnTo>
                  <a:lnTo>
                    <a:pt x="1476" y="3497"/>
                  </a:lnTo>
                  <a:lnTo>
                    <a:pt x="1476" y="3403"/>
                  </a:lnTo>
                  <a:lnTo>
                    <a:pt x="1460" y="3214"/>
                  </a:lnTo>
                  <a:lnTo>
                    <a:pt x="1434" y="3025"/>
                  </a:lnTo>
                  <a:lnTo>
                    <a:pt x="1414" y="2838"/>
                  </a:lnTo>
                  <a:lnTo>
                    <a:pt x="1413" y="2780"/>
                  </a:lnTo>
                  <a:lnTo>
                    <a:pt x="1404" y="2721"/>
                  </a:lnTo>
                  <a:lnTo>
                    <a:pt x="1392" y="2748"/>
                  </a:lnTo>
                  <a:lnTo>
                    <a:pt x="1376" y="2774"/>
                  </a:lnTo>
                  <a:lnTo>
                    <a:pt x="1352" y="2839"/>
                  </a:lnTo>
                  <a:lnTo>
                    <a:pt x="1334" y="2918"/>
                  </a:lnTo>
                  <a:lnTo>
                    <a:pt x="1311" y="3074"/>
                  </a:lnTo>
                  <a:lnTo>
                    <a:pt x="1295" y="3149"/>
                  </a:lnTo>
                  <a:lnTo>
                    <a:pt x="1269" y="3226"/>
                  </a:lnTo>
                  <a:lnTo>
                    <a:pt x="1245" y="3295"/>
                  </a:lnTo>
                  <a:lnTo>
                    <a:pt x="1211" y="3360"/>
                  </a:lnTo>
                  <a:lnTo>
                    <a:pt x="1127" y="3483"/>
                  </a:lnTo>
                  <a:lnTo>
                    <a:pt x="1010" y="3634"/>
                  </a:lnTo>
                  <a:lnTo>
                    <a:pt x="883" y="3779"/>
                  </a:lnTo>
                  <a:lnTo>
                    <a:pt x="763" y="3919"/>
                  </a:lnTo>
                  <a:lnTo>
                    <a:pt x="657" y="4051"/>
                  </a:lnTo>
                  <a:lnTo>
                    <a:pt x="636" y="4097"/>
                  </a:lnTo>
                  <a:lnTo>
                    <a:pt x="640" y="4111"/>
                  </a:lnTo>
                  <a:lnTo>
                    <a:pt x="632" y="4230"/>
                  </a:lnTo>
                  <a:lnTo>
                    <a:pt x="612" y="4348"/>
                  </a:lnTo>
                  <a:lnTo>
                    <a:pt x="586" y="4519"/>
                  </a:lnTo>
                  <a:lnTo>
                    <a:pt x="572" y="4602"/>
                  </a:lnTo>
                  <a:lnTo>
                    <a:pt x="548" y="4684"/>
                  </a:lnTo>
                  <a:lnTo>
                    <a:pt x="529" y="4700"/>
                  </a:lnTo>
                  <a:lnTo>
                    <a:pt x="512" y="4701"/>
                  </a:lnTo>
                  <a:lnTo>
                    <a:pt x="500" y="4643"/>
                  </a:lnTo>
                  <a:lnTo>
                    <a:pt x="499" y="4583"/>
                  </a:lnTo>
                  <a:lnTo>
                    <a:pt x="502" y="4465"/>
                  </a:lnTo>
                  <a:lnTo>
                    <a:pt x="499" y="4467"/>
                  </a:lnTo>
                  <a:lnTo>
                    <a:pt x="493" y="4479"/>
                  </a:lnTo>
                  <a:lnTo>
                    <a:pt x="458" y="4609"/>
                  </a:lnTo>
                  <a:lnTo>
                    <a:pt x="436" y="4673"/>
                  </a:lnTo>
                  <a:lnTo>
                    <a:pt x="404" y="4736"/>
                  </a:lnTo>
                  <a:lnTo>
                    <a:pt x="385" y="4747"/>
                  </a:lnTo>
                  <a:lnTo>
                    <a:pt x="364" y="4744"/>
                  </a:lnTo>
                  <a:lnTo>
                    <a:pt x="356" y="4721"/>
                  </a:lnTo>
                  <a:lnTo>
                    <a:pt x="360" y="4694"/>
                  </a:lnTo>
                  <a:lnTo>
                    <a:pt x="401" y="4479"/>
                  </a:lnTo>
                  <a:lnTo>
                    <a:pt x="246" y="4725"/>
                  </a:lnTo>
                  <a:lnTo>
                    <a:pt x="235" y="4734"/>
                  </a:lnTo>
                  <a:lnTo>
                    <a:pt x="218" y="4739"/>
                  </a:lnTo>
                  <a:lnTo>
                    <a:pt x="188" y="4730"/>
                  </a:lnTo>
                  <a:lnTo>
                    <a:pt x="180" y="4704"/>
                  </a:lnTo>
                  <a:lnTo>
                    <a:pt x="184" y="4674"/>
                  </a:lnTo>
                  <a:lnTo>
                    <a:pt x="205" y="4616"/>
                  </a:lnTo>
                  <a:lnTo>
                    <a:pt x="232" y="4559"/>
                  </a:lnTo>
                  <a:lnTo>
                    <a:pt x="281" y="4445"/>
                  </a:lnTo>
                  <a:lnTo>
                    <a:pt x="216" y="4532"/>
                  </a:lnTo>
                  <a:lnTo>
                    <a:pt x="156" y="4626"/>
                  </a:lnTo>
                  <a:lnTo>
                    <a:pt x="142" y="4643"/>
                  </a:lnTo>
                  <a:lnTo>
                    <a:pt x="122" y="4651"/>
                  </a:lnTo>
                  <a:lnTo>
                    <a:pt x="104" y="4653"/>
                  </a:lnTo>
                  <a:lnTo>
                    <a:pt x="84" y="4643"/>
                  </a:lnTo>
                  <a:lnTo>
                    <a:pt x="80" y="4619"/>
                  </a:lnTo>
                  <a:lnTo>
                    <a:pt x="88" y="4594"/>
                  </a:lnTo>
                  <a:lnTo>
                    <a:pt x="173" y="4411"/>
                  </a:lnTo>
                  <a:lnTo>
                    <a:pt x="212" y="4320"/>
                  </a:lnTo>
                  <a:lnTo>
                    <a:pt x="243" y="4225"/>
                  </a:lnTo>
                  <a:lnTo>
                    <a:pt x="224" y="4221"/>
                  </a:lnTo>
                  <a:lnTo>
                    <a:pt x="208" y="4230"/>
                  </a:lnTo>
                  <a:lnTo>
                    <a:pt x="175" y="4256"/>
                  </a:lnTo>
                  <a:lnTo>
                    <a:pt x="155" y="4265"/>
                  </a:lnTo>
                  <a:lnTo>
                    <a:pt x="119" y="4291"/>
                  </a:lnTo>
                  <a:lnTo>
                    <a:pt x="78" y="4305"/>
                  </a:lnTo>
                  <a:lnTo>
                    <a:pt x="37" y="4304"/>
                  </a:lnTo>
                  <a:lnTo>
                    <a:pt x="0" y="4283"/>
                  </a:lnTo>
                  <a:lnTo>
                    <a:pt x="22" y="4255"/>
                  </a:lnTo>
                  <a:lnTo>
                    <a:pt x="50" y="4232"/>
                  </a:lnTo>
                  <a:lnTo>
                    <a:pt x="79" y="4211"/>
                  </a:lnTo>
                  <a:lnTo>
                    <a:pt x="104" y="4186"/>
                  </a:lnTo>
                  <a:lnTo>
                    <a:pt x="182" y="4078"/>
                  </a:lnTo>
                  <a:lnTo>
                    <a:pt x="204" y="4059"/>
                  </a:lnTo>
                  <a:lnTo>
                    <a:pt x="230" y="4044"/>
                  </a:lnTo>
                  <a:lnTo>
                    <a:pt x="306" y="4015"/>
                  </a:lnTo>
                  <a:lnTo>
                    <a:pt x="341" y="3999"/>
                  </a:lnTo>
                  <a:lnTo>
                    <a:pt x="374" y="3973"/>
                  </a:lnTo>
                  <a:lnTo>
                    <a:pt x="408" y="3924"/>
                  </a:lnTo>
                  <a:lnTo>
                    <a:pt x="437" y="3865"/>
                  </a:lnTo>
                  <a:lnTo>
                    <a:pt x="495" y="3738"/>
                  </a:lnTo>
                  <a:lnTo>
                    <a:pt x="522" y="3662"/>
                  </a:lnTo>
                  <a:lnTo>
                    <a:pt x="553" y="3552"/>
                  </a:lnTo>
                  <a:lnTo>
                    <a:pt x="593" y="3429"/>
                  </a:lnTo>
                  <a:lnTo>
                    <a:pt x="631" y="3310"/>
                  </a:lnTo>
                  <a:lnTo>
                    <a:pt x="651" y="3249"/>
                  </a:lnTo>
                  <a:lnTo>
                    <a:pt x="679" y="3197"/>
                  </a:lnTo>
                  <a:lnTo>
                    <a:pt x="727" y="3117"/>
                  </a:lnTo>
                  <a:lnTo>
                    <a:pt x="748" y="3081"/>
                  </a:lnTo>
                  <a:lnTo>
                    <a:pt x="778" y="3043"/>
                  </a:lnTo>
                  <a:lnTo>
                    <a:pt x="907" y="2845"/>
                  </a:lnTo>
                  <a:lnTo>
                    <a:pt x="947" y="2721"/>
                  </a:lnTo>
                  <a:lnTo>
                    <a:pt x="961" y="2658"/>
                  </a:lnTo>
                  <a:lnTo>
                    <a:pt x="951" y="2506"/>
                  </a:lnTo>
                  <a:lnTo>
                    <a:pt x="948" y="2362"/>
                  </a:lnTo>
                  <a:lnTo>
                    <a:pt x="959" y="2219"/>
                  </a:lnTo>
                  <a:lnTo>
                    <a:pt x="985" y="2068"/>
                  </a:lnTo>
                  <a:lnTo>
                    <a:pt x="990" y="1953"/>
                  </a:lnTo>
                  <a:lnTo>
                    <a:pt x="993" y="1896"/>
                  </a:lnTo>
                  <a:lnTo>
                    <a:pt x="1007" y="1843"/>
                  </a:lnTo>
                  <a:lnTo>
                    <a:pt x="1030" y="1791"/>
                  </a:lnTo>
                  <a:lnTo>
                    <a:pt x="1060" y="1742"/>
                  </a:lnTo>
                  <a:lnTo>
                    <a:pt x="1139" y="1659"/>
                  </a:lnTo>
                  <a:lnTo>
                    <a:pt x="1231" y="1601"/>
                  </a:lnTo>
                  <a:lnTo>
                    <a:pt x="1393" y="1536"/>
                  </a:lnTo>
                  <a:lnTo>
                    <a:pt x="1571" y="1477"/>
                  </a:lnTo>
                  <a:lnTo>
                    <a:pt x="1723" y="1421"/>
                  </a:lnTo>
                  <a:lnTo>
                    <a:pt x="1778" y="1393"/>
                  </a:lnTo>
                  <a:lnTo>
                    <a:pt x="1811" y="1366"/>
                  </a:lnTo>
                  <a:lnTo>
                    <a:pt x="1836" y="1325"/>
                  </a:lnTo>
                  <a:lnTo>
                    <a:pt x="1851" y="1277"/>
                  </a:lnTo>
                  <a:lnTo>
                    <a:pt x="1864" y="1173"/>
                  </a:lnTo>
                  <a:lnTo>
                    <a:pt x="1863" y="1085"/>
                  </a:lnTo>
                  <a:lnTo>
                    <a:pt x="1857" y="1044"/>
                  </a:lnTo>
                  <a:lnTo>
                    <a:pt x="1833" y="972"/>
                  </a:lnTo>
                  <a:lnTo>
                    <a:pt x="1815" y="896"/>
                  </a:lnTo>
                  <a:lnTo>
                    <a:pt x="1807" y="863"/>
                  </a:lnTo>
                  <a:lnTo>
                    <a:pt x="1785" y="833"/>
                  </a:lnTo>
                  <a:lnTo>
                    <a:pt x="1778" y="833"/>
                  </a:lnTo>
                  <a:lnTo>
                    <a:pt x="1768" y="840"/>
                  </a:lnTo>
                  <a:lnTo>
                    <a:pt x="1756" y="841"/>
                  </a:lnTo>
                  <a:lnTo>
                    <a:pt x="1735" y="826"/>
                  </a:lnTo>
                  <a:lnTo>
                    <a:pt x="1719" y="801"/>
                  </a:lnTo>
                  <a:lnTo>
                    <a:pt x="1715" y="780"/>
                  </a:lnTo>
                  <a:lnTo>
                    <a:pt x="1701" y="731"/>
                  </a:lnTo>
                  <a:lnTo>
                    <a:pt x="1670" y="644"/>
                  </a:lnTo>
                  <a:lnTo>
                    <a:pt x="1659" y="574"/>
                  </a:lnTo>
                  <a:lnTo>
                    <a:pt x="1663" y="529"/>
                  </a:lnTo>
                  <a:lnTo>
                    <a:pt x="1670" y="518"/>
                  </a:lnTo>
                  <a:lnTo>
                    <a:pt x="1680" y="517"/>
                  </a:lnTo>
                  <a:lnTo>
                    <a:pt x="1710" y="515"/>
                  </a:lnTo>
                  <a:lnTo>
                    <a:pt x="1711" y="386"/>
                  </a:lnTo>
                  <a:lnTo>
                    <a:pt x="1738" y="256"/>
                  </a:lnTo>
                  <a:lnTo>
                    <a:pt x="1763" y="197"/>
                  </a:lnTo>
                  <a:lnTo>
                    <a:pt x="1795" y="143"/>
                  </a:lnTo>
                  <a:lnTo>
                    <a:pt x="1840" y="97"/>
                  </a:lnTo>
                  <a:lnTo>
                    <a:pt x="1892" y="59"/>
                  </a:lnTo>
                  <a:lnTo>
                    <a:pt x="1985" y="20"/>
                  </a:lnTo>
                  <a:lnTo>
                    <a:pt x="2079" y="0"/>
                  </a:lnTo>
                  <a:lnTo>
                    <a:pt x="2178" y="4"/>
                  </a:lnTo>
                  <a:lnTo>
                    <a:pt x="2283" y="27"/>
                  </a:lnTo>
                  <a:lnTo>
                    <a:pt x="2327" y="45"/>
                  </a:lnTo>
                  <a:lnTo>
                    <a:pt x="2372" y="67"/>
                  </a:lnTo>
                  <a:lnTo>
                    <a:pt x="2413" y="97"/>
                  </a:lnTo>
                  <a:lnTo>
                    <a:pt x="2447" y="135"/>
                  </a:lnTo>
                  <a:lnTo>
                    <a:pt x="2491" y="218"/>
                  </a:lnTo>
                  <a:lnTo>
                    <a:pt x="2518" y="302"/>
                  </a:lnTo>
                  <a:lnTo>
                    <a:pt x="2533" y="391"/>
                  </a:lnTo>
                  <a:lnTo>
                    <a:pt x="2541" y="481"/>
                  </a:lnTo>
                  <a:lnTo>
                    <a:pt x="2551" y="472"/>
                  </a:lnTo>
                  <a:lnTo>
                    <a:pt x="2565" y="468"/>
                  </a:lnTo>
                  <a:lnTo>
                    <a:pt x="2581" y="472"/>
                  </a:lnTo>
                  <a:lnTo>
                    <a:pt x="2599" y="517"/>
                  </a:lnTo>
                  <a:lnTo>
                    <a:pt x="2602" y="546"/>
                  </a:lnTo>
                  <a:lnTo>
                    <a:pt x="2587" y="628"/>
                  </a:lnTo>
                  <a:lnTo>
                    <a:pt x="2573" y="731"/>
                  </a:lnTo>
                  <a:lnTo>
                    <a:pt x="2560" y="783"/>
                  </a:lnTo>
                  <a:lnTo>
                    <a:pt x="2544" y="813"/>
                  </a:lnTo>
                  <a:lnTo>
                    <a:pt x="2524" y="814"/>
                  </a:lnTo>
                  <a:lnTo>
                    <a:pt x="2504" y="864"/>
                  </a:lnTo>
                  <a:lnTo>
                    <a:pt x="2485" y="921"/>
                  </a:lnTo>
                  <a:lnTo>
                    <a:pt x="2459" y="995"/>
                  </a:lnTo>
                  <a:lnTo>
                    <a:pt x="2428" y="1087"/>
                  </a:lnTo>
                  <a:lnTo>
                    <a:pt x="2416" y="1148"/>
                  </a:lnTo>
                  <a:lnTo>
                    <a:pt x="2420" y="1225"/>
                  </a:lnTo>
                  <a:lnTo>
                    <a:pt x="2444" y="1359"/>
                  </a:lnTo>
                  <a:lnTo>
                    <a:pt x="2466" y="1404"/>
                  </a:lnTo>
                  <a:lnTo>
                    <a:pt x="2500" y="1435"/>
                  </a:lnTo>
                  <a:lnTo>
                    <a:pt x="2544" y="1455"/>
                  </a:lnTo>
                  <a:lnTo>
                    <a:pt x="2595" y="1472"/>
                  </a:lnTo>
                  <a:lnTo>
                    <a:pt x="2770" y="1515"/>
                  </a:lnTo>
                  <a:lnTo>
                    <a:pt x="2946" y="1550"/>
                  </a:lnTo>
                  <a:lnTo>
                    <a:pt x="3014" y="1575"/>
                  </a:lnTo>
                  <a:lnTo>
                    <a:pt x="3074" y="1610"/>
                  </a:lnTo>
                  <a:lnTo>
                    <a:pt x="3139" y="1665"/>
                  </a:lnTo>
                  <a:lnTo>
                    <a:pt x="3180" y="1709"/>
                  </a:lnTo>
                  <a:lnTo>
                    <a:pt x="3238" y="1799"/>
                  </a:lnTo>
                  <a:lnTo>
                    <a:pt x="3271" y="1874"/>
                  </a:lnTo>
                  <a:lnTo>
                    <a:pt x="3293" y="1957"/>
                  </a:lnTo>
                  <a:lnTo>
                    <a:pt x="3301" y="2066"/>
                  </a:lnTo>
                  <a:lnTo>
                    <a:pt x="3304" y="2172"/>
                  </a:lnTo>
                  <a:lnTo>
                    <a:pt x="3318" y="2293"/>
                  </a:lnTo>
                  <a:lnTo>
                    <a:pt x="3337" y="2389"/>
                  </a:lnTo>
                  <a:lnTo>
                    <a:pt x="3354" y="2482"/>
                  </a:lnTo>
                  <a:lnTo>
                    <a:pt x="3362" y="2597"/>
                  </a:lnTo>
                  <a:lnTo>
                    <a:pt x="3347" y="2846"/>
                  </a:lnTo>
                  <a:lnTo>
                    <a:pt x="3354" y="2877"/>
                  </a:lnTo>
                  <a:lnTo>
                    <a:pt x="3374" y="2909"/>
                  </a:lnTo>
                  <a:lnTo>
                    <a:pt x="3413" y="2960"/>
                  </a:lnTo>
                  <a:lnTo>
                    <a:pt x="3556" y="3191"/>
                  </a:lnTo>
                  <a:lnTo>
                    <a:pt x="3620" y="3312"/>
                  </a:lnTo>
                  <a:lnTo>
                    <a:pt x="3666" y="3428"/>
                  </a:lnTo>
                  <a:lnTo>
                    <a:pt x="3703" y="3545"/>
                  </a:lnTo>
                  <a:lnTo>
                    <a:pt x="3745" y="3657"/>
                  </a:lnTo>
                  <a:lnTo>
                    <a:pt x="3826" y="3884"/>
                  </a:lnTo>
                  <a:lnTo>
                    <a:pt x="3853" y="3924"/>
                  </a:lnTo>
                  <a:lnTo>
                    <a:pt x="3890" y="3948"/>
                  </a:lnTo>
                  <a:lnTo>
                    <a:pt x="3948" y="3961"/>
                  </a:lnTo>
                  <a:lnTo>
                    <a:pt x="4004" y="3981"/>
                  </a:lnTo>
                  <a:lnTo>
                    <a:pt x="4081" y="4021"/>
                  </a:lnTo>
                  <a:lnTo>
                    <a:pt x="4144" y="4078"/>
                  </a:lnTo>
                  <a:lnTo>
                    <a:pt x="4205" y="4120"/>
                  </a:lnTo>
                  <a:lnTo>
                    <a:pt x="4346" y="4195"/>
                  </a:lnTo>
                  <a:lnTo>
                    <a:pt x="4352" y="4204"/>
                  </a:lnTo>
                  <a:lnTo>
                    <a:pt x="4349" y="4217"/>
                  </a:lnTo>
                  <a:lnTo>
                    <a:pt x="4329" y="4234"/>
                  </a:lnTo>
                  <a:lnTo>
                    <a:pt x="4272" y="4244"/>
                  </a:lnTo>
                  <a:lnTo>
                    <a:pt x="4217" y="4234"/>
                  </a:lnTo>
                  <a:lnTo>
                    <a:pt x="4144" y="4198"/>
                  </a:lnTo>
                  <a:lnTo>
                    <a:pt x="4114" y="4188"/>
                  </a:lnTo>
                  <a:lnTo>
                    <a:pt x="4102" y="4189"/>
                  </a:lnTo>
                  <a:lnTo>
                    <a:pt x="4094" y="4196"/>
                  </a:lnTo>
                  <a:lnTo>
                    <a:pt x="4086" y="4217"/>
                  </a:lnTo>
                  <a:lnTo>
                    <a:pt x="4087" y="4239"/>
                  </a:lnTo>
                  <a:lnTo>
                    <a:pt x="4107" y="4287"/>
                  </a:lnTo>
                  <a:lnTo>
                    <a:pt x="4175" y="4382"/>
                  </a:lnTo>
                  <a:lnTo>
                    <a:pt x="4258" y="4491"/>
                  </a:lnTo>
                  <a:lnTo>
                    <a:pt x="4286" y="4539"/>
                  </a:lnTo>
                  <a:lnTo>
                    <a:pt x="4287" y="4557"/>
                  </a:lnTo>
                  <a:lnTo>
                    <a:pt x="4279" y="4571"/>
                  </a:lnTo>
                  <a:lnTo>
                    <a:pt x="4253" y="4581"/>
                  </a:lnTo>
                  <a:lnTo>
                    <a:pt x="4239" y="4578"/>
                  </a:lnTo>
                  <a:lnTo>
                    <a:pt x="4197" y="4540"/>
                  </a:lnTo>
                  <a:lnTo>
                    <a:pt x="4155" y="4506"/>
                  </a:lnTo>
                  <a:lnTo>
                    <a:pt x="4113" y="4472"/>
                  </a:lnTo>
                  <a:lnTo>
                    <a:pt x="4081" y="4429"/>
                  </a:lnTo>
                  <a:lnTo>
                    <a:pt x="4135" y="4545"/>
                  </a:lnTo>
                  <a:lnTo>
                    <a:pt x="4189" y="4617"/>
                  </a:lnTo>
                  <a:lnTo>
                    <a:pt x="4204" y="4654"/>
                  </a:lnTo>
                  <a:lnTo>
                    <a:pt x="4201" y="4672"/>
                  </a:lnTo>
                  <a:lnTo>
                    <a:pt x="4192" y="4692"/>
                  </a:lnTo>
                  <a:lnTo>
                    <a:pt x="4173" y="4700"/>
                  </a:lnTo>
                  <a:lnTo>
                    <a:pt x="4155" y="4694"/>
                  </a:lnTo>
                  <a:lnTo>
                    <a:pt x="4117" y="4665"/>
                  </a:lnTo>
                  <a:lnTo>
                    <a:pt x="4074" y="4621"/>
                  </a:lnTo>
                  <a:lnTo>
                    <a:pt x="4039" y="4571"/>
                  </a:lnTo>
                  <a:lnTo>
                    <a:pt x="4006" y="4520"/>
                  </a:lnTo>
                  <a:lnTo>
                    <a:pt x="3969" y="4474"/>
                  </a:lnTo>
                  <a:lnTo>
                    <a:pt x="4007" y="4566"/>
                  </a:lnTo>
                  <a:lnTo>
                    <a:pt x="4034" y="4649"/>
                  </a:lnTo>
                  <a:lnTo>
                    <a:pt x="4042" y="4711"/>
                  </a:lnTo>
                  <a:lnTo>
                    <a:pt x="4038" y="4730"/>
                  </a:lnTo>
                  <a:lnTo>
                    <a:pt x="4028" y="4741"/>
                  </a:lnTo>
                  <a:lnTo>
                    <a:pt x="4005" y="4741"/>
                  </a:lnTo>
                  <a:lnTo>
                    <a:pt x="3985" y="4732"/>
                  </a:lnTo>
                  <a:lnTo>
                    <a:pt x="3938" y="4657"/>
                  </a:lnTo>
                  <a:lnTo>
                    <a:pt x="3854" y="4484"/>
                  </a:lnTo>
                  <a:lnTo>
                    <a:pt x="3867" y="4587"/>
                  </a:lnTo>
                  <a:lnTo>
                    <a:pt x="3869" y="4638"/>
                  </a:lnTo>
                  <a:lnTo>
                    <a:pt x="3862" y="4687"/>
                  </a:lnTo>
                  <a:lnTo>
                    <a:pt x="3847" y="4704"/>
                  </a:lnTo>
                  <a:lnTo>
                    <a:pt x="3830" y="4700"/>
                  </a:lnTo>
                  <a:lnTo>
                    <a:pt x="3811" y="4680"/>
                  </a:lnTo>
                  <a:lnTo>
                    <a:pt x="3800" y="4660"/>
                  </a:lnTo>
                  <a:lnTo>
                    <a:pt x="3726" y="4397"/>
                  </a:lnTo>
                  <a:lnTo>
                    <a:pt x="3703" y="4335"/>
                  </a:lnTo>
                  <a:lnTo>
                    <a:pt x="3674" y="4272"/>
                  </a:lnTo>
                  <a:lnTo>
                    <a:pt x="3574" y="4071"/>
                  </a:lnTo>
                  <a:lnTo>
                    <a:pt x="3519" y="4010"/>
                  </a:lnTo>
                  <a:lnTo>
                    <a:pt x="3482" y="3979"/>
                  </a:lnTo>
                  <a:lnTo>
                    <a:pt x="3349" y="3829"/>
                  </a:lnTo>
                  <a:lnTo>
                    <a:pt x="3254" y="3702"/>
                  </a:lnTo>
                  <a:lnTo>
                    <a:pt x="3036" y="3339"/>
                  </a:lnTo>
                  <a:lnTo>
                    <a:pt x="3003" y="3297"/>
                  </a:lnTo>
                  <a:lnTo>
                    <a:pt x="2975" y="3253"/>
                  </a:lnTo>
                  <a:lnTo>
                    <a:pt x="2927" y="3068"/>
                  </a:lnTo>
                  <a:lnTo>
                    <a:pt x="2884" y="2882"/>
                  </a:lnTo>
                  <a:lnTo>
                    <a:pt x="2872" y="2998"/>
                  </a:lnTo>
                  <a:lnTo>
                    <a:pt x="2846" y="3147"/>
                  </a:lnTo>
                  <a:lnTo>
                    <a:pt x="2798" y="3407"/>
                  </a:lnTo>
                  <a:lnTo>
                    <a:pt x="2795" y="3492"/>
                  </a:lnTo>
                  <a:lnTo>
                    <a:pt x="2803" y="3574"/>
                  </a:lnTo>
                  <a:lnTo>
                    <a:pt x="2838" y="3723"/>
                  </a:lnTo>
                  <a:lnTo>
                    <a:pt x="2874" y="3855"/>
                  </a:lnTo>
                  <a:lnTo>
                    <a:pt x="2883" y="3916"/>
                  </a:lnTo>
                  <a:lnTo>
                    <a:pt x="2879" y="3972"/>
                  </a:lnTo>
                  <a:lnTo>
                    <a:pt x="2877" y="4029"/>
                  </a:lnTo>
                  <a:lnTo>
                    <a:pt x="2890" y="4079"/>
                  </a:lnTo>
                  <a:lnTo>
                    <a:pt x="2906" y="4128"/>
                  </a:lnTo>
                  <a:lnTo>
                    <a:pt x="2921" y="4186"/>
                  </a:lnTo>
                  <a:lnTo>
                    <a:pt x="2948" y="4416"/>
                  </a:lnTo>
                  <a:lnTo>
                    <a:pt x="2968" y="4647"/>
                  </a:lnTo>
                  <a:lnTo>
                    <a:pt x="2970" y="4846"/>
                  </a:lnTo>
                  <a:lnTo>
                    <a:pt x="2970" y="5045"/>
                  </a:lnTo>
                  <a:lnTo>
                    <a:pt x="2957" y="5165"/>
                  </a:lnTo>
                  <a:lnTo>
                    <a:pt x="2925" y="5366"/>
                  </a:lnTo>
                  <a:lnTo>
                    <a:pt x="2836" y="5744"/>
                  </a:lnTo>
                  <a:lnTo>
                    <a:pt x="2798" y="5956"/>
                  </a:lnTo>
                  <a:lnTo>
                    <a:pt x="2756" y="6194"/>
                  </a:lnTo>
                  <a:lnTo>
                    <a:pt x="2727" y="6327"/>
                  </a:lnTo>
                  <a:lnTo>
                    <a:pt x="2712" y="6455"/>
                  </a:lnTo>
                  <a:lnTo>
                    <a:pt x="2701" y="6714"/>
                  </a:lnTo>
                  <a:lnTo>
                    <a:pt x="2696" y="6893"/>
                  </a:lnTo>
                  <a:lnTo>
                    <a:pt x="2680" y="7071"/>
                  </a:lnTo>
                  <a:lnTo>
                    <a:pt x="2642" y="7273"/>
                  </a:lnTo>
                  <a:lnTo>
                    <a:pt x="2594" y="7476"/>
                  </a:lnTo>
                  <a:lnTo>
                    <a:pt x="2507" y="7721"/>
                  </a:lnTo>
                  <a:lnTo>
                    <a:pt x="2468" y="7841"/>
                  </a:lnTo>
                  <a:lnTo>
                    <a:pt x="2452" y="7896"/>
                  </a:lnTo>
                  <a:lnTo>
                    <a:pt x="2458" y="7956"/>
                  </a:lnTo>
                  <a:lnTo>
                    <a:pt x="2463" y="8029"/>
                  </a:lnTo>
                  <a:lnTo>
                    <a:pt x="2478" y="8102"/>
                  </a:lnTo>
                  <a:lnTo>
                    <a:pt x="2497" y="8135"/>
                  </a:lnTo>
                  <a:lnTo>
                    <a:pt x="2513" y="8170"/>
                  </a:lnTo>
                  <a:lnTo>
                    <a:pt x="2524" y="8214"/>
                  </a:lnTo>
                  <a:lnTo>
                    <a:pt x="2530" y="8232"/>
                  </a:lnTo>
                  <a:lnTo>
                    <a:pt x="2544" y="8248"/>
                  </a:lnTo>
                  <a:lnTo>
                    <a:pt x="2556" y="8269"/>
                  </a:lnTo>
                  <a:lnTo>
                    <a:pt x="2567" y="8292"/>
                  </a:lnTo>
                  <a:lnTo>
                    <a:pt x="2601" y="8322"/>
                  </a:lnTo>
                  <a:lnTo>
                    <a:pt x="2624" y="8361"/>
                  </a:lnTo>
                  <a:lnTo>
                    <a:pt x="2635" y="8403"/>
                  </a:lnTo>
                  <a:lnTo>
                    <a:pt x="2630" y="8445"/>
                  </a:lnTo>
                  <a:lnTo>
                    <a:pt x="2606" y="8473"/>
                  </a:lnTo>
                  <a:lnTo>
                    <a:pt x="2567" y="8487"/>
                  </a:lnTo>
                  <a:lnTo>
                    <a:pt x="2554" y="8506"/>
                  </a:lnTo>
                  <a:lnTo>
                    <a:pt x="2524" y="8518"/>
                  </a:lnTo>
                  <a:lnTo>
                    <a:pt x="2496" y="8532"/>
                  </a:lnTo>
                  <a:lnTo>
                    <a:pt x="2480" y="8544"/>
                  </a:lnTo>
                  <a:lnTo>
                    <a:pt x="2465" y="8556"/>
                  </a:lnTo>
                  <a:lnTo>
                    <a:pt x="2437" y="8569"/>
                  </a:lnTo>
                  <a:lnTo>
                    <a:pt x="2415" y="8586"/>
                  </a:lnTo>
                  <a:lnTo>
                    <a:pt x="2392" y="8603"/>
                  </a:lnTo>
                  <a:lnTo>
                    <a:pt x="2366" y="8617"/>
                  </a:lnTo>
                  <a:lnTo>
                    <a:pt x="2314" y="8622"/>
                  </a:lnTo>
                  <a:lnTo>
                    <a:pt x="2271" y="8610"/>
                  </a:lnTo>
                  <a:lnTo>
                    <a:pt x="2217" y="8558"/>
                  </a:lnTo>
                  <a:lnTo>
                    <a:pt x="2181" y="8501"/>
                  </a:lnTo>
                  <a:lnTo>
                    <a:pt x="2159" y="8437"/>
                  </a:lnTo>
                  <a:lnTo>
                    <a:pt x="2148" y="8368"/>
                  </a:lnTo>
                  <a:lnTo>
                    <a:pt x="2145" y="8225"/>
                  </a:lnTo>
                  <a:lnTo>
                    <a:pt x="2145" y="8086"/>
                  </a:lnTo>
                  <a:lnTo>
                    <a:pt x="2133" y="7982"/>
                  </a:lnTo>
                  <a:lnTo>
                    <a:pt x="2129" y="7942"/>
                  </a:lnTo>
                  <a:lnTo>
                    <a:pt x="2133" y="7902"/>
                  </a:lnTo>
                  <a:lnTo>
                    <a:pt x="2158" y="7843"/>
                  </a:lnTo>
                  <a:lnTo>
                    <a:pt x="2179" y="7760"/>
                  </a:lnTo>
                  <a:lnTo>
                    <a:pt x="2182" y="7677"/>
                  </a:lnTo>
                  <a:lnTo>
                    <a:pt x="2179" y="7506"/>
                  </a:lnTo>
                  <a:lnTo>
                    <a:pt x="2171" y="7354"/>
                  </a:lnTo>
                  <a:lnTo>
                    <a:pt x="2151" y="7203"/>
                  </a:lnTo>
                  <a:lnTo>
                    <a:pt x="2150" y="7114"/>
                  </a:lnTo>
                  <a:lnTo>
                    <a:pt x="2154" y="7020"/>
                  </a:lnTo>
                  <a:lnTo>
                    <a:pt x="2165" y="6910"/>
                  </a:lnTo>
                  <a:lnTo>
                    <a:pt x="2188" y="6794"/>
                  </a:lnTo>
                  <a:lnTo>
                    <a:pt x="2213" y="6638"/>
                  </a:lnTo>
                  <a:lnTo>
                    <a:pt x="2230" y="6504"/>
                  </a:lnTo>
                  <a:lnTo>
                    <a:pt x="2235" y="6384"/>
                  </a:lnTo>
                  <a:lnTo>
                    <a:pt x="2227" y="6229"/>
                  </a:lnTo>
                  <a:lnTo>
                    <a:pt x="2207" y="6069"/>
                  </a:lnTo>
                  <a:lnTo>
                    <a:pt x="2189" y="5965"/>
                  </a:lnTo>
                  <a:lnTo>
                    <a:pt x="2180" y="5866"/>
                  </a:lnTo>
                  <a:lnTo>
                    <a:pt x="2150" y="5398"/>
                  </a:lnTo>
                  <a:lnTo>
                    <a:pt x="2139" y="5122"/>
                  </a:lnTo>
                  <a:lnTo>
                    <a:pt x="2140" y="4967"/>
                  </a:lnTo>
                  <a:lnTo>
                    <a:pt x="2082" y="5613"/>
                  </a:lnTo>
                  <a:lnTo>
                    <a:pt x="2029" y="5922"/>
                  </a:lnTo>
                  <a:lnTo>
                    <a:pt x="1982" y="6230"/>
                  </a:lnTo>
                  <a:lnTo>
                    <a:pt x="1947" y="6461"/>
                  </a:lnTo>
                  <a:lnTo>
                    <a:pt x="1946" y="6572"/>
                  </a:lnTo>
                  <a:lnTo>
                    <a:pt x="1965" y="6695"/>
                  </a:lnTo>
                  <a:lnTo>
                    <a:pt x="1982" y="6861"/>
                  </a:lnTo>
                  <a:lnTo>
                    <a:pt x="1966" y="7255"/>
                  </a:lnTo>
                  <a:lnTo>
                    <a:pt x="1950" y="7497"/>
                  </a:lnTo>
                  <a:lnTo>
                    <a:pt x="1945" y="7665"/>
                  </a:lnTo>
                  <a:lnTo>
                    <a:pt x="1950" y="7749"/>
                  </a:lnTo>
                  <a:lnTo>
                    <a:pt x="1968" y="7832"/>
                  </a:lnTo>
                  <a:lnTo>
                    <a:pt x="1995" y="7891"/>
                  </a:lnTo>
                  <a:lnTo>
                    <a:pt x="1999" y="7930"/>
                  </a:lnTo>
                  <a:lnTo>
                    <a:pt x="1995" y="7971"/>
                  </a:lnTo>
                  <a:lnTo>
                    <a:pt x="1982" y="8074"/>
                  </a:lnTo>
                  <a:lnTo>
                    <a:pt x="1984" y="8214"/>
                  </a:lnTo>
                  <a:lnTo>
                    <a:pt x="1980" y="8358"/>
                  </a:lnTo>
                  <a:lnTo>
                    <a:pt x="1968" y="8426"/>
                  </a:lnTo>
                  <a:lnTo>
                    <a:pt x="1946" y="8489"/>
                  </a:lnTo>
                  <a:lnTo>
                    <a:pt x="1910" y="8548"/>
                  </a:lnTo>
                  <a:lnTo>
                    <a:pt x="1855" y="8599"/>
                  </a:lnTo>
                  <a:lnTo>
                    <a:pt x="1814" y="8611"/>
                  </a:lnTo>
                  <a:lnTo>
                    <a:pt x="1763" y="8606"/>
                  </a:lnTo>
                  <a:lnTo>
                    <a:pt x="1736" y="8593"/>
                  </a:lnTo>
                  <a:lnTo>
                    <a:pt x="1712" y="8576"/>
                  </a:lnTo>
                  <a:lnTo>
                    <a:pt x="1690" y="8557"/>
                  </a:lnTo>
                  <a:lnTo>
                    <a:pt x="1663" y="8544"/>
                  </a:lnTo>
                  <a:lnTo>
                    <a:pt x="1648" y="8535"/>
                  </a:lnTo>
                  <a:lnTo>
                    <a:pt x="1633" y="8521"/>
                  </a:lnTo>
                  <a:lnTo>
                    <a:pt x="1604" y="8508"/>
                  </a:lnTo>
                  <a:lnTo>
                    <a:pt x="1573" y="8495"/>
                  </a:lnTo>
                  <a:lnTo>
                    <a:pt x="1560" y="8476"/>
                  </a:lnTo>
                  <a:lnTo>
                    <a:pt x="1522" y="8461"/>
                  </a:lnTo>
                  <a:lnTo>
                    <a:pt x="1496" y="8434"/>
                  </a:lnTo>
                  <a:lnTo>
                    <a:pt x="1493" y="8391"/>
                  </a:lnTo>
                  <a:lnTo>
                    <a:pt x="1504" y="8350"/>
                  </a:lnTo>
                  <a:lnTo>
                    <a:pt x="1528" y="8313"/>
                  </a:lnTo>
                  <a:lnTo>
                    <a:pt x="1560" y="8282"/>
                  </a:lnTo>
                  <a:lnTo>
                    <a:pt x="1572" y="8260"/>
                  </a:lnTo>
                  <a:lnTo>
                    <a:pt x="1584" y="8238"/>
                  </a:lnTo>
                  <a:lnTo>
                    <a:pt x="1597" y="8221"/>
                  </a:lnTo>
                  <a:lnTo>
                    <a:pt x="1604" y="8203"/>
                  </a:lnTo>
                  <a:lnTo>
                    <a:pt x="1614" y="8161"/>
                  </a:lnTo>
                  <a:lnTo>
                    <a:pt x="1632" y="8124"/>
                  </a:lnTo>
                  <a:lnTo>
                    <a:pt x="1649" y="8092"/>
                  </a:lnTo>
                  <a:lnTo>
                    <a:pt x="1664" y="8018"/>
                  </a:lnTo>
                  <a:lnTo>
                    <a:pt x="1670" y="7944"/>
                  </a:lnTo>
                  <a:lnTo>
                    <a:pt x="1675" y="7885"/>
                  </a:lnTo>
                  <a:lnTo>
                    <a:pt x="1660" y="7830"/>
                  </a:lnTo>
                  <a:lnTo>
                    <a:pt x="1619" y="7709"/>
                  </a:lnTo>
                  <a:lnTo>
                    <a:pt x="1573" y="7588"/>
                  </a:lnTo>
                  <a:close/>
                </a:path>
              </a:pathLst>
            </a:custGeom>
            <a:solidFill>
              <a:srgbClr val="DDDDDD"/>
            </a:solidFill>
            <a:ln w="7938">
              <a:solidFill>
                <a:schemeClr val="tx1"/>
              </a:solidFill>
              <a:prstDash val="solid"/>
              <a:round/>
              <a:headEnd/>
              <a:tailEnd/>
            </a:ln>
          </p:spPr>
          <p:txBody>
            <a:bodyPr rtlCol="0"/>
            <a:lstStyle/>
            <a:p>
              <a:pPr rtl="0"/>
              <a:endParaRPr lang="en-US"/>
            </a:p>
          </p:txBody>
        </p:sp>
        <p:sp>
          <p:nvSpPr>
            <p:cNvPr id="785" name="Line 564">
              <a:extLst>
                <a:ext uri="{FF2B5EF4-FFF2-40B4-BE49-F238E27FC236}">
                  <a16:creationId xmlns:a16="http://schemas.microsoft.com/office/drawing/2014/main" id="{4FBB861D-1CC6-532B-B640-0E11C58FF0EC}"/>
                </a:ext>
              </a:extLst>
            </p:cNvPr>
            <p:cNvSpPr>
              <a:spLocks noChangeShapeType="1"/>
            </p:cNvSpPr>
            <p:nvPr/>
          </p:nvSpPr>
          <p:spPr bwMode="auto">
            <a:xfrm>
              <a:off x="2851" y="2321"/>
              <a:ext cx="10" cy="16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86" name="Line 565">
              <a:extLst>
                <a:ext uri="{FF2B5EF4-FFF2-40B4-BE49-F238E27FC236}">
                  <a16:creationId xmlns:a16="http://schemas.microsoft.com/office/drawing/2014/main" id="{C536D965-C581-A904-9F8A-09CAC305BF39}"/>
                </a:ext>
              </a:extLst>
            </p:cNvPr>
            <p:cNvSpPr>
              <a:spLocks noChangeShapeType="1"/>
            </p:cNvSpPr>
            <p:nvPr/>
          </p:nvSpPr>
          <p:spPr bwMode="auto">
            <a:xfrm>
              <a:off x="3231" y="1208"/>
              <a:ext cx="2" cy="23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87" name="Line 566">
              <a:extLst>
                <a:ext uri="{FF2B5EF4-FFF2-40B4-BE49-F238E27FC236}">
                  <a16:creationId xmlns:a16="http://schemas.microsoft.com/office/drawing/2014/main" id="{CCC41395-36CE-D058-8FFA-88F3F5D2F8F7}"/>
                </a:ext>
              </a:extLst>
            </p:cNvPr>
            <p:cNvSpPr>
              <a:spLocks noChangeShapeType="1"/>
            </p:cNvSpPr>
            <p:nvPr/>
          </p:nvSpPr>
          <p:spPr bwMode="auto">
            <a:xfrm flipH="1">
              <a:off x="2493" y="1220"/>
              <a:ext cx="16" cy="145"/>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grpSp>
      <p:grpSp>
        <p:nvGrpSpPr>
          <p:cNvPr id="788" name="Group 787">
            <a:extLst>
              <a:ext uri="{FF2B5EF4-FFF2-40B4-BE49-F238E27FC236}">
                <a16:creationId xmlns:a16="http://schemas.microsoft.com/office/drawing/2014/main" id="{2B0C4C20-F35E-DEE4-0CDB-C4A12EC5EC22}"/>
              </a:ext>
            </a:extLst>
          </p:cNvPr>
          <p:cNvGrpSpPr/>
          <p:nvPr/>
        </p:nvGrpSpPr>
        <p:grpSpPr>
          <a:xfrm>
            <a:off x="6265932" y="1064204"/>
            <a:ext cx="2186272" cy="1776327"/>
            <a:chOff x="9493632" y="2478078"/>
            <a:chExt cx="2377034" cy="1979613"/>
          </a:xfrm>
        </p:grpSpPr>
        <p:grpSp>
          <p:nvGrpSpPr>
            <p:cNvPr id="789" name="Group 785">
              <a:extLst>
                <a:ext uri="{FF2B5EF4-FFF2-40B4-BE49-F238E27FC236}">
                  <a16:creationId xmlns:a16="http://schemas.microsoft.com/office/drawing/2014/main" id="{0C6AF891-62B2-B78C-4D7B-EEB89DB8DC2F}"/>
                </a:ext>
              </a:extLst>
            </p:cNvPr>
            <p:cNvGrpSpPr>
              <a:grpSpLocks/>
            </p:cNvGrpSpPr>
            <p:nvPr/>
          </p:nvGrpSpPr>
          <p:grpSpPr bwMode="auto">
            <a:xfrm flipH="1">
              <a:off x="9998507" y="2478078"/>
              <a:ext cx="1295400" cy="1362075"/>
              <a:chOff x="3512" y="2438"/>
              <a:chExt cx="987" cy="995"/>
            </a:xfrm>
          </p:grpSpPr>
          <p:sp>
            <p:nvSpPr>
              <p:cNvPr id="800" name="Freeform 786">
                <a:extLst>
                  <a:ext uri="{FF2B5EF4-FFF2-40B4-BE49-F238E27FC236}">
                    <a16:creationId xmlns:a16="http://schemas.microsoft.com/office/drawing/2014/main" id="{1B2835A1-5AE3-FED7-B4C2-0EAAC5797A7C}"/>
                  </a:ext>
                </a:extLst>
              </p:cNvPr>
              <p:cNvSpPr>
                <a:spLocks/>
              </p:cNvSpPr>
              <p:nvPr/>
            </p:nvSpPr>
            <p:spPr bwMode="auto">
              <a:xfrm>
                <a:off x="3697" y="2640"/>
                <a:ext cx="608" cy="599"/>
              </a:xfrm>
              <a:custGeom>
                <a:avLst/>
                <a:gdLst>
                  <a:gd name="T0" fmla="*/ 17 w 608"/>
                  <a:gd name="T1" fmla="*/ 194 h 599"/>
                  <a:gd name="T2" fmla="*/ 44 w 608"/>
                  <a:gd name="T3" fmla="*/ 141 h 599"/>
                  <a:gd name="T4" fmla="*/ 79 w 608"/>
                  <a:gd name="T5" fmla="*/ 97 h 599"/>
                  <a:gd name="T6" fmla="*/ 123 w 608"/>
                  <a:gd name="T7" fmla="*/ 53 h 599"/>
                  <a:gd name="T8" fmla="*/ 176 w 608"/>
                  <a:gd name="T9" fmla="*/ 26 h 599"/>
                  <a:gd name="T10" fmla="*/ 229 w 608"/>
                  <a:gd name="T11" fmla="*/ 9 h 599"/>
                  <a:gd name="T12" fmla="*/ 290 w 608"/>
                  <a:gd name="T13" fmla="*/ 0 h 599"/>
                  <a:gd name="T14" fmla="*/ 352 w 608"/>
                  <a:gd name="T15" fmla="*/ 0 h 599"/>
                  <a:gd name="T16" fmla="*/ 405 w 608"/>
                  <a:gd name="T17" fmla="*/ 18 h 599"/>
                  <a:gd name="T18" fmla="*/ 466 w 608"/>
                  <a:gd name="T19" fmla="*/ 44 h 599"/>
                  <a:gd name="T20" fmla="*/ 510 w 608"/>
                  <a:gd name="T21" fmla="*/ 79 h 599"/>
                  <a:gd name="T22" fmla="*/ 545 w 608"/>
                  <a:gd name="T23" fmla="*/ 123 h 599"/>
                  <a:gd name="T24" fmla="*/ 581 w 608"/>
                  <a:gd name="T25" fmla="*/ 167 h 599"/>
                  <a:gd name="T26" fmla="*/ 598 w 608"/>
                  <a:gd name="T27" fmla="*/ 229 h 599"/>
                  <a:gd name="T28" fmla="*/ 607 w 608"/>
                  <a:gd name="T29" fmla="*/ 282 h 599"/>
                  <a:gd name="T30" fmla="*/ 607 w 608"/>
                  <a:gd name="T31" fmla="*/ 343 h 599"/>
                  <a:gd name="T32" fmla="*/ 589 w 608"/>
                  <a:gd name="T33" fmla="*/ 405 h 599"/>
                  <a:gd name="T34" fmla="*/ 563 w 608"/>
                  <a:gd name="T35" fmla="*/ 458 h 599"/>
                  <a:gd name="T36" fmla="*/ 528 w 608"/>
                  <a:gd name="T37" fmla="*/ 502 h 599"/>
                  <a:gd name="T38" fmla="*/ 484 w 608"/>
                  <a:gd name="T39" fmla="*/ 546 h 599"/>
                  <a:gd name="T40" fmla="*/ 431 w 608"/>
                  <a:gd name="T41" fmla="*/ 572 h 599"/>
                  <a:gd name="T42" fmla="*/ 378 w 608"/>
                  <a:gd name="T43" fmla="*/ 590 h 599"/>
                  <a:gd name="T44" fmla="*/ 317 w 608"/>
                  <a:gd name="T45" fmla="*/ 598 h 599"/>
                  <a:gd name="T46" fmla="*/ 264 w 608"/>
                  <a:gd name="T47" fmla="*/ 598 h 599"/>
                  <a:gd name="T48" fmla="*/ 202 w 608"/>
                  <a:gd name="T49" fmla="*/ 581 h 599"/>
                  <a:gd name="T50" fmla="*/ 149 w 608"/>
                  <a:gd name="T51" fmla="*/ 554 h 599"/>
                  <a:gd name="T52" fmla="*/ 97 w 608"/>
                  <a:gd name="T53" fmla="*/ 519 h 599"/>
                  <a:gd name="T54" fmla="*/ 61 w 608"/>
                  <a:gd name="T55" fmla="*/ 475 h 599"/>
                  <a:gd name="T56" fmla="*/ 26 w 608"/>
                  <a:gd name="T57" fmla="*/ 431 h 599"/>
                  <a:gd name="T58" fmla="*/ 9 w 608"/>
                  <a:gd name="T59" fmla="*/ 370 h 599"/>
                  <a:gd name="T60" fmla="*/ 0 w 608"/>
                  <a:gd name="T61" fmla="*/ 317 h 599"/>
                  <a:gd name="T62" fmla="*/ 9 w 608"/>
                  <a:gd name="T63" fmla="*/ 255 h 599"/>
                  <a:gd name="T64" fmla="*/ 17 w 608"/>
                  <a:gd name="T65" fmla="*/ 194 h 5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08" h="599">
                    <a:moveTo>
                      <a:pt x="17" y="194"/>
                    </a:moveTo>
                    <a:lnTo>
                      <a:pt x="44" y="141"/>
                    </a:lnTo>
                    <a:lnTo>
                      <a:pt x="79" y="97"/>
                    </a:lnTo>
                    <a:lnTo>
                      <a:pt x="123" y="53"/>
                    </a:lnTo>
                    <a:lnTo>
                      <a:pt x="176" y="26"/>
                    </a:lnTo>
                    <a:lnTo>
                      <a:pt x="229" y="9"/>
                    </a:lnTo>
                    <a:lnTo>
                      <a:pt x="290" y="0"/>
                    </a:lnTo>
                    <a:lnTo>
                      <a:pt x="352" y="0"/>
                    </a:lnTo>
                    <a:lnTo>
                      <a:pt x="405" y="18"/>
                    </a:lnTo>
                    <a:lnTo>
                      <a:pt x="466" y="44"/>
                    </a:lnTo>
                    <a:lnTo>
                      <a:pt x="510" y="79"/>
                    </a:lnTo>
                    <a:lnTo>
                      <a:pt x="545" y="123"/>
                    </a:lnTo>
                    <a:lnTo>
                      <a:pt x="581" y="167"/>
                    </a:lnTo>
                    <a:lnTo>
                      <a:pt x="598" y="229"/>
                    </a:lnTo>
                    <a:lnTo>
                      <a:pt x="607" y="282"/>
                    </a:lnTo>
                    <a:lnTo>
                      <a:pt x="607" y="343"/>
                    </a:lnTo>
                    <a:lnTo>
                      <a:pt x="589" y="405"/>
                    </a:lnTo>
                    <a:lnTo>
                      <a:pt x="563" y="458"/>
                    </a:lnTo>
                    <a:lnTo>
                      <a:pt x="528" y="502"/>
                    </a:lnTo>
                    <a:lnTo>
                      <a:pt x="484" y="546"/>
                    </a:lnTo>
                    <a:lnTo>
                      <a:pt x="431" y="572"/>
                    </a:lnTo>
                    <a:lnTo>
                      <a:pt x="378" y="590"/>
                    </a:lnTo>
                    <a:lnTo>
                      <a:pt x="317" y="598"/>
                    </a:lnTo>
                    <a:lnTo>
                      <a:pt x="264" y="598"/>
                    </a:lnTo>
                    <a:lnTo>
                      <a:pt x="202" y="581"/>
                    </a:lnTo>
                    <a:lnTo>
                      <a:pt x="149" y="554"/>
                    </a:lnTo>
                    <a:lnTo>
                      <a:pt x="97" y="519"/>
                    </a:lnTo>
                    <a:lnTo>
                      <a:pt x="61" y="475"/>
                    </a:lnTo>
                    <a:lnTo>
                      <a:pt x="26" y="431"/>
                    </a:lnTo>
                    <a:lnTo>
                      <a:pt x="9" y="370"/>
                    </a:lnTo>
                    <a:lnTo>
                      <a:pt x="0" y="317"/>
                    </a:lnTo>
                    <a:lnTo>
                      <a:pt x="9" y="255"/>
                    </a:lnTo>
                    <a:lnTo>
                      <a:pt x="17" y="194"/>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grpSp>
            <p:nvGrpSpPr>
              <p:cNvPr id="801" name="Group 787">
                <a:extLst>
                  <a:ext uri="{FF2B5EF4-FFF2-40B4-BE49-F238E27FC236}">
                    <a16:creationId xmlns:a16="http://schemas.microsoft.com/office/drawing/2014/main" id="{3F9F8F71-E65E-176C-5E9E-9D698389C9A5}"/>
                  </a:ext>
                </a:extLst>
              </p:cNvPr>
              <p:cNvGrpSpPr>
                <a:grpSpLocks/>
              </p:cNvGrpSpPr>
              <p:nvPr/>
            </p:nvGrpSpPr>
            <p:grpSpPr bwMode="auto">
              <a:xfrm>
                <a:off x="3512" y="2438"/>
                <a:ext cx="987" cy="995"/>
                <a:chOff x="3512" y="2438"/>
                <a:chExt cx="987" cy="995"/>
              </a:xfrm>
            </p:grpSpPr>
            <p:sp>
              <p:nvSpPr>
                <p:cNvPr id="802" name="Freeform 788">
                  <a:extLst>
                    <a:ext uri="{FF2B5EF4-FFF2-40B4-BE49-F238E27FC236}">
                      <a16:creationId xmlns:a16="http://schemas.microsoft.com/office/drawing/2014/main" id="{0A2DE260-C4AF-E80F-03A3-22BD51CBF162}"/>
                    </a:ext>
                  </a:extLst>
                </p:cNvPr>
                <p:cNvSpPr>
                  <a:spLocks/>
                </p:cNvSpPr>
                <p:nvPr/>
              </p:nvSpPr>
              <p:spPr bwMode="auto">
                <a:xfrm>
                  <a:off x="3890" y="3027"/>
                  <a:ext cx="609" cy="265"/>
                </a:xfrm>
                <a:custGeom>
                  <a:avLst/>
                  <a:gdLst>
                    <a:gd name="T0" fmla="*/ 564 w 609"/>
                    <a:gd name="T1" fmla="*/ 0 h 265"/>
                    <a:gd name="T2" fmla="*/ 484 w 609"/>
                    <a:gd name="T3" fmla="*/ 44 h 265"/>
                    <a:gd name="T4" fmla="*/ 520 w 609"/>
                    <a:gd name="T5" fmla="*/ 53 h 265"/>
                    <a:gd name="T6" fmla="*/ 502 w 609"/>
                    <a:gd name="T7" fmla="*/ 79 h 265"/>
                    <a:gd name="T8" fmla="*/ 484 w 609"/>
                    <a:gd name="T9" fmla="*/ 115 h 265"/>
                    <a:gd name="T10" fmla="*/ 440 w 609"/>
                    <a:gd name="T11" fmla="*/ 159 h 265"/>
                    <a:gd name="T12" fmla="*/ 388 w 609"/>
                    <a:gd name="T13" fmla="*/ 194 h 265"/>
                    <a:gd name="T14" fmla="*/ 317 w 609"/>
                    <a:gd name="T15" fmla="*/ 229 h 265"/>
                    <a:gd name="T16" fmla="*/ 229 w 609"/>
                    <a:gd name="T17" fmla="*/ 247 h 265"/>
                    <a:gd name="T18" fmla="*/ 176 w 609"/>
                    <a:gd name="T19" fmla="*/ 247 h 265"/>
                    <a:gd name="T20" fmla="*/ 124 w 609"/>
                    <a:gd name="T21" fmla="*/ 247 h 265"/>
                    <a:gd name="T22" fmla="*/ 62 w 609"/>
                    <a:gd name="T23" fmla="*/ 238 h 265"/>
                    <a:gd name="T24" fmla="*/ 0 w 609"/>
                    <a:gd name="T25" fmla="*/ 220 h 265"/>
                    <a:gd name="T26" fmla="*/ 62 w 609"/>
                    <a:gd name="T27" fmla="*/ 238 h 265"/>
                    <a:gd name="T28" fmla="*/ 115 w 609"/>
                    <a:gd name="T29" fmla="*/ 256 h 265"/>
                    <a:gd name="T30" fmla="*/ 168 w 609"/>
                    <a:gd name="T31" fmla="*/ 264 h 265"/>
                    <a:gd name="T32" fmla="*/ 220 w 609"/>
                    <a:gd name="T33" fmla="*/ 264 h 265"/>
                    <a:gd name="T34" fmla="*/ 317 w 609"/>
                    <a:gd name="T35" fmla="*/ 256 h 265"/>
                    <a:gd name="T36" fmla="*/ 396 w 609"/>
                    <a:gd name="T37" fmla="*/ 229 h 265"/>
                    <a:gd name="T38" fmla="*/ 467 w 609"/>
                    <a:gd name="T39" fmla="*/ 185 h 265"/>
                    <a:gd name="T40" fmla="*/ 520 w 609"/>
                    <a:gd name="T41" fmla="*/ 150 h 265"/>
                    <a:gd name="T42" fmla="*/ 555 w 609"/>
                    <a:gd name="T43" fmla="*/ 106 h 265"/>
                    <a:gd name="T44" fmla="*/ 572 w 609"/>
                    <a:gd name="T45" fmla="*/ 71 h 265"/>
                    <a:gd name="T46" fmla="*/ 608 w 609"/>
                    <a:gd name="T47" fmla="*/ 88 h 265"/>
                    <a:gd name="T48" fmla="*/ 564 w 609"/>
                    <a:gd name="T49" fmla="*/ 0 h 26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9" h="265">
                      <a:moveTo>
                        <a:pt x="564" y="0"/>
                      </a:moveTo>
                      <a:lnTo>
                        <a:pt x="484" y="44"/>
                      </a:lnTo>
                      <a:lnTo>
                        <a:pt x="520" y="53"/>
                      </a:lnTo>
                      <a:lnTo>
                        <a:pt x="502" y="79"/>
                      </a:lnTo>
                      <a:lnTo>
                        <a:pt x="484" y="115"/>
                      </a:lnTo>
                      <a:lnTo>
                        <a:pt x="440" y="159"/>
                      </a:lnTo>
                      <a:lnTo>
                        <a:pt x="388" y="194"/>
                      </a:lnTo>
                      <a:lnTo>
                        <a:pt x="317" y="229"/>
                      </a:lnTo>
                      <a:lnTo>
                        <a:pt x="229" y="247"/>
                      </a:lnTo>
                      <a:lnTo>
                        <a:pt x="176" y="247"/>
                      </a:lnTo>
                      <a:lnTo>
                        <a:pt x="124" y="247"/>
                      </a:lnTo>
                      <a:lnTo>
                        <a:pt x="62" y="238"/>
                      </a:lnTo>
                      <a:lnTo>
                        <a:pt x="0" y="220"/>
                      </a:lnTo>
                      <a:lnTo>
                        <a:pt x="62" y="238"/>
                      </a:lnTo>
                      <a:lnTo>
                        <a:pt x="115" y="256"/>
                      </a:lnTo>
                      <a:lnTo>
                        <a:pt x="168" y="264"/>
                      </a:lnTo>
                      <a:lnTo>
                        <a:pt x="220" y="264"/>
                      </a:lnTo>
                      <a:lnTo>
                        <a:pt x="317" y="256"/>
                      </a:lnTo>
                      <a:lnTo>
                        <a:pt x="396" y="229"/>
                      </a:lnTo>
                      <a:lnTo>
                        <a:pt x="467" y="185"/>
                      </a:lnTo>
                      <a:lnTo>
                        <a:pt x="520" y="150"/>
                      </a:lnTo>
                      <a:lnTo>
                        <a:pt x="555" y="106"/>
                      </a:lnTo>
                      <a:lnTo>
                        <a:pt x="572" y="71"/>
                      </a:lnTo>
                      <a:lnTo>
                        <a:pt x="608" y="88"/>
                      </a:lnTo>
                      <a:lnTo>
                        <a:pt x="564" y="0"/>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3" name="Freeform 789">
                  <a:extLst>
                    <a:ext uri="{FF2B5EF4-FFF2-40B4-BE49-F238E27FC236}">
                      <a16:creationId xmlns:a16="http://schemas.microsoft.com/office/drawing/2014/main" id="{1AFF9320-E1D3-CACA-93A5-D6FA6053D12F}"/>
                    </a:ext>
                  </a:extLst>
                </p:cNvPr>
                <p:cNvSpPr>
                  <a:spLocks/>
                </p:cNvSpPr>
                <p:nvPr/>
              </p:nvSpPr>
              <p:spPr bwMode="auto">
                <a:xfrm>
                  <a:off x="4137" y="2684"/>
                  <a:ext cx="344" cy="555"/>
                </a:xfrm>
                <a:custGeom>
                  <a:avLst/>
                  <a:gdLst>
                    <a:gd name="T0" fmla="*/ 255 w 344"/>
                    <a:gd name="T1" fmla="*/ 0 h 555"/>
                    <a:gd name="T2" fmla="*/ 220 w 344"/>
                    <a:gd name="T3" fmla="*/ 88 h 555"/>
                    <a:gd name="T4" fmla="*/ 255 w 344"/>
                    <a:gd name="T5" fmla="*/ 70 h 555"/>
                    <a:gd name="T6" fmla="*/ 264 w 344"/>
                    <a:gd name="T7" fmla="*/ 97 h 555"/>
                    <a:gd name="T8" fmla="*/ 273 w 344"/>
                    <a:gd name="T9" fmla="*/ 141 h 555"/>
                    <a:gd name="T10" fmla="*/ 273 w 344"/>
                    <a:gd name="T11" fmla="*/ 194 h 555"/>
                    <a:gd name="T12" fmla="*/ 264 w 344"/>
                    <a:gd name="T13" fmla="*/ 264 h 555"/>
                    <a:gd name="T14" fmla="*/ 246 w 344"/>
                    <a:gd name="T15" fmla="*/ 299 h 555"/>
                    <a:gd name="T16" fmla="*/ 237 w 344"/>
                    <a:gd name="T17" fmla="*/ 334 h 555"/>
                    <a:gd name="T18" fmla="*/ 211 w 344"/>
                    <a:gd name="T19" fmla="*/ 370 h 555"/>
                    <a:gd name="T20" fmla="*/ 185 w 344"/>
                    <a:gd name="T21" fmla="*/ 414 h 555"/>
                    <a:gd name="T22" fmla="*/ 149 w 344"/>
                    <a:gd name="T23" fmla="*/ 449 h 555"/>
                    <a:gd name="T24" fmla="*/ 114 w 344"/>
                    <a:gd name="T25" fmla="*/ 484 h 555"/>
                    <a:gd name="T26" fmla="*/ 61 w 344"/>
                    <a:gd name="T27" fmla="*/ 519 h 555"/>
                    <a:gd name="T28" fmla="*/ 0 w 344"/>
                    <a:gd name="T29" fmla="*/ 554 h 555"/>
                    <a:gd name="T30" fmla="*/ 61 w 344"/>
                    <a:gd name="T31" fmla="*/ 528 h 555"/>
                    <a:gd name="T32" fmla="*/ 114 w 344"/>
                    <a:gd name="T33" fmla="*/ 493 h 555"/>
                    <a:gd name="T34" fmla="*/ 158 w 344"/>
                    <a:gd name="T35" fmla="*/ 458 h 555"/>
                    <a:gd name="T36" fmla="*/ 193 w 344"/>
                    <a:gd name="T37" fmla="*/ 422 h 555"/>
                    <a:gd name="T38" fmla="*/ 255 w 344"/>
                    <a:gd name="T39" fmla="*/ 352 h 555"/>
                    <a:gd name="T40" fmla="*/ 290 w 344"/>
                    <a:gd name="T41" fmla="*/ 273 h 555"/>
                    <a:gd name="T42" fmla="*/ 308 w 344"/>
                    <a:gd name="T43" fmla="*/ 202 h 555"/>
                    <a:gd name="T44" fmla="*/ 317 w 344"/>
                    <a:gd name="T45" fmla="*/ 132 h 555"/>
                    <a:gd name="T46" fmla="*/ 317 w 344"/>
                    <a:gd name="T47" fmla="*/ 79 h 555"/>
                    <a:gd name="T48" fmla="*/ 308 w 344"/>
                    <a:gd name="T49" fmla="*/ 44 h 555"/>
                    <a:gd name="T50" fmla="*/ 343 w 344"/>
                    <a:gd name="T51" fmla="*/ 26 h 555"/>
                    <a:gd name="T52" fmla="*/ 255 w 344"/>
                    <a:gd name="T53" fmla="*/ 0 h 5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44" h="555">
                      <a:moveTo>
                        <a:pt x="255" y="0"/>
                      </a:moveTo>
                      <a:lnTo>
                        <a:pt x="220" y="88"/>
                      </a:lnTo>
                      <a:lnTo>
                        <a:pt x="255" y="70"/>
                      </a:lnTo>
                      <a:lnTo>
                        <a:pt x="264" y="97"/>
                      </a:lnTo>
                      <a:lnTo>
                        <a:pt x="273" y="141"/>
                      </a:lnTo>
                      <a:lnTo>
                        <a:pt x="273" y="194"/>
                      </a:lnTo>
                      <a:lnTo>
                        <a:pt x="264" y="264"/>
                      </a:lnTo>
                      <a:lnTo>
                        <a:pt x="246" y="299"/>
                      </a:lnTo>
                      <a:lnTo>
                        <a:pt x="237" y="334"/>
                      </a:lnTo>
                      <a:lnTo>
                        <a:pt x="211" y="370"/>
                      </a:lnTo>
                      <a:lnTo>
                        <a:pt x="185" y="414"/>
                      </a:lnTo>
                      <a:lnTo>
                        <a:pt x="149" y="449"/>
                      </a:lnTo>
                      <a:lnTo>
                        <a:pt x="114" y="484"/>
                      </a:lnTo>
                      <a:lnTo>
                        <a:pt x="61" y="519"/>
                      </a:lnTo>
                      <a:lnTo>
                        <a:pt x="0" y="554"/>
                      </a:lnTo>
                      <a:lnTo>
                        <a:pt x="61" y="528"/>
                      </a:lnTo>
                      <a:lnTo>
                        <a:pt x="114" y="493"/>
                      </a:lnTo>
                      <a:lnTo>
                        <a:pt x="158" y="458"/>
                      </a:lnTo>
                      <a:lnTo>
                        <a:pt x="193" y="422"/>
                      </a:lnTo>
                      <a:lnTo>
                        <a:pt x="255" y="352"/>
                      </a:lnTo>
                      <a:lnTo>
                        <a:pt x="290" y="273"/>
                      </a:lnTo>
                      <a:lnTo>
                        <a:pt x="308" y="202"/>
                      </a:lnTo>
                      <a:lnTo>
                        <a:pt x="317" y="132"/>
                      </a:lnTo>
                      <a:lnTo>
                        <a:pt x="317" y="79"/>
                      </a:lnTo>
                      <a:lnTo>
                        <a:pt x="308" y="44"/>
                      </a:lnTo>
                      <a:lnTo>
                        <a:pt x="343" y="26"/>
                      </a:lnTo>
                      <a:lnTo>
                        <a:pt x="255" y="0"/>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4" name="Freeform 790">
                  <a:extLst>
                    <a:ext uri="{FF2B5EF4-FFF2-40B4-BE49-F238E27FC236}">
                      <a16:creationId xmlns:a16="http://schemas.microsoft.com/office/drawing/2014/main" id="{A9759508-79B8-44B2-7097-7EC66F06395A}"/>
                    </a:ext>
                  </a:extLst>
                </p:cNvPr>
                <p:cNvSpPr>
                  <a:spLocks/>
                </p:cNvSpPr>
                <p:nvPr/>
              </p:nvSpPr>
              <p:spPr bwMode="auto">
                <a:xfrm>
                  <a:off x="4102" y="2438"/>
                  <a:ext cx="256" cy="608"/>
                </a:xfrm>
                <a:custGeom>
                  <a:avLst/>
                  <a:gdLst>
                    <a:gd name="T0" fmla="*/ 0 w 256"/>
                    <a:gd name="T1" fmla="*/ 44 h 608"/>
                    <a:gd name="T2" fmla="*/ 35 w 256"/>
                    <a:gd name="T3" fmla="*/ 123 h 608"/>
                    <a:gd name="T4" fmla="*/ 44 w 256"/>
                    <a:gd name="T5" fmla="*/ 88 h 608"/>
                    <a:gd name="T6" fmla="*/ 70 w 256"/>
                    <a:gd name="T7" fmla="*/ 105 h 608"/>
                    <a:gd name="T8" fmla="*/ 105 w 256"/>
                    <a:gd name="T9" fmla="*/ 132 h 608"/>
                    <a:gd name="T10" fmla="*/ 149 w 256"/>
                    <a:gd name="T11" fmla="*/ 167 h 608"/>
                    <a:gd name="T12" fmla="*/ 184 w 256"/>
                    <a:gd name="T13" fmla="*/ 220 h 608"/>
                    <a:gd name="T14" fmla="*/ 220 w 256"/>
                    <a:gd name="T15" fmla="*/ 290 h 608"/>
                    <a:gd name="T16" fmla="*/ 237 w 256"/>
                    <a:gd name="T17" fmla="*/ 378 h 608"/>
                    <a:gd name="T18" fmla="*/ 246 w 256"/>
                    <a:gd name="T19" fmla="*/ 431 h 608"/>
                    <a:gd name="T20" fmla="*/ 237 w 256"/>
                    <a:gd name="T21" fmla="*/ 484 h 608"/>
                    <a:gd name="T22" fmla="*/ 228 w 256"/>
                    <a:gd name="T23" fmla="*/ 545 h 608"/>
                    <a:gd name="T24" fmla="*/ 211 w 256"/>
                    <a:gd name="T25" fmla="*/ 607 h 608"/>
                    <a:gd name="T26" fmla="*/ 237 w 256"/>
                    <a:gd name="T27" fmla="*/ 554 h 608"/>
                    <a:gd name="T28" fmla="*/ 246 w 256"/>
                    <a:gd name="T29" fmla="*/ 492 h 608"/>
                    <a:gd name="T30" fmla="*/ 255 w 256"/>
                    <a:gd name="T31" fmla="*/ 440 h 608"/>
                    <a:gd name="T32" fmla="*/ 255 w 256"/>
                    <a:gd name="T33" fmla="*/ 387 h 608"/>
                    <a:gd name="T34" fmla="*/ 246 w 256"/>
                    <a:gd name="T35" fmla="*/ 290 h 608"/>
                    <a:gd name="T36" fmla="*/ 220 w 256"/>
                    <a:gd name="T37" fmla="*/ 211 h 608"/>
                    <a:gd name="T38" fmla="*/ 184 w 256"/>
                    <a:gd name="T39" fmla="*/ 140 h 608"/>
                    <a:gd name="T40" fmla="*/ 140 w 256"/>
                    <a:gd name="T41" fmla="*/ 88 h 608"/>
                    <a:gd name="T42" fmla="*/ 96 w 256"/>
                    <a:gd name="T43" fmla="*/ 52 h 608"/>
                    <a:gd name="T44" fmla="*/ 70 w 256"/>
                    <a:gd name="T45" fmla="*/ 35 h 608"/>
                    <a:gd name="T46" fmla="*/ 79 w 256"/>
                    <a:gd name="T47" fmla="*/ 0 h 608"/>
                    <a:gd name="T48" fmla="*/ 0 w 256"/>
                    <a:gd name="T49" fmla="*/ 44 h 6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56" h="608">
                      <a:moveTo>
                        <a:pt x="0" y="44"/>
                      </a:moveTo>
                      <a:lnTo>
                        <a:pt x="35" y="123"/>
                      </a:lnTo>
                      <a:lnTo>
                        <a:pt x="44" y="88"/>
                      </a:lnTo>
                      <a:lnTo>
                        <a:pt x="70" y="105"/>
                      </a:lnTo>
                      <a:lnTo>
                        <a:pt x="105" y="132"/>
                      </a:lnTo>
                      <a:lnTo>
                        <a:pt x="149" y="167"/>
                      </a:lnTo>
                      <a:lnTo>
                        <a:pt x="184" y="220"/>
                      </a:lnTo>
                      <a:lnTo>
                        <a:pt x="220" y="290"/>
                      </a:lnTo>
                      <a:lnTo>
                        <a:pt x="237" y="378"/>
                      </a:lnTo>
                      <a:lnTo>
                        <a:pt x="246" y="431"/>
                      </a:lnTo>
                      <a:lnTo>
                        <a:pt x="237" y="484"/>
                      </a:lnTo>
                      <a:lnTo>
                        <a:pt x="228" y="545"/>
                      </a:lnTo>
                      <a:lnTo>
                        <a:pt x="211" y="607"/>
                      </a:lnTo>
                      <a:lnTo>
                        <a:pt x="237" y="554"/>
                      </a:lnTo>
                      <a:lnTo>
                        <a:pt x="246" y="492"/>
                      </a:lnTo>
                      <a:lnTo>
                        <a:pt x="255" y="440"/>
                      </a:lnTo>
                      <a:lnTo>
                        <a:pt x="255" y="387"/>
                      </a:lnTo>
                      <a:lnTo>
                        <a:pt x="246" y="290"/>
                      </a:lnTo>
                      <a:lnTo>
                        <a:pt x="220" y="211"/>
                      </a:lnTo>
                      <a:lnTo>
                        <a:pt x="184" y="140"/>
                      </a:lnTo>
                      <a:lnTo>
                        <a:pt x="140" y="88"/>
                      </a:lnTo>
                      <a:lnTo>
                        <a:pt x="96" y="52"/>
                      </a:lnTo>
                      <a:lnTo>
                        <a:pt x="70" y="35"/>
                      </a:lnTo>
                      <a:lnTo>
                        <a:pt x="79" y="0"/>
                      </a:lnTo>
                      <a:lnTo>
                        <a:pt x="0" y="44"/>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5" name="Freeform 791">
                  <a:extLst>
                    <a:ext uri="{FF2B5EF4-FFF2-40B4-BE49-F238E27FC236}">
                      <a16:creationId xmlns:a16="http://schemas.microsoft.com/office/drawing/2014/main" id="{96AEEADE-93F5-AA88-E5DB-F54F56583F1C}"/>
                    </a:ext>
                  </a:extLst>
                </p:cNvPr>
                <p:cNvSpPr>
                  <a:spLocks/>
                </p:cNvSpPr>
                <p:nvPr/>
              </p:nvSpPr>
              <p:spPr bwMode="auto">
                <a:xfrm>
                  <a:off x="3750" y="2464"/>
                  <a:ext cx="555" cy="335"/>
                </a:xfrm>
                <a:custGeom>
                  <a:avLst/>
                  <a:gdLst>
                    <a:gd name="T0" fmla="*/ 0 w 555"/>
                    <a:gd name="T1" fmla="*/ 79 h 335"/>
                    <a:gd name="T2" fmla="*/ 88 w 555"/>
                    <a:gd name="T3" fmla="*/ 114 h 335"/>
                    <a:gd name="T4" fmla="*/ 70 w 555"/>
                    <a:gd name="T5" fmla="*/ 79 h 335"/>
                    <a:gd name="T6" fmla="*/ 96 w 555"/>
                    <a:gd name="T7" fmla="*/ 70 h 335"/>
                    <a:gd name="T8" fmla="*/ 140 w 555"/>
                    <a:gd name="T9" fmla="*/ 70 h 335"/>
                    <a:gd name="T10" fmla="*/ 193 w 555"/>
                    <a:gd name="T11" fmla="*/ 62 h 335"/>
                    <a:gd name="T12" fmla="*/ 264 w 555"/>
                    <a:gd name="T13" fmla="*/ 79 h 335"/>
                    <a:gd name="T14" fmla="*/ 299 w 555"/>
                    <a:gd name="T15" fmla="*/ 88 h 335"/>
                    <a:gd name="T16" fmla="*/ 334 w 555"/>
                    <a:gd name="T17" fmla="*/ 106 h 335"/>
                    <a:gd name="T18" fmla="*/ 378 w 555"/>
                    <a:gd name="T19" fmla="*/ 123 h 335"/>
                    <a:gd name="T20" fmla="*/ 413 w 555"/>
                    <a:gd name="T21" fmla="*/ 150 h 335"/>
                    <a:gd name="T22" fmla="*/ 448 w 555"/>
                    <a:gd name="T23" fmla="*/ 185 h 335"/>
                    <a:gd name="T24" fmla="*/ 484 w 555"/>
                    <a:gd name="T25" fmla="*/ 229 h 335"/>
                    <a:gd name="T26" fmla="*/ 519 w 555"/>
                    <a:gd name="T27" fmla="*/ 273 h 335"/>
                    <a:gd name="T28" fmla="*/ 554 w 555"/>
                    <a:gd name="T29" fmla="*/ 334 h 335"/>
                    <a:gd name="T30" fmla="*/ 528 w 555"/>
                    <a:gd name="T31" fmla="*/ 273 h 335"/>
                    <a:gd name="T32" fmla="*/ 501 w 555"/>
                    <a:gd name="T33" fmla="*/ 220 h 335"/>
                    <a:gd name="T34" fmla="*/ 466 w 555"/>
                    <a:gd name="T35" fmla="*/ 176 h 335"/>
                    <a:gd name="T36" fmla="*/ 431 w 555"/>
                    <a:gd name="T37" fmla="*/ 141 h 335"/>
                    <a:gd name="T38" fmla="*/ 352 w 555"/>
                    <a:gd name="T39" fmla="*/ 88 h 335"/>
                    <a:gd name="T40" fmla="*/ 281 w 555"/>
                    <a:gd name="T41" fmla="*/ 44 h 335"/>
                    <a:gd name="T42" fmla="*/ 202 w 555"/>
                    <a:gd name="T43" fmla="*/ 26 h 335"/>
                    <a:gd name="T44" fmla="*/ 140 w 555"/>
                    <a:gd name="T45" fmla="*/ 18 h 335"/>
                    <a:gd name="T46" fmla="*/ 88 w 555"/>
                    <a:gd name="T47" fmla="*/ 18 h 335"/>
                    <a:gd name="T48" fmla="*/ 52 w 555"/>
                    <a:gd name="T49" fmla="*/ 35 h 335"/>
                    <a:gd name="T50" fmla="*/ 35 w 555"/>
                    <a:gd name="T51" fmla="*/ 0 h 335"/>
                    <a:gd name="T52" fmla="*/ 0 w 555"/>
                    <a:gd name="T53" fmla="*/ 79 h 3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55" h="335">
                      <a:moveTo>
                        <a:pt x="0" y="79"/>
                      </a:moveTo>
                      <a:lnTo>
                        <a:pt x="88" y="114"/>
                      </a:lnTo>
                      <a:lnTo>
                        <a:pt x="70" y="79"/>
                      </a:lnTo>
                      <a:lnTo>
                        <a:pt x="96" y="70"/>
                      </a:lnTo>
                      <a:lnTo>
                        <a:pt x="140" y="70"/>
                      </a:lnTo>
                      <a:lnTo>
                        <a:pt x="193" y="62"/>
                      </a:lnTo>
                      <a:lnTo>
                        <a:pt x="264" y="79"/>
                      </a:lnTo>
                      <a:lnTo>
                        <a:pt x="299" y="88"/>
                      </a:lnTo>
                      <a:lnTo>
                        <a:pt x="334" y="106"/>
                      </a:lnTo>
                      <a:lnTo>
                        <a:pt x="378" y="123"/>
                      </a:lnTo>
                      <a:lnTo>
                        <a:pt x="413" y="150"/>
                      </a:lnTo>
                      <a:lnTo>
                        <a:pt x="448" y="185"/>
                      </a:lnTo>
                      <a:lnTo>
                        <a:pt x="484" y="229"/>
                      </a:lnTo>
                      <a:lnTo>
                        <a:pt x="519" y="273"/>
                      </a:lnTo>
                      <a:lnTo>
                        <a:pt x="554" y="334"/>
                      </a:lnTo>
                      <a:lnTo>
                        <a:pt x="528" y="273"/>
                      </a:lnTo>
                      <a:lnTo>
                        <a:pt x="501" y="220"/>
                      </a:lnTo>
                      <a:lnTo>
                        <a:pt x="466" y="176"/>
                      </a:lnTo>
                      <a:lnTo>
                        <a:pt x="431" y="141"/>
                      </a:lnTo>
                      <a:lnTo>
                        <a:pt x="352" y="88"/>
                      </a:lnTo>
                      <a:lnTo>
                        <a:pt x="281" y="44"/>
                      </a:lnTo>
                      <a:lnTo>
                        <a:pt x="202" y="26"/>
                      </a:lnTo>
                      <a:lnTo>
                        <a:pt x="140" y="18"/>
                      </a:lnTo>
                      <a:lnTo>
                        <a:pt x="88" y="18"/>
                      </a:lnTo>
                      <a:lnTo>
                        <a:pt x="52" y="35"/>
                      </a:lnTo>
                      <a:lnTo>
                        <a:pt x="35" y="0"/>
                      </a:lnTo>
                      <a:lnTo>
                        <a:pt x="0" y="79"/>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6" name="Freeform 792">
                  <a:extLst>
                    <a:ext uri="{FF2B5EF4-FFF2-40B4-BE49-F238E27FC236}">
                      <a16:creationId xmlns:a16="http://schemas.microsoft.com/office/drawing/2014/main" id="{44AD5EB5-572B-F93B-FBB5-5127948F6D5A}"/>
                    </a:ext>
                  </a:extLst>
                </p:cNvPr>
                <p:cNvSpPr>
                  <a:spLocks/>
                </p:cNvSpPr>
                <p:nvPr/>
              </p:nvSpPr>
              <p:spPr bwMode="auto">
                <a:xfrm>
                  <a:off x="3512" y="2578"/>
                  <a:ext cx="608" cy="257"/>
                </a:xfrm>
                <a:custGeom>
                  <a:avLst/>
                  <a:gdLst>
                    <a:gd name="T0" fmla="*/ 35 w 608"/>
                    <a:gd name="T1" fmla="*/ 256 h 257"/>
                    <a:gd name="T2" fmla="*/ 123 w 608"/>
                    <a:gd name="T3" fmla="*/ 220 h 257"/>
                    <a:gd name="T4" fmla="*/ 88 w 608"/>
                    <a:gd name="T5" fmla="*/ 212 h 257"/>
                    <a:gd name="T6" fmla="*/ 97 w 608"/>
                    <a:gd name="T7" fmla="*/ 185 h 257"/>
                    <a:gd name="T8" fmla="*/ 123 w 608"/>
                    <a:gd name="T9" fmla="*/ 150 h 257"/>
                    <a:gd name="T10" fmla="*/ 167 w 608"/>
                    <a:gd name="T11" fmla="*/ 106 h 257"/>
                    <a:gd name="T12" fmla="*/ 220 w 608"/>
                    <a:gd name="T13" fmla="*/ 71 h 257"/>
                    <a:gd name="T14" fmla="*/ 290 w 608"/>
                    <a:gd name="T15" fmla="*/ 36 h 257"/>
                    <a:gd name="T16" fmla="*/ 378 w 608"/>
                    <a:gd name="T17" fmla="*/ 18 h 257"/>
                    <a:gd name="T18" fmla="*/ 422 w 608"/>
                    <a:gd name="T19" fmla="*/ 18 h 257"/>
                    <a:gd name="T20" fmla="*/ 484 w 608"/>
                    <a:gd name="T21" fmla="*/ 18 h 257"/>
                    <a:gd name="T22" fmla="*/ 546 w 608"/>
                    <a:gd name="T23" fmla="*/ 27 h 257"/>
                    <a:gd name="T24" fmla="*/ 607 w 608"/>
                    <a:gd name="T25" fmla="*/ 44 h 257"/>
                    <a:gd name="T26" fmla="*/ 546 w 608"/>
                    <a:gd name="T27" fmla="*/ 27 h 257"/>
                    <a:gd name="T28" fmla="*/ 484 w 608"/>
                    <a:gd name="T29" fmla="*/ 9 h 257"/>
                    <a:gd name="T30" fmla="*/ 431 w 608"/>
                    <a:gd name="T31" fmla="*/ 0 h 257"/>
                    <a:gd name="T32" fmla="*/ 378 w 608"/>
                    <a:gd name="T33" fmla="*/ 0 h 257"/>
                    <a:gd name="T34" fmla="*/ 290 w 608"/>
                    <a:gd name="T35" fmla="*/ 9 h 257"/>
                    <a:gd name="T36" fmla="*/ 202 w 608"/>
                    <a:gd name="T37" fmla="*/ 36 h 257"/>
                    <a:gd name="T38" fmla="*/ 141 w 608"/>
                    <a:gd name="T39" fmla="*/ 80 h 257"/>
                    <a:gd name="T40" fmla="*/ 88 w 608"/>
                    <a:gd name="T41" fmla="*/ 115 h 257"/>
                    <a:gd name="T42" fmla="*/ 53 w 608"/>
                    <a:gd name="T43" fmla="*/ 159 h 257"/>
                    <a:gd name="T44" fmla="*/ 35 w 608"/>
                    <a:gd name="T45" fmla="*/ 194 h 257"/>
                    <a:gd name="T46" fmla="*/ 0 w 608"/>
                    <a:gd name="T47" fmla="*/ 176 h 257"/>
                    <a:gd name="T48" fmla="*/ 35 w 608"/>
                    <a:gd name="T49" fmla="*/ 256 h 2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8" h="257">
                      <a:moveTo>
                        <a:pt x="35" y="256"/>
                      </a:moveTo>
                      <a:lnTo>
                        <a:pt x="123" y="220"/>
                      </a:lnTo>
                      <a:lnTo>
                        <a:pt x="88" y="212"/>
                      </a:lnTo>
                      <a:lnTo>
                        <a:pt x="97" y="185"/>
                      </a:lnTo>
                      <a:lnTo>
                        <a:pt x="123" y="150"/>
                      </a:lnTo>
                      <a:lnTo>
                        <a:pt x="167" y="106"/>
                      </a:lnTo>
                      <a:lnTo>
                        <a:pt x="220" y="71"/>
                      </a:lnTo>
                      <a:lnTo>
                        <a:pt x="290" y="36"/>
                      </a:lnTo>
                      <a:lnTo>
                        <a:pt x="378" y="18"/>
                      </a:lnTo>
                      <a:lnTo>
                        <a:pt x="422" y="18"/>
                      </a:lnTo>
                      <a:lnTo>
                        <a:pt x="484" y="18"/>
                      </a:lnTo>
                      <a:lnTo>
                        <a:pt x="546" y="27"/>
                      </a:lnTo>
                      <a:lnTo>
                        <a:pt x="607" y="44"/>
                      </a:lnTo>
                      <a:lnTo>
                        <a:pt x="546" y="27"/>
                      </a:lnTo>
                      <a:lnTo>
                        <a:pt x="484" y="9"/>
                      </a:lnTo>
                      <a:lnTo>
                        <a:pt x="431" y="0"/>
                      </a:lnTo>
                      <a:lnTo>
                        <a:pt x="378" y="0"/>
                      </a:lnTo>
                      <a:lnTo>
                        <a:pt x="290" y="9"/>
                      </a:lnTo>
                      <a:lnTo>
                        <a:pt x="202" y="36"/>
                      </a:lnTo>
                      <a:lnTo>
                        <a:pt x="141" y="80"/>
                      </a:lnTo>
                      <a:lnTo>
                        <a:pt x="88" y="115"/>
                      </a:lnTo>
                      <a:lnTo>
                        <a:pt x="53" y="159"/>
                      </a:lnTo>
                      <a:lnTo>
                        <a:pt x="35" y="194"/>
                      </a:lnTo>
                      <a:lnTo>
                        <a:pt x="0" y="176"/>
                      </a:lnTo>
                      <a:lnTo>
                        <a:pt x="35" y="256"/>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7" name="Freeform 793">
                  <a:extLst>
                    <a:ext uri="{FF2B5EF4-FFF2-40B4-BE49-F238E27FC236}">
                      <a16:creationId xmlns:a16="http://schemas.microsoft.com/office/drawing/2014/main" id="{0F5D1895-8F35-56E9-E6AB-D30426A62FCB}"/>
                    </a:ext>
                  </a:extLst>
                </p:cNvPr>
                <p:cNvSpPr>
                  <a:spLocks/>
                </p:cNvSpPr>
                <p:nvPr/>
              </p:nvSpPr>
              <p:spPr bwMode="auto">
                <a:xfrm>
                  <a:off x="3530" y="2631"/>
                  <a:ext cx="335" cy="556"/>
                </a:xfrm>
                <a:custGeom>
                  <a:avLst/>
                  <a:gdLst>
                    <a:gd name="T0" fmla="*/ 88 w 335"/>
                    <a:gd name="T1" fmla="*/ 555 h 556"/>
                    <a:gd name="T2" fmla="*/ 114 w 335"/>
                    <a:gd name="T3" fmla="*/ 475 h 556"/>
                    <a:gd name="T4" fmla="*/ 88 w 335"/>
                    <a:gd name="T5" fmla="*/ 484 h 556"/>
                    <a:gd name="T6" fmla="*/ 79 w 335"/>
                    <a:gd name="T7" fmla="*/ 458 h 556"/>
                    <a:gd name="T8" fmla="*/ 70 w 335"/>
                    <a:gd name="T9" fmla="*/ 423 h 556"/>
                    <a:gd name="T10" fmla="*/ 70 w 335"/>
                    <a:gd name="T11" fmla="*/ 361 h 556"/>
                    <a:gd name="T12" fmla="*/ 79 w 335"/>
                    <a:gd name="T13" fmla="*/ 291 h 556"/>
                    <a:gd name="T14" fmla="*/ 88 w 335"/>
                    <a:gd name="T15" fmla="*/ 255 h 556"/>
                    <a:gd name="T16" fmla="*/ 105 w 335"/>
                    <a:gd name="T17" fmla="*/ 220 h 556"/>
                    <a:gd name="T18" fmla="*/ 123 w 335"/>
                    <a:gd name="T19" fmla="*/ 185 h 556"/>
                    <a:gd name="T20" fmla="*/ 149 w 335"/>
                    <a:gd name="T21" fmla="*/ 150 h 556"/>
                    <a:gd name="T22" fmla="*/ 184 w 335"/>
                    <a:gd name="T23" fmla="*/ 106 h 556"/>
                    <a:gd name="T24" fmla="*/ 228 w 335"/>
                    <a:gd name="T25" fmla="*/ 71 h 556"/>
                    <a:gd name="T26" fmla="*/ 272 w 335"/>
                    <a:gd name="T27" fmla="*/ 35 h 556"/>
                    <a:gd name="T28" fmla="*/ 334 w 335"/>
                    <a:gd name="T29" fmla="*/ 0 h 556"/>
                    <a:gd name="T30" fmla="*/ 272 w 335"/>
                    <a:gd name="T31" fmla="*/ 27 h 556"/>
                    <a:gd name="T32" fmla="*/ 228 w 335"/>
                    <a:gd name="T33" fmla="*/ 62 h 556"/>
                    <a:gd name="T34" fmla="*/ 184 w 335"/>
                    <a:gd name="T35" fmla="*/ 97 h 556"/>
                    <a:gd name="T36" fmla="*/ 140 w 335"/>
                    <a:gd name="T37" fmla="*/ 132 h 556"/>
                    <a:gd name="T38" fmla="*/ 88 w 335"/>
                    <a:gd name="T39" fmla="*/ 203 h 556"/>
                    <a:gd name="T40" fmla="*/ 44 w 335"/>
                    <a:gd name="T41" fmla="*/ 282 h 556"/>
                    <a:gd name="T42" fmla="*/ 26 w 335"/>
                    <a:gd name="T43" fmla="*/ 352 h 556"/>
                    <a:gd name="T44" fmla="*/ 17 w 335"/>
                    <a:gd name="T45" fmla="*/ 423 h 556"/>
                    <a:gd name="T46" fmla="*/ 17 w 335"/>
                    <a:gd name="T47" fmla="*/ 475 h 556"/>
                    <a:gd name="T48" fmla="*/ 35 w 335"/>
                    <a:gd name="T49" fmla="*/ 511 h 556"/>
                    <a:gd name="T50" fmla="*/ 0 w 335"/>
                    <a:gd name="T51" fmla="*/ 528 h 556"/>
                    <a:gd name="T52" fmla="*/ 88 w 335"/>
                    <a:gd name="T53" fmla="*/ 555 h 5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5" h="556">
                      <a:moveTo>
                        <a:pt x="88" y="555"/>
                      </a:moveTo>
                      <a:lnTo>
                        <a:pt x="114" y="475"/>
                      </a:lnTo>
                      <a:lnTo>
                        <a:pt x="88" y="484"/>
                      </a:lnTo>
                      <a:lnTo>
                        <a:pt x="79" y="458"/>
                      </a:lnTo>
                      <a:lnTo>
                        <a:pt x="70" y="423"/>
                      </a:lnTo>
                      <a:lnTo>
                        <a:pt x="70" y="361"/>
                      </a:lnTo>
                      <a:lnTo>
                        <a:pt x="79" y="291"/>
                      </a:lnTo>
                      <a:lnTo>
                        <a:pt x="88" y="255"/>
                      </a:lnTo>
                      <a:lnTo>
                        <a:pt x="105" y="220"/>
                      </a:lnTo>
                      <a:lnTo>
                        <a:pt x="123" y="185"/>
                      </a:lnTo>
                      <a:lnTo>
                        <a:pt x="149" y="150"/>
                      </a:lnTo>
                      <a:lnTo>
                        <a:pt x="184" y="106"/>
                      </a:lnTo>
                      <a:lnTo>
                        <a:pt x="228" y="71"/>
                      </a:lnTo>
                      <a:lnTo>
                        <a:pt x="272" y="35"/>
                      </a:lnTo>
                      <a:lnTo>
                        <a:pt x="334" y="0"/>
                      </a:lnTo>
                      <a:lnTo>
                        <a:pt x="272" y="27"/>
                      </a:lnTo>
                      <a:lnTo>
                        <a:pt x="228" y="62"/>
                      </a:lnTo>
                      <a:lnTo>
                        <a:pt x="184" y="97"/>
                      </a:lnTo>
                      <a:lnTo>
                        <a:pt x="140" y="132"/>
                      </a:lnTo>
                      <a:lnTo>
                        <a:pt x="88" y="203"/>
                      </a:lnTo>
                      <a:lnTo>
                        <a:pt x="44" y="282"/>
                      </a:lnTo>
                      <a:lnTo>
                        <a:pt x="26" y="352"/>
                      </a:lnTo>
                      <a:lnTo>
                        <a:pt x="17" y="423"/>
                      </a:lnTo>
                      <a:lnTo>
                        <a:pt x="17" y="475"/>
                      </a:lnTo>
                      <a:lnTo>
                        <a:pt x="35" y="511"/>
                      </a:lnTo>
                      <a:lnTo>
                        <a:pt x="0" y="528"/>
                      </a:lnTo>
                      <a:lnTo>
                        <a:pt x="88" y="555"/>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8" name="Freeform 794">
                  <a:extLst>
                    <a:ext uri="{FF2B5EF4-FFF2-40B4-BE49-F238E27FC236}">
                      <a16:creationId xmlns:a16="http://schemas.microsoft.com/office/drawing/2014/main" id="{B12398E9-27ED-66FB-BB1B-67ABDAE6F3FE}"/>
                    </a:ext>
                  </a:extLst>
                </p:cNvPr>
                <p:cNvSpPr>
                  <a:spLocks/>
                </p:cNvSpPr>
                <p:nvPr/>
              </p:nvSpPr>
              <p:spPr bwMode="auto">
                <a:xfrm>
                  <a:off x="3644" y="2825"/>
                  <a:ext cx="256" cy="608"/>
                </a:xfrm>
                <a:custGeom>
                  <a:avLst/>
                  <a:gdLst>
                    <a:gd name="T0" fmla="*/ 255 w 256"/>
                    <a:gd name="T1" fmla="*/ 563 h 608"/>
                    <a:gd name="T2" fmla="*/ 220 w 256"/>
                    <a:gd name="T3" fmla="*/ 484 h 608"/>
                    <a:gd name="T4" fmla="*/ 211 w 256"/>
                    <a:gd name="T5" fmla="*/ 519 h 608"/>
                    <a:gd name="T6" fmla="*/ 185 w 256"/>
                    <a:gd name="T7" fmla="*/ 502 h 608"/>
                    <a:gd name="T8" fmla="*/ 150 w 256"/>
                    <a:gd name="T9" fmla="*/ 475 h 608"/>
                    <a:gd name="T10" fmla="*/ 106 w 256"/>
                    <a:gd name="T11" fmla="*/ 440 h 608"/>
                    <a:gd name="T12" fmla="*/ 70 w 256"/>
                    <a:gd name="T13" fmla="*/ 387 h 608"/>
                    <a:gd name="T14" fmla="*/ 35 w 256"/>
                    <a:gd name="T15" fmla="*/ 317 h 608"/>
                    <a:gd name="T16" fmla="*/ 18 w 256"/>
                    <a:gd name="T17" fmla="*/ 229 h 608"/>
                    <a:gd name="T18" fmla="*/ 9 w 256"/>
                    <a:gd name="T19" fmla="*/ 176 h 608"/>
                    <a:gd name="T20" fmla="*/ 18 w 256"/>
                    <a:gd name="T21" fmla="*/ 123 h 608"/>
                    <a:gd name="T22" fmla="*/ 26 w 256"/>
                    <a:gd name="T23" fmla="*/ 61 h 608"/>
                    <a:gd name="T24" fmla="*/ 44 w 256"/>
                    <a:gd name="T25" fmla="*/ 0 h 608"/>
                    <a:gd name="T26" fmla="*/ 18 w 256"/>
                    <a:gd name="T27" fmla="*/ 61 h 608"/>
                    <a:gd name="T28" fmla="*/ 9 w 256"/>
                    <a:gd name="T29" fmla="*/ 114 h 608"/>
                    <a:gd name="T30" fmla="*/ 0 w 256"/>
                    <a:gd name="T31" fmla="*/ 167 h 608"/>
                    <a:gd name="T32" fmla="*/ 0 w 256"/>
                    <a:gd name="T33" fmla="*/ 220 h 608"/>
                    <a:gd name="T34" fmla="*/ 9 w 256"/>
                    <a:gd name="T35" fmla="*/ 317 h 608"/>
                    <a:gd name="T36" fmla="*/ 35 w 256"/>
                    <a:gd name="T37" fmla="*/ 396 h 608"/>
                    <a:gd name="T38" fmla="*/ 70 w 256"/>
                    <a:gd name="T39" fmla="*/ 466 h 608"/>
                    <a:gd name="T40" fmla="*/ 114 w 256"/>
                    <a:gd name="T41" fmla="*/ 519 h 608"/>
                    <a:gd name="T42" fmla="*/ 158 w 256"/>
                    <a:gd name="T43" fmla="*/ 554 h 608"/>
                    <a:gd name="T44" fmla="*/ 194 w 256"/>
                    <a:gd name="T45" fmla="*/ 572 h 608"/>
                    <a:gd name="T46" fmla="*/ 176 w 256"/>
                    <a:gd name="T47" fmla="*/ 607 h 608"/>
                    <a:gd name="T48" fmla="*/ 255 w 256"/>
                    <a:gd name="T49" fmla="*/ 563 h 6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56" h="608">
                      <a:moveTo>
                        <a:pt x="255" y="563"/>
                      </a:moveTo>
                      <a:lnTo>
                        <a:pt x="220" y="484"/>
                      </a:lnTo>
                      <a:lnTo>
                        <a:pt x="211" y="519"/>
                      </a:lnTo>
                      <a:lnTo>
                        <a:pt x="185" y="502"/>
                      </a:lnTo>
                      <a:lnTo>
                        <a:pt x="150" y="475"/>
                      </a:lnTo>
                      <a:lnTo>
                        <a:pt x="106" y="440"/>
                      </a:lnTo>
                      <a:lnTo>
                        <a:pt x="70" y="387"/>
                      </a:lnTo>
                      <a:lnTo>
                        <a:pt x="35" y="317"/>
                      </a:lnTo>
                      <a:lnTo>
                        <a:pt x="18" y="229"/>
                      </a:lnTo>
                      <a:lnTo>
                        <a:pt x="9" y="176"/>
                      </a:lnTo>
                      <a:lnTo>
                        <a:pt x="18" y="123"/>
                      </a:lnTo>
                      <a:lnTo>
                        <a:pt x="26" y="61"/>
                      </a:lnTo>
                      <a:lnTo>
                        <a:pt x="44" y="0"/>
                      </a:lnTo>
                      <a:lnTo>
                        <a:pt x="18" y="61"/>
                      </a:lnTo>
                      <a:lnTo>
                        <a:pt x="9" y="114"/>
                      </a:lnTo>
                      <a:lnTo>
                        <a:pt x="0" y="167"/>
                      </a:lnTo>
                      <a:lnTo>
                        <a:pt x="0" y="220"/>
                      </a:lnTo>
                      <a:lnTo>
                        <a:pt x="9" y="317"/>
                      </a:lnTo>
                      <a:lnTo>
                        <a:pt x="35" y="396"/>
                      </a:lnTo>
                      <a:lnTo>
                        <a:pt x="70" y="466"/>
                      </a:lnTo>
                      <a:lnTo>
                        <a:pt x="114" y="519"/>
                      </a:lnTo>
                      <a:lnTo>
                        <a:pt x="158" y="554"/>
                      </a:lnTo>
                      <a:lnTo>
                        <a:pt x="194" y="572"/>
                      </a:lnTo>
                      <a:lnTo>
                        <a:pt x="176" y="607"/>
                      </a:lnTo>
                      <a:lnTo>
                        <a:pt x="255" y="563"/>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sp>
              <p:nvSpPr>
                <p:cNvPr id="809" name="Freeform 795">
                  <a:extLst>
                    <a:ext uri="{FF2B5EF4-FFF2-40B4-BE49-F238E27FC236}">
                      <a16:creationId xmlns:a16="http://schemas.microsoft.com/office/drawing/2014/main" id="{480113C2-E73A-EE5A-AB8A-B9A8CDA5BFA6}"/>
                    </a:ext>
                  </a:extLst>
                </p:cNvPr>
                <p:cNvSpPr>
                  <a:spLocks/>
                </p:cNvSpPr>
                <p:nvPr/>
              </p:nvSpPr>
              <p:spPr bwMode="auto">
                <a:xfrm>
                  <a:off x="3706" y="3080"/>
                  <a:ext cx="555" cy="336"/>
                </a:xfrm>
                <a:custGeom>
                  <a:avLst/>
                  <a:gdLst>
                    <a:gd name="T0" fmla="*/ 554 w 555"/>
                    <a:gd name="T1" fmla="*/ 247 h 336"/>
                    <a:gd name="T2" fmla="*/ 466 w 555"/>
                    <a:gd name="T3" fmla="*/ 211 h 336"/>
                    <a:gd name="T4" fmla="*/ 484 w 555"/>
                    <a:gd name="T5" fmla="*/ 247 h 336"/>
                    <a:gd name="T6" fmla="*/ 457 w 555"/>
                    <a:gd name="T7" fmla="*/ 255 h 336"/>
                    <a:gd name="T8" fmla="*/ 413 w 555"/>
                    <a:gd name="T9" fmla="*/ 264 h 336"/>
                    <a:gd name="T10" fmla="*/ 352 w 555"/>
                    <a:gd name="T11" fmla="*/ 264 h 336"/>
                    <a:gd name="T12" fmla="*/ 290 w 555"/>
                    <a:gd name="T13" fmla="*/ 255 h 336"/>
                    <a:gd name="T14" fmla="*/ 255 w 555"/>
                    <a:gd name="T15" fmla="*/ 247 h 336"/>
                    <a:gd name="T16" fmla="*/ 220 w 555"/>
                    <a:gd name="T17" fmla="*/ 229 h 336"/>
                    <a:gd name="T18" fmla="*/ 176 w 555"/>
                    <a:gd name="T19" fmla="*/ 211 h 336"/>
                    <a:gd name="T20" fmla="*/ 140 w 555"/>
                    <a:gd name="T21" fmla="*/ 185 h 336"/>
                    <a:gd name="T22" fmla="*/ 105 w 555"/>
                    <a:gd name="T23" fmla="*/ 150 h 336"/>
                    <a:gd name="T24" fmla="*/ 61 w 555"/>
                    <a:gd name="T25" fmla="*/ 106 h 336"/>
                    <a:gd name="T26" fmla="*/ 26 w 555"/>
                    <a:gd name="T27" fmla="*/ 53 h 336"/>
                    <a:gd name="T28" fmla="*/ 0 w 555"/>
                    <a:gd name="T29" fmla="*/ 0 h 336"/>
                    <a:gd name="T30" fmla="*/ 26 w 555"/>
                    <a:gd name="T31" fmla="*/ 53 h 336"/>
                    <a:gd name="T32" fmla="*/ 52 w 555"/>
                    <a:gd name="T33" fmla="*/ 106 h 336"/>
                    <a:gd name="T34" fmla="*/ 88 w 555"/>
                    <a:gd name="T35" fmla="*/ 150 h 336"/>
                    <a:gd name="T36" fmla="*/ 123 w 555"/>
                    <a:gd name="T37" fmla="*/ 194 h 336"/>
                    <a:gd name="T38" fmla="*/ 202 w 555"/>
                    <a:gd name="T39" fmla="*/ 247 h 336"/>
                    <a:gd name="T40" fmla="*/ 272 w 555"/>
                    <a:gd name="T41" fmla="*/ 282 h 336"/>
                    <a:gd name="T42" fmla="*/ 352 w 555"/>
                    <a:gd name="T43" fmla="*/ 308 h 336"/>
                    <a:gd name="T44" fmla="*/ 413 w 555"/>
                    <a:gd name="T45" fmla="*/ 317 h 336"/>
                    <a:gd name="T46" fmla="*/ 466 w 555"/>
                    <a:gd name="T47" fmla="*/ 308 h 336"/>
                    <a:gd name="T48" fmla="*/ 501 w 555"/>
                    <a:gd name="T49" fmla="*/ 299 h 336"/>
                    <a:gd name="T50" fmla="*/ 519 w 555"/>
                    <a:gd name="T51" fmla="*/ 335 h 336"/>
                    <a:gd name="T52" fmla="*/ 554 w 555"/>
                    <a:gd name="T53" fmla="*/ 247 h 3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55" h="336">
                      <a:moveTo>
                        <a:pt x="554" y="247"/>
                      </a:moveTo>
                      <a:lnTo>
                        <a:pt x="466" y="211"/>
                      </a:lnTo>
                      <a:lnTo>
                        <a:pt x="484" y="247"/>
                      </a:lnTo>
                      <a:lnTo>
                        <a:pt x="457" y="255"/>
                      </a:lnTo>
                      <a:lnTo>
                        <a:pt x="413" y="264"/>
                      </a:lnTo>
                      <a:lnTo>
                        <a:pt x="352" y="264"/>
                      </a:lnTo>
                      <a:lnTo>
                        <a:pt x="290" y="255"/>
                      </a:lnTo>
                      <a:lnTo>
                        <a:pt x="255" y="247"/>
                      </a:lnTo>
                      <a:lnTo>
                        <a:pt x="220" y="229"/>
                      </a:lnTo>
                      <a:lnTo>
                        <a:pt x="176" y="211"/>
                      </a:lnTo>
                      <a:lnTo>
                        <a:pt x="140" y="185"/>
                      </a:lnTo>
                      <a:lnTo>
                        <a:pt x="105" y="150"/>
                      </a:lnTo>
                      <a:lnTo>
                        <a:pt x="61" y="106"/>
                      </a:lnTo>
                      <a:lnTo>
                        <a:pt x="26" y="53"/>
                      </a:lnTo>
                      <a:lnTo>
                        <a:pt x="0" y="0"/>
                      </a:lnTo>
                      <a:lnTo>
                        <a:pt x="26" y="53"/>
                      </a:lnTo>
                      <a:lnTo>
                        <a:pt x="52" y="106"/>
                      </a:lnTo>
                      <a:lnTo>
                        <a:pt x="88" y="150"/>
                      </a:lnTo>
                      <a:lnTo>
                        <a:pt x="123" y="194"/>
                      </a:lnTo>
                      <a:lnTo>
                        <a:pt x="202" y="247"/>
                      </a:lnTo>
                      <a:lnTo>
                        <a:pt x="272" y="282"/>
                      </a:lnTo>
                      <a:lnTo>
                        <a:pt x="352" y="308"/>
                      </a:lnTo>
                      <a:lnTo>
                        <a:pt x="413" y="317"/>
                      </a:lnTo>
                      <a:lnTo>
                        <a:pt x="466" y="308"/>
                      </a:lnTo>
                      <a:lnTo>
                        <a:pt x="501" y="299"/>
                      </a:lnTo>
                      <a:lnTo>
                        <a:pt x="519" y="335"/>
                      </a:lnTo>
                      <a:lnTo>
                        <a:pt x="554" y="247"/>
                      </a:lnTo>
                    </a:path>
                  </a:pathLst>
                </a:custGeom>
                <a:solidFill>
                  <a:srgbClr val="FF0000">
                    <a:alpha val="30196"/>
                  </a:srgbClr>
                </a:solidFill>
                <a:ln w="127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grpSp>
        </p:grpSp>
        <p:grpSp>
          <p:nvGrpSpPr>
            <p:cNvPr id="790" name="Group 796">
              <a:extLst>
                <a:ext uri="{FF2B5EF4-FFF2-40B4-BE49-F238E27FC236}">
                  <a16:creationId xmlns:a16="http://schemas.microsoft.com/office/drawing/2014/main" id="{67EC135B-5B5C-E4D5-8F41-103891927B95}"/>
                </a:ext>
              </a:extLst>
            </p:cNvPr>
            <p:cNvGrpSpPr>
              <a:grpSpLocks/>
            </p:cNvGrpSpPr>
            <p:nvPr/>
          </p:nvGrpSpPr>
          <p:grpSpPr bwMode="auto">
            <a:xfrm>
              <a:off x="9493632" y="3116253"/>
              <a:ext cx="792163" cy="1341438"/>
              <a:chOff x="1792" y="5"/>
              <a:chExt cx="2175" cy="4310"/>
            </a:xfrm>
          </p:grpSpPr>
          <p:sp>
            <p:nvSpPr>
              <p:cNvPr id="796" name="Freeform 797">
                <a:extLst>
                  <a:ext uri="{FF2B5EF4-FFF2-40B4-BE49-F238E27FC236}">
                    <a16:creationId xmlns:a16="http://schemas.microsoft.com/office/drawing/2014/main" id="{8598BD6B-57F3-84C1-5618-BCBF76B3FFBF}"/>
                  </a:ext>
                </a:extLst>
              </p:cNvPr>
              <p:cNvSpPr>
                <a:spLocks/>
              </p:cNvSpPr>
              <p:nvPr/>
            </p:nvSpPr>
            <p:spPr bwMode="auto">
              <a:xfrm>
                <a:off x="1792" y="5"/>
                <a:ext cx="2175" cy="4310"/>
              </a:xfrm>
              <a:custGeom>
                <a:avLst/>
                <a:gdLst>
                  <a:gd name="T0" fmla="*/ 352 w 4352"/>
                  <a:gd name="T1" fmla="*/ 1681 h 8622"/>
                  <a:gd name="T2" fmla="*/ 356 w 4352"/>
                  <a:gd name="T3" fmla="*/ 1480 h 8622"/>
                  <a:gd name="T4" fmla="*/ 316 w 4352"/>
                  <a:gd name="T5" fmla="*/ 1192 h 8622"/>
                  <a:gd name="T6" fmla="*/ 349 w 4352"/>
                  <a:gd name="T7" fmla="*/ 987 h 8622"/>
                  <a:gd name="T8" fmla="*/ 365 w 4352"/>
                  <a:gd name="T9" fmla="*/ 803 h 8622"/>
                  <a:gd name="T10" fmla="*/ 338 w 4352"/>
                  <a:gd name="T11" fmla="*/ 709 h 8622"/>
                  <a:gd name="T12" fmla="*/ 281 w 4352"/>
                  <a:gd name="T13" fmla="*/ 870 h 8622"/>
                  <a:gd name="T14" fmla="*/ 158 w 4352"/>
                  <a:gd name="T15" fmla="*/ 1057 h 8622"/>
                  <a:gd name="T16" fmla="*/ 125 w 4352"/>
                  <a:gd name="T17" fmla="*/ 1160 h 8622"/>
                  <a:gd name="T18" fmla="*/ 101 w 4352"/>
                  <a:gd name="T19" fmla="*/ 1183 h 8622"/>
                  <a:gd name="T20" fmla="*/ 58 w 4352"/>
                  <a:gd name="T21" fmla="*/ 1183 h 8622"/>
                  <a:gd name="T22" fmla="*/ 70 w 4352"/>
                  <a:gd name="T23" fmla="*/ 1111 h 8622"/>
                  <a:gd name="T24" fmla="*/ 20 w 4352"/>
                  <a:gd name="T25" fmla="*/ 1154 h 8622"/>
                  <a:gd name="T26" fmla="*/ 43 w 4352"/>
                  <a:gd name="T27" fmla="*/ 1064 h 8622"/>
                  <a:gd name="T28" fmla="*/ 12 w 4352"/>
                  <a:gd name="T29" fmla="*/ 1058 h 8622"/>
                  <a:gd name="T30" fmla="*/ 85 w 4352"/>
                  <a:gd name="T31" fmla="*/ 999 h 8622"/>
                  <a:gd name="T32" fmla="*/ 148 w 4352"/>
                  <a:gd name="T33" fmla="*/ 857 h 8622"/>
                  <a:gd name="T34" fmla="*/ 226 w 4352"/>
                  <a:gd name="T35" fmla="*/ 711 h 8622"/>
                  <a:gd name="T36" fmla="*/ 247 w 4352"/>
                  <a:gd name="T37" fmla="*/ 488 h 8622"/>
                  <a:gd name="T38" fmla="*/ 348 w 4352"/>
                  <a:gd name="T39" fmla="*/ 384 h 8622"/>
                  <a:gd name="T40" fmla="*/ 466 w 4352"/>
                  <a:gd name="T41" fmla="*/ 293 h 8622"/>
                  <a:gd name="T42" fmla="*/ 444 w 4352"/>
                  <a:gd name="T43" fmla="*/ 208 h 8622"/>
                  <a:gd name="T44" fmla="*/ 417 w 4352"/>
                  <a:gd name="T45" fmla="*/ 161 h 8622"/>
                  <a:gd name="T46" fmla="*/ 434 w 4352"/>
                  <a:gd name="T47" fmla="*/ 64 h 8622"/>
                  <a:gd name="T48" fmla="*/ 544 w 4352"/>
                  <a:gd name="T49" fmla="*/ 1 h 8622"/>
                  <a:gd name="T50" fmla="*/ 629 w 4352"/>
                  <a:gd name="T51" fmla="*/ 75 h 8622"/>
                  <a:gd name="T52" fmla="*/ 650 w 4352"/>
                  <a:gd name="T53" fmla="*/ 136 h 8622"/>
                  <a:gd name="T54" fmla="*/ 621 w 4352"/>
                  <a:gd name="T55" fmla="*/ 230 h 8622"/>
                  <a:gd name="T56" fmla="*/ 624 w 4352"/>
                  <a:gd name="T57" fmla="*/ 358 h 8622"/>
                  <a:gd name="T58" fmla="*/ 784 w 4352"/>
                  <a:gd name="T59" fmla="*/ 416 h 8622"/>
                  <a:gd name="T60" fmla="*/ 829 w 4352"/>
                  <a:gd name="T61" fmla="*/ 573 h 8622"/>
                  <a:gd name="T62" fmla="*/ 853 w 4352"/>
                  <a:gd name="T63" fmla="*/ 740 h 8622"/>
                  <a:gd name="T64" fmla="*/ 963 w 4352"/>
                  <a:gd name="T65" fmla="*/ 981 h 8622"/>
                  <a:gd name="T66" fmla="*/ 1086 w 4352"/>
                  <a:gd name="T67" fmla="*/ 1048 h 8622"/>
                  <a:gd name="T68" fmla="*/ 1028 w 4352"/>
                  <a:gd name="T69" fmla="*/ 1047 h 8622"/>
                  <a:gd name="T70" fmla="*/ 1064 w 4352"/>
                  <a:gd name="T71" fmla="*/ 1122 h 8622"/>
                  <a:gd name="T72" fmla="*/ 1038 w 4352"/>
                  <a:gd name="T73" fmla="*/ 1126 h 8622"/>
                  <a:gd name="T74" fmla="*/ 1047 w 4352"/>
                  <a:gd name="T75" fmla="*/ 1172 h 8622"/>
                  <a:gd name="T76" fmla="*/ 992 w 4352"/>
                  <a:gd name="T77" fmla="*/ 1118 h 8622"/>
                  <a:gd name="T78" fmla="*/ 996 w 4352"/>
                  <a:gd name="T79" fmla="*/ 1182 h 8622"/>
                  <a:gd name="T80" fmla="*/ 957 w 4352"/>
                  <a:gd name="T81" fmla="*/ 1174 h 8622"/>
                  <a:gd name="T82" fmla="*/ 879 w 4352"/>
                  <a:gd name="T83" fmla="*/ 1002 h 8622"/>
                  <a:gd name="T84" fmla="*/ 731 w 4352"/>
                  <a:gd name="T85" fmla="*/ 767 h 8622"/>
                  <a:gd name="T86" fmla="*/ 709 w 4352"/>
                  <a:gd name="T87" fmla="*/ 930 h 8622"/>
                  <a:gd name="T88" fmla="*/ 730 w 4352"/>
                  <a:gd name="T89" fmla="*/ 1046 h 8622"/>
                  <a:gd name="T90" fmla="*/ 708 w 4352"/>
                  <a:gd name="T91" fmla="*/ 1435 h 8622"/>
                  <a:gd name="T92" fmla="*/ 669 w 4352"/>
                  <a:gd name="T93" fmla="*/ 1767 h 8622"/>
                  <a:gd name="T94" fmla="*/ 615 w 4352"/>
                  <a:gd name="T95" fmla="*/ 2007 h 8622"/>
                  <a:gd name="T96" fmla="*/ 638 w 4352"/>
                  <a:gd name="T97" fmla="*/ 2067 h 8622"/>
                  <a:gd name="T98" fmla="*/ 641 w 4352"/>
                  <a:gd name="T99" fmla="*/ 2121 h 8622"/>
                  <a:gd name="T100" fmla="*/ 603 w 4352"/>
                  <a:gd name="T101" fmla="*/ 2146 h 8622"/>
                  <a:gd name="T102" fmla="*/ 539 w 4352"/>
                  <a:gd name="T103" fmla="*/ 2109 h 8622"/>
                  <a:gd name="T104" fmla="*/ 539 w 4352"/>
                  <a:gd name="T105" fmla="*/ 1960 h 8622"/>
                  <a:gd name="T106" fmla="*/ 538 w 4352"/>
                  <a:gd name="T107" fmla="*/ 1754 h 8622"/>
                  <a:gd name="T108" fmla="*/ 551 w 4352"/>
                  <a:gd name="T109" fmla="*/ 1517 h 8622"/>
                  <a:gd name="T110" fmla="*/ 507 w 4352"/>
                  <a:gd name="T111" fmla="*/ 1480 h 8622"/>
                  <a:gd name="T112" fmla="*/ 487 w 4352"/>
                  <a:gd name="T113" fmla="*/ 1874 h 8622"/>
                  <a:gd name="T114" fmla="*/ 495 w 4352"/>
                  <a:gd name="T115" fmla="*/ 2018 h 8622"/>
                  <a:gd name="T116" fmla="*/ 453 w 4352"/>
                  <a:gd name="T117" fmla="*/ 2152 h 8622"/>
                  <a:gd name="T118" fmla="*/ 408 w 4352"/>
                  <a:gd name="T119" fmla="*/ 2130 h 8622"/>
                  <a:gd name="T120" fmla="*/ 376 w 4352"/>
                  <a:gd name="T121" fmla="*/ 2087 h 8622"/>
                  <a:gd name="T122" fmla="*/ 403 w 4352"/>
                  <a:gd name="T123" fmla="*/ 2040 h 8622"/>
                  <a:gd name="T124" fmla="*/ 404 w 4352"/>
                  <a:gd name="T125" fmla="*/ 1927 h 86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352" h="8622">
                    <a:moveTo>
                      <a:pt x="1573" y="7588"/>
                    </a:moveTo>
                    <a:lnTo>
                      <a:pt x="1515" y="7412"/>
                    </a:lnTo>
                    <a:lnTo>
                      <a:pt x="1484" y="7293"/>
                    </a:lnTo>
                    <a:lnTo>
                      <a:pt x="1440" y="7103"/>
                    </a:lnTo>
                    <a:lnTo>
                      <a:pt x="1425" y="7020"/>
                    </a:lnTo>
                    <a:lnTo>
                      <a:pt x="1414" y="6918"/>
                    </a:lnTo>
                    <a:lnTo>
                      <a:pt x="1408" y="6725"/>
                    </a:lnTo>
                    <a:lnTo>
                      <a:pt x="1413" y="6628"/>
                    </a:lnTo>
                    <a:lnTo>
                      <a:pt x="1424" y="6531"/>
                    </a:lnTo>
                    <a:lnTo>
                      <a:pt x="1435" y="6429"/>
                    </a:lnTo>
                    <a:lnTo>
                      <a:pt x="1439" y="6332"/>
                    </a:lnTo>
                    <a:lnTo>
                      <a:pt x="1447" y="6130"/>
                    </a:lnTo>
                    <a:lnTo>
                      <a:pt x="1442" y="6026"/>
                    </a:lnTo>
                    <a:lnTo>
                      <a:pt x="1427" y="5922"/>
                    </a:lnTo>
                    <a:lnTo>
                      <a:pt x="1370" y="5681"/>
                    </a:lnTo>
                    <a:lnTo>
                      <a:pt x="1351" y="5613"/>
                    </a:lnTo>
                    <a:lnTo>
                      <a:pt x="1315" y="5377"/>
                    </a:lnTo>
                    <a:lnTo>
                      <a:pt x="1284" y="5149"/>
                    </a:lnTo>
                    <a:lnTo>
                      <a:pt x="1261" y="4922"/>
                    </a:lnTo>
                    <a:lnTo>
                      <a:pt x="1260" y="4847"/>
                    </a:lnTo>
                    <a:lnTo>
                      <a:pt x="1265" y="4769"/>
                    </a:lnTo>
                    <a:lnTo>
                      <a:pt x="1275" y="4616"/>
                    </a:lnTo>
                    <a:lnTo>
                      <a:pt x="1286" y="4465"/>
                    </a:lnTo>
                    <a:lnTo>
                      <a:pt x="1314" y="4312"/>
                    </a:lnTo>
                    <a:lnTo>
                      <a:pt x="1337" y="4225"/>
                    </a:lnTo>
                    <a:lnTo>
                      <a:pt x="1369" y="4131"/>
                    </a:lnTo>
                    <a:lnTo>
                      <a:pt x="1393" y="4035"/>
                    </a:lnTo>
                    <a:lnTo>
                      <a:pt x="1399" y="3951"/>
                    </a:lnTo>
                    <a:lnTo>
                      <a:pt x="1401" y="3856"/>
                    </a:lnTo>
                    <a:lnTo>
                      <a:pt x="1420" y="3774"/>
                    </a:lnTo>
                    <a:lnTo>
                      <a:pt x="1446" y="3689"/>
                    </a:lnTo>
                    <a:lnTo>
                      <a:pt x="1467" y="3588"/>
                    </a:lnTo>
                    <a:lnTo>
                      <a:pt x="1476" y="3497"/>
                    </a:lnTo>
                    <a:lnTo>
                      <a:pt x="1476" y="3403"/>
                    </a:lnTo>
                    <a:lnTo>
                      <a:pt x="1460" y="3214"/>
                    </a:lnTo>
                    <a:lnTo>
                      <a:pt x="1434" y="3025"/>
                    </a:lnTo>
                    <a:lnTo>
                      <a:pt x="1414" y="2838"/>
                    </a:lnTo>
                    <a:lnTo>
                      <a:pt x="1413" y="2780"/>
                    </a:lnTo>
                    <a:lnTo>
                      <a:pt x="1404" y="2721"/>
                    </a:lnTo>
                    <a:lnTo>
                      <a:pt x="1392" y="2748"/>
                    </a:lnTo>
                    <a:lnTo>
                      <a:pt x="1376" y="2774"/>
                    </a:lnTo>
                    <a:lnTo>
                      <a:pt x="1352" y="2839"/>
                    </a:lnTo>
                    <a:lnTo>
                      <a:pt x="1334" y="2918"/>
                    </a:lnTo>
                    <a:lnTo>
                      <a:pt x="1311" y="3074"/>
                    </a:lnTo>
                    <a:lnTo>
                      <a:pt x="1295" y="3149"/>
                    </a:lnTo>
                    <a:lnTo>
                      <a:pt x="1269" y="3226"/>
                    </a:lnTo>
                    <a:lnTo>
                      <a:pt x="1245" y="3295"/>
                    </a:lnTo>
                    <a:lnTo>
                      <a:pt x="1211" y="3360"/>
                    </a:lnTo>
                    <a:lnTo>
                      <a:pt x="1127" y="3483"/>
                    </a:lnTo>
                    <a:lnTo>
                      <a:pt x="1010" y="3634"/>
                    </a:lnTo>
                    <a:lnTo>
                      <a:pt x="883" y="3779"/>
                    </a:lnTo>
                    <a:lnTo>
                      <a:pt x="763" y="3919"/>
                    </a:lnTo>
                    <a:lnTo>
                      <a:pt x="657" y="4051"/>
                    </a:lnTo>
                    <a:lnTo>
                      <a:pt x="636" y="4097"/>
                    </a:lnTo>
                    <a:lnTo>
                      <a:pt x="640" y="4111"/>
                    </a:lnTo>
                    <a:lnTo>
                      <a:pt x="632" y="4230"/>
                    </a:lnTo>
                    <a:lnTo>
                      <a:pt x="612" y="4348"/>
                    </a:lnTo>
                    <a:lnTo>
                      <a:pt x="586" y="4519"/>
                    </a:lnTo>
                    <a:lnTo>
                      <a:pt x="572" y="4602"/>
                    </a:lnTo>
                    <a:lnTo>
                      <a:pt x="548" y="4684"/>
                    </a:lnTo>
                    <a:lnTo>
                      <a:pt x="529" y="4700"/>
                    </a:lnTo>
                    <a:lnTo>
                      <a:pt x="512" y="4701"/>
                    </a:lnTo>
                    <a:lnTo>
                      <a:pt x="500" y="4643"/>
                    </a:lnTo>
                    <a:lnTo>
                      <a:pt x="499" y="4583"/>
                    </a:lnTo>
                    <a:lnTo>
                      <a:pt x="502" y="4465"/>
                    </a:lnTo>
                    <a:lnTo>
                      <a:pt x="499" y="4467"/>
                    </a:lnTo>
                    <a:lnTo>
                      <a:pt x="493" y="4479"/>
                    </a:lnTo>
                    <a:lnTo>
                      <a:pt x="458" y="4609"/>
                    </a:lnTo>
                    <a:lnTo>
                      <a:pt x="436" y="4673"/>
                    </a:lnTo>
                    <a:lnTo>
                      <a:pt x="404" y="4736"/>
                    </a:lnTo>
                    <a:lnTo>
                      <a:pt x="385" y="4747"/>
                    </a:lnTo>
                    <a:lnTo>
                      <a:pt x="364" y="4744"/>
                    </a:lnTo>
                    <a:lnTo>
                      <a:pt x="356" y="4721"/>
                    </a:lnTo>
                    <a:lnTo>
                      <a:pt x="360" y="4694"/>
                    </a:lnTo>
                    <a:lnTo>
                      <a:pt x="401" y="4479"/>
                    </a:lnTo>
                    <a:lnTo>
                      <a:pt x="246" y="4725"/>
                    </a:lnTo>
                    <a:lnTo>
                      <a:pt x="235" y="4734"/>
                    </a:lnTo>
                    <a:lnTo>
                      <a:pt x="218" y="4739"/>
                    </a:lnTo>
                    <a:lnTo>
                      <a:pt x="188" y="4730"/>
                    </a:lnTo>
                    <a:lnTo>
                      <a:pt x="180" y="4704"/>
                    </a:lnTo>
                    <a:lnTo>
                      <a:pt x="184" y="4674"/>
                    </a:lnTo>
                    <a:lnTo>
                      <a:pt x="205" y="4616"/>
                    </a:lnTo>
                    <a:lnTo>
                      <a:pt x="232" y="4559"/>
                    </a:lnTo>
                    <a:lnTo>
                      <a:pt x="281" y="4445"/>
                    </a:lnTo>
                    <a:lnTo>
                      <a:pt x="216" y="4532"/>
                    </a:lnTo>
                    <a:lnTo>
                      <a:pt x="156" y="4626"/>
                    </a:lnTo>
                    <a:lnTo>
                      <a:pt x="142" y="4643"/>
                    </a:lnTo>
                    <a:lnTo>
                      <a:pt x="122" y="4651"/>
                    </a:lnTo>
                    <a:lnTo>
                      <a:pt x="104" y="4653"/>
                    </a:lnTo>
                    <a:lnTo>
                      <a:pt x="84" y="4643"/>
                    </a:lnTo>
                    <a:lnTo>
                      <a:pt x="80" y="4619"/>
                    </a:lnTo>
                    <a:lnTo>
                      <a:pt x="88" y="4594"/>
                    </a:lnTo>
                    <a:lnTo>
                      <a:pt x="173" y="4411"/>
                    </a:lnTo>
                    <a:lnTo>
                      <a:pt x="212" y="4320"/>
                    </a:lnTo>
                    <a:lnTo>
                      <a:pt x="243" y="4225"/>
                    </a:lnTo>
                    <a:lnTo>
                      <a:pt x="224" y="4221"/>
                    </a:lnTo>
                    <a:lnTo>
                      <a:pt x="208" y="4230"/>
                    </a:lnTo>
                    <a:lnTo>
                      <a:pt x="175" y="4256"/>
                    </a:lnTo>
                    <a:lnTo>
                      <a:pt x="155" y="4265"/>
                    </a:lnTo>
                    <a:lnTo>
                      <a:pt x="119" y="4291"/>
                    </a:lnTo>
                    <a:lnTo>
                      <a:pt x="78" y="4305"/>
                    </a:lnTo>
                    <a:lnTo>
                      <a:pt x="37" y="4304"/>
                    </a:lnTo>
                    <a:lnTo>
                      <a:pt x="0" y="4283"/>
                    </a:lnTo>
                    <a:lnTo>
                      <a:pt x="22" y="4255"/>
                    </a:lnTo>
                    <a:lnTo>
                      <a:pt x="50" y="4232"/>
                    </a:lnTo>
                    <a:lnTo>
                      <a:pt x="79" y="4211"/>
                    </a:lnTo>
                    <a:lnTo>
                      <a:pt x="104" y="4186"/>
                    </a:lnTo>
                    <a:lnTo>
                      <a:pt x="182" y="4078"/>
                    </a:lnTo>
                    <a:lnTo>
                      <a:pt x="204" y="4059"/>
                    </a:lnTo>
                    <a:lnTo>
                      <a:pt x="230" y="4044"/>
                    </a:lnTo>
                    <a:lnTo>
                      <a:pt x="306" y="4015"/>
                    </a:lnTo>
                    <a:lnTo>
                      <a:pt x="341" y="3999"/>
                    </a:lnTo>
                    <a:lnTo>
                      <a:pt x="374" y="3973"/>
                    </a:lnTo>
                    <a:lnTo>
                      <a:pt x="408" y="3924"/>
                    </a:lnTo>
                    <a:lnTo>
                      <a:pt x="437" y="3865"/>
                    </a:lnTo>
                    <a:lnTo>
                      <a:pt x="495" y="3738"/>
                    </a:lnTo>
                    <a:lnTo>
                      <a:pt x="522" y="3662"/>
                    </a:lnTo>
                    <a:lnTo>
                      <a:pt x="553" y="3552"/>
                    </a:lnTo>
                    <a:lnTo>
                      <a:pt x="593" y="3429"/>
                    </a:lnTo>
                    <a:lnTo>
                      <a:pt x="631" y="3310"/>
                    </a:lnTo>
                    <a:lnTo>
                      <a:pt x="651" y="3249"/>
                    </a:lnTo>
                    <a:lnTo>
                      <a:pt x="679" y="3197"/>
                    </a:lnTo>
                    <a:lnTo>
                      <a:pt x="727" y="3117"/>
                    </a:lnTo>
                    <a:lnTo>
                      <a:pt x="748" y="3081"/>
                    </a:lnTo>
                    <a:lnTo>
                      <a:pt x="778" y="3043"/>
                    </a:lnTo>
                    <a:lnTo>
                      <a:pt x="907" y="2845"/>
                    </a:lnTo>
                    <a:lnTo>
                      <a:pt x="947" y="2721"/>
                    </a:lnTo>
                    <a:lnTo>
                      <a:pt x="961" y="2658"/>
                    </a:lnTo>
                    <a:lnTo>
                      <a:pt x="951" y="2506"/>
                    </a:lnTo>
                    <a:lnTo>
                      <a:pt x="948" y="2362"/>
                    </a:lnTo>
                    <a:lnTo>
                      <a:pt x="959" y="2219"/>
                    </a:lnTo>
                    <a:lnTo>
                      <a:pt x="985" y="2068"/>
                    </a:lnTo>
                    <a:lnTo>
                      <a:pt x="990" y="1953"/>
                    </a:lnTo>
                    <a:lnTo>
                      <a:pt x="993" y="1896"/>
                    </a:lnTo>
                    <a:lnTo>
                      <a:pt x="1007" y="1843"/>
                    </a:lnTo>
                    <a:lnTo>
                      <a:pt x="1030" y="1791"/>
                    </a:lnTo>
                    <a:lnTo>
                      <a:pt x="1060" y="1742"/>
                    </a:lnTo>
                    <a:lnTo>
                      <a:pt x="1139" y="1659"/>
                    </a:lnTo>
                    <a:lnTo>
                      <a:pt x="1231" y="1601"/>
                    </a:lnTo>
                    <a:lnTo>
                      <a:pt x="1393" y="1536"/>
                    </a:lnTo>
                    <a:lnTo>
                      <a:pt x="1571" y="1477"/>
                    </a:lnTo>
                    <a:lnTo>
                      <a:pt x="1723" y="1421"/>
                    </a:lnTo>
                    <a:lnTo>
                      <a:pt x="1778" y="1393"/>
                    </a:lnTo>
                    <a:lnTo>
                      <a:pt x="1811" y="1366"/>
                    </a:lnTo>
                    <a:lnTo>
                      <a:pt x="1836" y="1325"/>
                    </a:lnTo>
                    <a:lnTo>
                      <a:pt x="1851" y="1277"/>
                    </a:lnTo>
                    <a:lnTo>
                      <a:pt x="1864" y="1173"/>
                    </a:lnTo>
                    <a:lnTo>
                      <a:pt x="1863" y="1085"/>
                    </a:lnTo>
                    <a:lnTo>
                      <a:pt x="1857" y="1044"/>
                    </a:lnTo>
                    <a:lnTo>
                      <a:pt x="1833" y="972"/>
                    </a:lnTo>
                    <a:lnTo>
                      <a:pt x="1815" y="896"/>
                    </a:lnTo>
                    <a:lnTo>
                      <a:pt x="1807" y="863"/>
                    </a:lnTo>
                    <a:lnTo>
                      <a:pt x="1785" y="833"/>
                    </a:lnTo>
                    <a:lnTo>
                      <a:pt x="1778" y="833"/>
                    </a:lnTo>
                    <a:lnTo>
                      <a:pt x="1768" y="840"/>
                    </a:lnTo>
                    <a:lnTo>
                      <a:pt x="1756" y="841"/>
                    </a:lnTo>
                    <a:lnTo>
                      <a:pt x="1735" y="826"/>
                    </a:lnTo>
                    <a:lnTo>
                      <a:pt x="1719" y="801"/>
                    </a:lnTo>
                    <a:lnTo>
                      <a:pt x="1715" y="780"/>
                    </a:lnTo>
                    <a:lnTo>
                      <a:pt x="1701" y="731"/>
                    </a:lnTo>
                    <a:lnTo>
                      <a:pt x="1670" y="644"/>
                    </a:lnTo>
                    <a:lnTo>
                      <a:pt x="1659" y="574"/>
                    </a:lnTo>
                    <a:lnTo>
                      <a:pt x="1663" y="529"/>
                    </a:lnTo>
                    <a:lnTo>
                      <a:pt x="1670" y="518"/>
                    </a:lnTo>
                    <a:lnTo>
                      <a:pt x="1680" y="517"/>
                    </a:lnTo>
                    <a:lnTo>
                      <a:pt x="1710" y="515"/>
                    </a:lnTo>
                    <a:lnTo>
                      <a:pt x="1711" y="386"/>
                    </a:lnTo>
                    <a:lnTo>
                      <a:pt x="1738" y="256"/>
                    </a:lnTo>
                    <a:lnTo>
                      <a:pt x="1763" y="197"/>
                    </a:lnTo>
                    <a:lnTo>
                      <a:pt x="1795" y="143"/>
                    </a:lnTo>
                    <a:lnTo>
                      <a:pt x="1840" y="97"/>
                    </a:lnTo>
                    <a:lnTo>
                      <a:pt x="1892" y="59"/>
                    </a:lnTo>
                    <a:lnTo>
                      <a:pt x="1985" y="20"/>
                    </a:lnTo>
                    <a:lnTo>
                      <a:pt x="2079" y="0"/>
                    </a:lnTo>
                    <a:lnTo>
                      <a:pt x="2178" y="4"/>
                    </a:lnTo>
                    <a:lnTo>
                      <a:pt x="2283" y="27"/>
                    </a:lnTo>
                    <a:lnTo>
                      <a:pt x="2327" y="45"/>
                    </a:lnTo>
                    <a:lnTo>
                      <a:pt x="2372" y="67"/>
                    </a:lnTo>
                    <a:lnTo>
                      <a:pt x="2413" y="97"/>
                    </a:lnTo>
                    <a:lnTo>
                      <a:pt x="2447" y="135"/>
                    </a:lnTo>
                    <a:lnTo>
                      <a:pt x="2491" y="218"/>
                    </a:lnTo>
                    <a:lnTo>
                      <a:pt x="2518" y="302"/>
                    </a:lnTo>
                    <a:lnTo>
                      <a:pt x="2533" y="391"/>
                    </a:lnTo>
                    <a:lnTo>
                      <a:pt x="2541" y="481"/>
                    </a:lnTo>
                    <a:lnTo>
                      <a:pt x="2551" y="472"/>
                    </a:lnTo>
                    <a:lnTo>
                      <a:pt x="2565" y="468"/>
                    </a:lnTo>
                    <a:lnTo>
                      <a:pt x="2581" y="472"/>
                    </a:lnTo>
                    <a:lnTo>
                      <a:pt x="2599" y="517"/>
                    </a:lnTo>
                    <a:lnTo>
                      <a:pt x="2602" y="546"/>
                    </a:lnTo>
                    <a:lnTo>
                      <a:pt x="2587" y="628"/>
                    </a:lnTo>
                    <a:lnTo>
                      <a:pt x="2573" y="731"/>
                    </a:lnTo>
                    <a:lnTo>
                      <a:pt x="2560" y="783"/>
                    </a:lnTo>
                    <a:lnTo>
                      <a:pt x="2544" y="813"/>
                    </a:lnTo>
                    <a:lnTo>
                      <a:pt x="2524" y="814"/>
                    </a:lnTo>
                    <a:lnTo>
                      <a:pt x="2504" y="864"/>
                    </a:lnTo>
                    <a:lnTo>
                      <a:pt x="2485" y="921"/>
                    </a:lnTo>
                    <a:lnTo>
                      <a:pt x="2459" y="995"/>
                    </a:lnTo>
                    <a:lnTo>
                      <a:pt x="2428" y="1087"/>
                    </a:lnTo>
                    <a:lnTo>
                      <a:pt x="2416" y="1148"/>
                    </a:lnTo>
                    <a:lnTo>
                      <a:pt x="2420" y="1225"/>
                    </a:lnTo>
                    <a:lnTo>
                      <a:pt x="2444" y="1359"/>
                    </a:lnTo>
                    <a:lnTo>
                      <a:pt x="2466" y="1404"/>
                    </a:lnTo>
                    <a:lnTo>
                      <a:pt x="2500" y="1435"/>
                    </a:lnTo>
                    <a:lnTo>
                      <a:pt x="2544" y="1455"/>
                    </a:lnTo>
                    <a:lnTo>
                      <a:pt x="2595" y="1472"/>
                    </a:lnTo>
                    <a:lnTo>
                      <a:pt x="2770" y="1515"/>
                    </a:lnTo>
                    <a:lnTo>
                      <a:pt x="2946" y="1550"/>
                    </a:lnTo>
                    <a:lnTo>
                      <a:pt x="3014" y="1575"/>
                    </a:lnTo>
                    <a:lnTo>
                      <a:pt x="3074" y="1610"/>
                    </a:lnTo>
                    <a:lnTo>
                      <a:pt x="3139" y="1665"/>
                    </a:lnTo>
                    <a:lnTo>
                      <a:pt x="3180" y="1709"/>
                    </a:lnTo>
                    <a:lnTo>
                      <a:pt x="3238" y="1799"/>
                    </a:lnTo>
                    <a:lnTo>
                      <a:pt x="3271" y="1874"/>
                    </a:lnTo>
                    <a:lnTo>
                      <a:pt x="3293" y="1957"/>
                    </a:lnTo>
                    <a:lnTo>
                      <a:pt x="3301" y="2066"/>
                    </a:lnTo>
                    <a:lnTo>
                      <a:pt x="3304" y="2172"/>
                    </a:lnTo>
                    <a:lnTo>
                      <a:pt x="3318" y="2293"/>
                    </a:lnTo>
                    <a:lnTo>
                      <a:pt x="3337" y="2389"/>
                    </a:lnTo>
                    <a:lnTo>
                      <a:pt x="3354" y="2482"/>
                    </a:lnTo>
                    <a:lnTo>
                      <a:pt x="3362" y="2597"/>
                    </a:lnTo>
                    <a:lnTo>
                      <a:pt x="3347" y="2846"/>
                    </a:lnTo>
                    <a:lnTo>
                      <a:pt x="3354" y="2877"/>
                    </a:lnTo>
                    <a:lnTo>
                      <a:pt x="3374" y="2909"/>
                    </a:lnTo>
                    <a:lnTo>
                      <a:pt x="3413" y="2960"/>
                    </a:lnTo>
                    <a:lnTo>
                      <a:pt x="3556" y="3191"/>
                    </a:lnTo>
                    <a:lnTo>
                      <a:pt x="3620" y="3312"/>
                    </a:lnTo>
                    <a:lnTo>
                      <a:pt x="3666" y="3428"/>
                    </a:lnTo>
                    <a:lnTo>
                      <a:pt x="3703" y="3545"/>
                    </a:lnTo>
                    <a:lnTo>
                      <a:pt x="3745" y="3657"/>
                    </a:lnTo>
                    <a:lnTo>
                      <a:pt x="3826" y="3884"/>
                    </a:lnTo>
                    <a:lnTo>
                      <a:pt x="3853" y="3924"/>
                    </a:lnTo>
                    <a:lnTo>
                      <a:pt x="3890" y="3948"/>
                    </a:lnTo>
                    <a:lnTo>
                      <a:pt x="3948" y="3961"/>
                    </a:lnTo>
                    <a:lnTo>
                      <a:pt x="4004" y="3981"/>
                    </a:lnTo>
                    <a:lnTo>
                      <a:pt x="4081" y="4021"/>
                    </a:lnTo>
                    <a:lnTo>
                      <a:pt x="4144" y="4078"/>
                    </a:lnTo>
                    <a:lnTo>
                      <a:pt x="4205" y="4120"/>
                    </a:lnTo>
                    <a:lnTo>
                      <a:pt x="4346" y="4195"/>
                    </a:lnTo>
                    <a:lnTo>
                      <a:pt x="4352" y="4204"/>
                    </a:lnTo>
                    <a:lnTo>
                      <a:pt x="4349" y="4217"/>
                    </a:lnTo>
                    <a:lnTo>
                      <a:pt x="4329" y="4234"/>
                    </a:lnTo>
                    <a:lnTo>
                      <a:pt x="4272" y="4244"/>
                    </a:lnTo>
                    <a:lnTo>
                      <a:pt x="4217" y="4234"/>
                    </a:lnTo>
                    <a:lnTo>
                      <a:pt x="4144" y="4198"/>
                    </a:lnTo>
                    <a:lnTo>
                      <a:pt x="4114" y="4188"/>
                    </a:lnTo>
                    <a:lnTo>
                      <a:pt x="4102" y="4189"/>
                    </a:lnTo>
                    <a:lnTo>
                      <a:pt x="4094" y="4196"/>
                    </a:lnTo>
                    <a:lnTo>
                      <a:pt x="4086" y="4217"/>
                    </a:lnTo>
                    <a:lnTo>
                      <a:pt x="4087" y="4239"/>
                    </a:lnTo>
                    <a:lnTo>
                      <a:pt x="4107" y="4287"/>
                    </a:lnTo>
                    <a:lnTo>
                      <a:pt x="4175" y="4382"/>
                    </a:lnTo>
                    <a:lnTo>
                      <a:pt x="4258" y="4491"/>
                    </a:lnTo>
                    <a:lnTo>
                      <a:pt x="4286" y="4539"/>
                    </a:lnTo>
                    <a:lnTo>
                      <a:pt x="4287" y="4557"/>
                    </a:lnTo>
                    <a:lnTo>
                      <a:pt x="4279" y="4571"/>
                    </a:lnTo>
                    <a:lnTo>
                      <a:pt x="4253" y="4581"/>
                    </a:lnTo>
                    <a:lnTo>
                      <a:pt x="4239" y="4578"/>
                    </a:lnTo>
                    <a:lnTo>
                      <a:pt x="4197" y="4540"/>
                    </a:lnTo>
                    <a:lnTo>
                      <a:pt x="4155" y="4506"/>
                    </a:lnTo>
                    <a:lnTo>
                      <a:pt x="4113" y="4472"/>
                    </a:lnTo>
                    <a:lnTo>
                      <a:pt x="4081" y="4429"/>
                    </a:lnTo>
                    <a:lnTo>
                      <a:pt x="4135" y="4545"/>
                    </a:lnTo>
                    <a:lnTo>
                      <a:pt x="4189" y="4617"/>
                    </a:lnTo>
                    <a:lnTo>
                      <a:pt x="4204" y="4654"/>
                    </a:lnTo>
                    <a:lnTo>
                      <a:pt x="4201" y="4672"/>
                    </a:lnTo>
                    <a:lnTo>
                      <a:pt x="4192" y="4692"/>
                    </a:lnTo>
                    <a:lnTo>
                      <a:pt x="4173" y="4700"/>
                    </a:lnTo>
                    <a:lnTo>
                      <a:pt x="4155" y="4694"/>
                    </a:lnTo>
                    <a:lnTo>
                      <a:pt x="4117" y="4665"/>
                    </a:lnTo>
                    <a:lnTo>
                      <a:pt x="4074" y="4621"/>
                    </a:lnTo>
                    <a:lnTo>
                      <a:pt x="4039" y="4571"/>
                    </a:lnTo>
                    <a:lnTo>
                      <a:pt x="4006" y="4520"/>
                    </a:lnTo>
                    <a:lnTo>
                      <a:pt x="3969" y="4474"/>
                    </a:lnTo>
                    <a:lnTo>
                      <a:pt x="4007" y="4566"/>
                    </a:lnTo>
                    <a:lnTo>
                      <a:pt x="4034" y="4649"/>
                    </a:lnTo>
                    <a:lnTo>
                      <a:pt x="4042" y="4711"/>
                    </a:lnTo>
                    <a:lnTo>
                      <a:pt x="4038" y="4730"/>
                    </a:lnTo>
                    <a:lnTo>
                      <a:pt x="4028" y="4741"/>
                    </a:lnTo>
                    <a:lnTo>
                      <a:pt x="4005" y="4741"/>
                    </a:lnTo>
                    <a:lnTo>
                      <a:pt x="3985" y="4732"/>
                    </a:lnTo>
                    <a:lnTo>
                      <a:pt x="3938" y="4657"/>
                    </a:lnTo>
                    <a:lnTo>
                      <a:pt x="3854" y="4484"/>
                    </a:lnTo>
                    <a:lnTo>
                      <a:pt x="3867" y="4587"/>
                    </a:lnTo>
                    <a:lnTo>
                      <a:pt x="3869" y="4638"/>
                    </a:lnTo>
                    <a:lnTo>
                      <a:pt x="3862" y="4687"/>
                    </a:lnTo>
                    <a:lnTo>
                      <a:pt x="3847" y="4704"/>
                    </a:lnTo>
                    <a:lnTo>
                      <a:pt x="3830" y="4700"/>
                    </a:lnTo>
                    <a:lnTo>
                      <a:pt x="3811" y="4680"/>
                    </a:lnTo>
                    <a:lnTo>
                      <a:pt x="3800" y="4660"/>
                    </a:lnTo>
                    <a:lnTo>
                      <a:pt x="3726" y="4397"/>
                    </a:lnTo>
                    <a:lnTo>
                      <a:pt x="3703" y="4335"/>
                    </a:lnTo>
                    <a:lnTo>
                      <a:pt x="3674" y="4272"/>
                    </a:lnTo>
                    <a:lnTo>
                      <a:pt x="3574" y="4071"/>
                    </a:lnTo>
                    <a:lnTo>
                      <a:pt x="3519" y="4010"/>
                    </a:lnTo>
                    <a:lnTo>
                      <a:pt x="3482" y="3979"/>
                    </a:lnTo>
                    <a:lnTo>
                      <a:pt x="3349" y="3829"/>
                    </a:lnTo>
                    <a:lnTo>
                      <a:pt x="3254" y="3702"/>
                    </a:lnTo>
                    <a:lnTo>
                      <a:pt x="3036" y="3339"/>
                    </a:lnTo>
                    <a:lnTo>
                      <a:pt x="3003" y="3297"/>
                    </a:lnTo>
                    <a:lnTo>
                      <a:pt x="2975" y="3253"/>
                    </a:lnTo>
                    <a:lnTo>
                      <a:pt x="2927" y="3068"/>
                    </a:lnTo>
                    <a:lnTo>
                      <a:pt x="2884" y="2882"/>
                    </a:lnTo>
                    <a:lnTo>
                      <a:pt x="2872" y="2998"/>
                    </a:lnTo>
                    <a:lnTo>
                      <a:pt x="2846" y="3147"/>
                    </a:lnTo>
                    <a:lnTo>
                      <a:pt x="2798" y="3407"/>
                    </a:lnTo>
                    <a:lnTo>
                      <a:pt x="2795" y="3492"/>
                    </a:lnTo>
                    <a:lnTo>
                      <a:pt x="2803" y="3574"/>
                    </a:lnTo>
                    <a:lnTo>
                      <a:pt x="2838" y="3723"/>
                    </a:lnTo>
                    <a:lnTo>
                      <a:pt x="2874" y="3855"/>
                    </a:lnTo>
                    <a:lnTo>
                      <a:pt x="2883" y="3916"/>
                    </a:lnTo>
                    <a:lnTo>
                      <a:pt x="2879" y="3972"/>
                    </a:lnTo>
                    <a:lnTo>
                      <a:pt x="2877" y="4029"/>
                    </a:lnTo>
                    <a:lnTo>
                      <a:pt x="2890" y="4079"/>
                    </a:lnTo>
                    <a:lnTo>
                      <a:pt x="2906" y="4128"/>
                    </a:lnTo>
                    <a:lnTo>
                      <a:pt x="2921" y="4186"/>
                    </a:lnTo>
                    <a:lnTo>
                      <a:pt x="2948" y="4416"/>
                    </a:lnTo>
                    <a:lnTo>
                      <a:pt x="2968" y="4647"/>
                    </a:lnTo>
                    <a:lnTo>
                      <a:pt x="2970" y="4846"/>
                    </a:lnTo>
                    <a:lnTo>
                      <a:pt x="2970" y="5045"/>
                    </a:lnTo>
                    <a:lnTo>
                      <a:pt x="2957" y="5165"/>
                    </a:lnTo>
                    <a:lnTo>
                      <a:pt x="2925" y="5366"/>
                    </a:lnTo>
                    <a:lnTo>
                      <a:pt x="2836" y="5744"/>
                    </a:lnTo>
                    <a:lnTo>
                      <a:pt x="2798" y="5956"/>
                    </a:lnTo>
                    <a:lnTo>
                      <a:pt x="2756" y="6194"/>
                    </a:lnTo>
                    <a:lnTo>
                      <a:pt x="2727" y="6327"/>
                    </a:lnTo>
                    <a:lnTo>
                      <a:pt x="2712" y="6455"/>
                    </a:lnTo>
                    <a:lnTo>
                      <a:pt x="2701" y="6714"/>
                    </a:lnTo>
                    <a:lnTo>
                      <a:pt x="2696" y="6893"/>
                    </a:lnTo>
                    <a:lnTo>
                      <a:pt x="2680" y="7071"/>
                    </a:lnTo>
                    <a:lnTo>
                      <a:pt x="2642" y="7273"/>
                    </a:lnTo>
                    <a:lnTo>
                      <a:pt x="2594" y="7476"/>
                    </a:lnTo>
                    <a:lnTo>
                      <a:pt x="2507" y="7721"/>
                    </a:lnTo>
                    <a:lnTo>
                      <a:pt x="2468" y="7841"/>
                    </a:lnTo>
                    <a:lnTo>
                      <a:pt x="2452" y="7896"/>
                    </a:lnTo>
                    <a:lnTo>
                      <a:pt x="2458" y="7956"/>
                    </a:lnTo>
                    <a:lnTo>
                      <a:pt x="2463" y="8029"/>
                    </a:lnTo>
                    <a:lnTo>
                      <a:pt x="2478" y="8102"/>
                    </a:lnTo>
                    <a:lnTo>
                      <a:pt x="2497" y="8135"/>
                    </a:lnTo>
                    <a:lnTo>
                      <a:pt x="2513" y="8170"/>
                    </a:lnTo>
                    <a:lnTo>
                      <a:pt x="2524" y="8214"/>
                    </a:lnTo>
                    <a:lnTo>
                      <a:pt x="2530" y="8232"/>
                    </a:lnTo>
                    <a:lnTo>
                      <a:pt x="2544" y="8248"/>
                    </a:lnTo>
                    <a:lnTo>
                      <a:pt x="2556" y="8269"/>
                    </a:lnTo>
                    <a:lnTo>
                      <a:pt x="2567" y="8292"/>
                    </a:lnTo>
                    <a:lnTo>
                      <a:pt x="2601" y="8322"/>
                    </a:lnTo>
                    <a:lnTo>
                      <a:pt x="2624" y="8361"/>
                    </a:lnTo>
                    <a:lnTo>
                      <a:pt x="2635" y="8403"/>
                    </a:lnTo>
                    <a:lnTo>
                      <a:pt x="2630" y="8445"/>
                    </a:lnTo>
                    <a:lnTo>
                      <a:pt x="2606" y="8473"/>
                    </a:lnTo>
                    <a:lnTo>
                      <a:pt x="2567" y="8487"/>
                    </a:lnTo>
                    <a:lnTo>
                      <a:pt x="2554" y="8506"/>
                    </a:lnTo>
                    <a:lnTo>
                      <a:pt x="2524" y="8518"/>
                    </a:lnTo>
                    <a:lnTo>
                      <a:pt x="2496" y="8532"/>
                    </a:lnTo>
                    <a:lnTo>
                      <a:pt x="2480" y="8544"/>
                    </a:lnTo>
                    <a:lnTo>
                      <a:pt x="2465" y="8556"/>
                    </a:lnTo>
                    <a:lnTo>
                      <a:pt x="2437" y="8569"/>
                    </a:lnTo>
                    <a:lnTo>
                      <a:pt x="2415" y="8586"/>
                    </a:lnTo>
                    <a:lnTo>
                      <a:pt x="2392" y="8603"/>
                    </a:lnTo>
                    <a:lnTo>
                      <a:pt x="2366" y="8617"/>
                    </a:lnTo>
                    <a:lnTo>
                      <a:pt x="2314" y="8622"/>
                    </a:lnTo>
                    <a:lnTo>
                      <a:pt x="2271" y="8610"/>
                    </a:lnTo>
                    <a:lnTo>
                      <a:pt x="2217" y="8558"/>
                    </a:lnTo>
                    <a:lnTo>
                      <a:pt x="2181" y="8501"/>
                    </a:lnTo>
                    <a:lnTo>
                      <a:pt x="2159" y="8437"/>
                    </a:lnTo>
                    <a:lnTo>
                      <a:pt x="2148" y="8368"/>
                    </a:lnTo>
                    <a:lnTo>
                      <a:pt x="2145" y="8225"/>
                    </a:lnTo>
                    <a:lnTo>
                      <a:pt x="2145" y="8086"/>
                    </a:lnTo>
                    <a:lnTo>
                      <a:pt x="2133" y="7982"/>
                    </a:lnTo>
                    <a:lnTo>
                      <a:pt x="2129" y="7942"/>
                    </a:lnTo>
                    <a:lnTo>
                      <a:pt x="2133" y="7902"/>
                    </a:lnTo>
                    <a:lnTo>
                      <a:pt x="2158" y="7843"/>
                    </a:lnTo>
                    <a:lnTo>
                      <a:pt x="2179" y="7760"/>
                    </a:lnTo>
                    <a:lnTo>
                      <a:pt x="2182" y="7677"/>
                    </a:lnTo>
                    <a:lnTo>
                      <a:pt x="2179" y="7506"/>
                    </a:lnTo>
                    <a:lnTo>
                      <a:pt x="2171" y="7354"/>
                    </a:lnTo>
                    <a:lnTo>
                      <a:pt x="2151" y="7203"/>
                    </a:lnTo>
                    <a:lnTo>
                      <a:pt x="2150" y="7114"/>
                    </a:lnTo>
                    <a:lnTo>
                      <a:pt x="2154" y="7020"/>
                    </a:lnTo>
                    <a:lnTo>
                      <a:pt x="2165" y="6910"/>
                    </a:lnTo>
                    <a:lnTo>
                      <a:pt x="2188" y="6794"/>
                    </a:lnTo>
                    <a:lnTo>
                      <a:pt x="2213" y="6638"/>
                    </a:lnTo>
                    <a:lnTo>
                      <a:pt x="2230" y="6504"/>
                    </a:lnTo>
                    <a:lnTo>
                      <a:pt x="2235" y="6384"/>
                    </a:lnTo>
                    <a:lnTo>
                      <a:pt x="2227" y="6229"/>
                    </a:lnTo>
                    <a:lnTo>
                      <a:pt x="2207" y="6069"/>
                    </a:lnTo>
                    <a:lnTo>
                      <a:pt x="2189" y="5965"/>
                    </a:lnTo>
                    <a:lnTo>
                      <a:pt x="2180" y="5866"/>
                    </a:lnTo>
                    <a:lnTo>
                      <a:pt x="2150" y="5398"/>
                    </a:lnTo>
                    <a:lnTo>
                      <a:pt x="2139" y="5122"/>
                    </a:lnTo>
                    <a:lnTo>
                      <a:pt x="2140" y="4967"/>
                    </a:lnTo>
                    <a:lnTo>
                      <a:pt x="2082" y="5613"/>
                    </a:lnTo>
                    <a:lnTo>
                      <a:pt x="2029" y="5922"/>
                    </a:lnTo>
                    <a:lnTo>
                      <a:pt x="1982" y="6230"/>
                    </a:lnTo>
                    <a:lnTo>
                      <a:pt x="1947" y="6461"/>
                    </a:lnTo>
                    <a:lnTo>
                      <a:pt x="1946" y="6572"/>
                    </a:lnTo>
                    <a:lnTo>
                      <a:pt x="1965" y="6695"/>
                    </a:lnTo>
                    <a:lnTo>
                      <a:pt x="1982" y="6861"/>
                    </a:lnTo>
                    <a:lnTo>
                      <a:pt x="1966" y="7255"/>
                    </a:lnTo>
                    <a:lnTo>
                      <a:pt x="1950" y="7497"/>
                    </a:lnTo>
                    <a:lnTo>
                      <a:pt x="1945" y="7665"/>
                    </a:lnTo>
                    <a:lnTo>
                      <a:pt x="1950" y="7749"/>
                    </a:lnTo>
                    <a:lnTo>
                      <a:pt x="1968" y="7832"/>
                    </a:lnTo>
                    <a:lnTo>
                      <a:pt x="1995" y="7891"/>
                    </a:lnTo>
                    <a:lnTo>
                      <a:pt x="1999" y="7930"/>
                    </a:lnTo>
                    <a:lnTo>
                      <a:pt x="1995" y="7971"/>
                    </a:lnTo>
                    <a:lnTo>
                      <a:pt x="1982" y="8074"/>
                    </a:lnTo>
                    <a:lnTo>
                      <a:pt x="1984" y="8214"/>
                    </a:lnTo>
                    <a:lnTo>
                      <a:pt x="1980" y="8358"/>
                    </a:lnTo>
                    <a:lnTo>
                      <a:pt x="1968" y="8426"/>
                    </a:lnTo>
                    <a:lnTo>
                      <a:pt x="1946" y="8489"/>
                    </a:lnTo>
                    <a:lnTo>
                      <a:pt x="1910" y="8548"/>
                    </a:lnTo>
                    <a:lnTo>
                      <a:pt x="1855" y="8599"/>
                    </a:lnTo>
                    <a:lnTo>
                      <a:pt x="1814" y="8611"/>
                    </a:lnTo>
                    <a:lnTo>
                      <a:pt x="1763" y="8606"/>
                    </a:lnTo>
                    <a:lnTo>
                      <a:pt x="1736" y="8593"/>
                    </a:lnTo>
                    <a:lnTo>
                      <a:pt x="1712" y="8576"/>
                    </a:lnTo>
                    <a:lnTo>
                      <a:pt x="1690" y="8557"/>
                    </a:lnTo>
                    <a:lnTo>
                      <a:pt x="1663" y="8544"/>
                    </a:lnTo>
                    <a:lnTo>
                      <a:pt x="1648" y="8535"/>
                    </a:lnTo>
                    <a:lnTo>
                      <a:pt x="1633" y="8521"/>
                    </a:lnTo>
                    <a:lnTo>
                      <a:pt x="1604" y="8508"/>
                    </a:lnTo>
                    <a:lnTo>
                      <a:pt x="1573" y="8495"/>
                    </a:lnTo>
                    <a:lnTo>
                      <a:pt x="1560" y="8476"/>
                    </a:lnTo>
                    <a:lnTo>
                      <a:pt x="1522" y="8461"/>
                    </a:lnTo>
                    <a:lnTo>
                      <a:pt x="1496" y="8434"/>
                    </a:lnTo>
                    <a:lnTo>
                      <a:pt x="1493" y="8391"/>
                    </a:lnTo>
                    <a:lnTo>
                      <a:pt x="1504" y="8350"/>
                    </a:lnTo>
                    <a:lnTo>
                      <a:pt x="1528" y="8313"/>
                    </a:lnTo>
                    <a:lnTo>
                      <a:pt x="1560" y="8282"/>
                    </a:lnTo>
                    <a:lnTo>
                      <a:pt x="1572" y="8260"/>
                    </a:lnTo>
                    <a:lnTo>
                      <a:pt x="1584" y="8238"/>
                    </a:lnTo>
                    <a:lnTo>
                      <a:pt x="1597" y="8221"/>
                    </a:lnTo>
                    <a:lnTo>
                      <a:pt x="1604" y="8203"/>
                    </a:lnTo>
                    <a:lnTo>
                      <a:pt x="1614" y="8161"/>
                    </a:lnTo>
                    <a:lnTo>
                      <a:pt x="1632" y="8124"/>
                    </a:lnTo>
                    <a:lnTo>
                      <a:pt x="1649" y="8092"/>
                    </a:lnTo>
                    <a:lnTo>
                      <a:pt x="1664" y="8018"/>
                    </a:lnTo>
                    <a:lnTo>
                      <a:pt x="1670" y="7944"/>
                    </a:lnTo>
                    <a:lnTo>
                      <a:pt x="1675" y="7885"/>
                    </a:lnTo>
                    <a:lnTo>
                      <a:pt x="1660" y="7830"/>
                    </a:lnTo>
                    <a:lnTo>
                      <a:pt x="1619" y="7709"/>
                    </a:lnTo>
                    <a:lnTo>
                      <a:pt x="1573" y="7588"/>
                    </a:lnTo>
                    <a:close/>
                  </a:path>
                </a:pathLst>
              </a:custGeom>
              <a:solidFill>
                <a:srgbClr val="DDDDDD"/>
              </a:solidFill>
              <a:ln w="7938">
                <a:solidFill>
                  <a:schemeClr val="tx1"/>
                </a:solidFill>
                <a:prstDash val="solid"/>
                <a:round/>
                <a:headEnd/>
                <a:tailEnd/>
              </a:ln>
            </p:spPr>
            <p:txBody>
              <a:bodyPr rtlCol="0"/>
              <a:lstStyle/>
              <a:p>
                <a:pPr rtl="0"/>
                <a:endParaRPr lang="en-US"/>
              </a:p>
            </p:txBody>
          </p:sp>
          <p:sp>
            <p:nvSpPr>
              <p:cNvPr id="797" name="Line 798">
                <a:extLst>
                  <a:ext uri="{FF2B5EF4-FFF2-40B4-BE49-F238E27FC236}">
                    <a16:creationId xmlns:a16="http://schemas.microsoft.com/office/drawing/2014/main" id="{7ECCBDC5-B490-F561-6404-324E107745B8}"/>
                  </a:ext>
                </a:extLst>
              </p:cNvPr>
              <p:cNvSpPr>
                <a:spLocks noChangeShapeType="1"/>
              </p:cNvSpPr>
              <p:nvPr/>
            </p:nvSpPr>
            <p:spPr bwMode="auto">
              <a:xfrm>
                <a:off x="2851" y="2321"/>
                <a:ext cx="10" cy="16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98" name="Line 799">
                <a:extLst>
                  <a:ext uri="{FF2B5EF4-FFF2-40B4-BE49-F238E27FC236}">
                    <a16:creationId xmlns:a16="http://schemas.microsoft.com/office/drawing/2014/main" id="{D6F47043-C9DD-DF23-99C0-FB2219592508}"/>
                  </a:ext>
                </a:extLst>
              </p:cNvPr>
              <p:cNvSpPr>
                <a:spLocks noChangeShapeType="1"/>
              </p:cNvSpPr>
              <p:nvPr/>
            </p:nvSpPr>
            <p:spPr bwMode="auto">
              <a:xfrm>
                <a:off x="3231" y="1208"/>
                <a:ext cx="2" cy="23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99" name="Line 800">
                <a:extLst>
                  <a:ext uri="{FF2B5EF4-FFF2-40B4-BE49-F238E27FC236}">
                    <a16:creationId xmlns:a16="http://schemas.microsoft.com/office/drawing/2014/main" id="{0952F0C4-1A1B-5308-4F8D-E139CB5FE486}"/>
                  </a:ext>
                </a:extLst>
              </p:cNvPr>
              <p:cNvSpPr>
                <a:spLocks noChangeShapeType="1"/>
              </p:cNvSpPr>
              <p:nvPr/>
            </p:nvSpPr>
            <p:spPr bwMode="auto">
              <a:xfrm flipH="1">
                <a:off x="2493" y="1220"/>
                <a:ext cx="16" cy="145"/>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grpSp>
        <p:grpSp>
          <p:nvGrpSpPr>
            <p:cNvPr id="791" name="Group 801">
              <a:extLst>
                <a:ext uri="{FF2B5EF4-FFF2-40B4-BE49-F238E27FC236}">
                  <a16:creationId xmlns:a16="http://schemas.microsoft.com/office/drawing/2014/main" id="{808AE774-CB53-1681-17D9-9F67F5187518}"/>
                </a:ext>
              </a:extLst>
            </p:cNvPr>
            <p:cNvGrpSpPr>
              <a:grpSpLocks/>
            </p:cNvGrpSpPr>
            <p:nvPr/>
          </p:nvGrpSpPr>
          <p:grpSpPr bwMode="auto">
            <a:xfrm>
              <a:off x="11078504" y="3116253"/>
              <a:ext cx="792162" cy="1341438"/>
              <a:chOff x="1792" y="5"/>
              <a:chExt cx="2175" cy="4310"/>
            </a:xfrm>
          </p:grpSpPr>
          <p:sp>
            <p:nvSpPr>
              <p:cNvPr id="792" name="Freeform 802">
                <a:extLst>
                  <a:ext uri="{FF2B5EF4-FFF2-40B4-BE49-F238E27FC236}">
                    <a16:creationId xmlns:a16="http://schemas.microsoft.com/office/drawing/2014/main" id="{0C96D6BA-C52F-75DB-2B4C-D08FEEEBB338}"/>
                  </a:ext>
                </a:extLst>
              </p:cNvPr>
              <p:cNvSpPr>
                <a:spLocks/>
              </p:cNvSpPr>
              <p:nvPr/>
            </p:nvSpPr>
            <p:spPr bwMode="auto">
              <a:xfrm>
                <a:off x="1792" y="5"/>
                <a:ext cx="2175" cy="4310"/>
              </a:xfrm>
              <a:custGeom>
                <a:avLst/>
                <a:gdLst>
                  <a:gd name="T0" fmla="*/ 352 w 4352"/>
                  <a:gd name="T1" fmla="*/ 1681 h 8622"/>
                  <a:gd name="T2" fmla="*/ 356 w 4352"/>
                  <a:gd name="T3" fmla="*/ 1480 h 8622"/>
                  <a:gd name="T4" fmla="*/ 316 w 4352"/>
                  <a:gd name="T5" fmla="*/ 1192 h 8622"/>
                  <a:gd name="T6" fmla="*/ 349 w 4352"/>
                  <a:gd name="T7" fmla="*/ 987 h 8622"/>
                  <a:gd name="T8" fmla="*/ 365 w 4352"/>
                  <a:gd name="T9" fmla="*/ 803 h 8622"/>
                  <a:gd name="T10" fmla="*/ 338 w 4352"/>
                  <a:gd name="T11" fmla="*/ 709 h 8622"/>
                  <a:gd name="T12" fmla="*/ 281 w 4352"/>
                  <a:gd name="T13" fmla="*/ 870 h 8622"/>
                  <a:gd name="T14" fmla="*/ 158 w 4352"/>
                  <a:gd name="T15" fmla="*/ 1057 h 8622"/>
                  <a:gd name="T16" fmla="*/ 125 w 4352"/>
                  <a:gd name="T17" fmla="*/ 1160 h 8622"/>
                  <a:gd name="T18" fmla="*/ 101 w 4352"/>
                  <a:gd name="T19" fmla="*/ 1183 h 8622"/>
                  <a:gd name="T20" fmla="*/ 58 w 4352"/>
                  <a:gd name="T21" fmla="*/ 1183 h 8622"/>
                  <a:gd name="T22" fmla="*/ 70 w 4352"/>
                  <a:gd name="T23" fmla="*/ 1111 h 8622"/>
                  <a:gd name="T24" fmla="*/ 20 w 4352"/>
                  <a:gd name="T25" fmla="*/ 1154 h 8622"/>
                  <a:gd name="T26" fmla="*/ 43 w 4352"/>
                  <a:gd name="T27" fmla="*/ 1064 h 8622"/>
                  <a:gd name="T28" fmla="*/ 12 w 4352"/>
                  <a:gd name="T29" fmla="*/ 1058 h 8622"/>
                  <a:gd name="T30" fmla="*/ 85 w 4352"/>
                  <a:gd name="T31" fmla="*/ 999 h 8622"/>
                  <a:gd name="T32" fmla="*/ 148 w 4352"/>
                  <a:gd name="T33" fmla="*/ 857 h 8622"/>
                  <a:gd name="T34" fmla="*/ 226 w 4352"/>
                  <a:gd name="T35" fmla="*/ 711 h 8622"/>
                  <a:gd name="T36" fmla="*/ 247 w 4352"/>
                  <a:gd name="T37" fmla="*/ 488 h 8622"/>
                  <a:gd name="T38" fmla="*/ 348 w 4352"/>
                  <a:gd name="T39" fmla="*/ 384 h 8622"/>
                  <a:gd name="T40" fmla="*/ 466 w 4352"/>
                  <a:gd name="T41" fmla="*/ 293 h 8622"/>
                  <a:gd name="T42" fmla="*/ 444 w 4352"/>
                  <a:gd name="T43" fmla="*/ 208 h 8622"/>
                  <a:gd name="T44" fmla="*/ 417 w 4352"/>
                  <a:gd name="T45" fmla="*/ 161 h 8622"/>
                  <a:gd name="T46" fmla="*/ 434 w 4352"/>
                  <a:gd name="T47" fmla="*/ 64 h 8622"/>
                  <a:gd name="T48" fmla="*/ 544 w 4352"/>
                  <a:gd name="T49" fmla="*/ 1 h 8622"/>
                  <a:gd name="T50" fmla="*/ 629 w 4352"/>
                  <a:gd name="T51" fmla="*/ 75 h 8622"/>
                  <a:gd name="T52" fmla="*/ 650 w 4352"/>
                  <a:gd name="T53" fmla="*/ 136 h 8622"/>
                  <a:gd name="T54" fmla="*/ 621 w 4352"/>
                  <a:gd name="T55" fmla="*/ 230 h 8622"/>
                  <a:gd name="T56" fmla="*/ 624 w 4352"/>
                  <a:gd name="T57" fmla="*/ 358 h 8622"/>
                  <a:gd name="T58" fmla="*/ 784 w 4352"/>
                  <a:gd name="T59" fmla="*/ 416 h 8622"/>
                  <a:gd name="T60" fmla="*/ 829 w 4352"/>
                  <a:gd name="T61" fmla="*/ 573 h 8622"/>
                  <a:gd name="T62" fmla="*/ 853 w 4352"/>
                  <a:gd name="T63" fmla="*/ 740 h 8622"/>
                  <a:gd name="T64" fmla="*/ 963 w 4352"/>
                  <a:gd name="T65" fmla="*/ 981 h 8622"/>
                  <a:gd name="T66" fmla="*/ 1086 w 4352"/>
                  <a:gd name="T67" fmla="*/ 1048 h 8622"/>
                  <a:gd name="T68" fmla="*/ 1028 w 4352"/>
                  <a:gd name="T69" fmla="*/ 1047 h 8622"/>
                  <a:gd name="T70" fmla="*/ 1064 w 4352"/>
                  <a:gd name="T71" fmla="*/ 1122 h 8622"/>
                  <a:gd name="T72" fmla="*/ 1038 w 4352"/>
                  <a:gd name="T73" fmla="*/ 1126 h 8622"/>
                  <a:gd name="T74" fmla="*/ 1047 w 4352"/>
                  <a:gd name="T75" fmla="*/ 1172 h 8622"/>
                  <a:gd name="T76" fmla="*/ 992 w 4352"/>
                  <a:gd name="T77" fmla="*/ 1118 h 8622"/>
                  <a:gd name="T78" fmla="*/ 996 w 4352"/>
                  <a:gd name="T79" fmla="*/ 1182 h 8622"/>
                  <a:gd name="T80" fmla="*/ 957 w 4352"/>
                  <a:gd name="T81" fmla="*/ 1174 h 8622"/>
                  <a:gd name="T82" fmla="*/ 879 w 4352"/>
                  <a:gd name="T83" fmla="*/ 1002 h 8622"/>
                  <a:gd name="T84" fmla="*/ 731 w 4352"/>
                  <a:gd name="T85" fmla="*/ 767 h 8622"/>
                  <a:gd name="T86" fmla="*/ 709 w 4352"/>
                  <a:gd name="T87" fmla="*/ 930 h 8622"/>
                  <a:gd name="T88" fmla="*/ 730 w 4352"/>
                  <a:gd name="T89" fmla="*/ 1046 h 8622"/>
                  <a:gd name="T90" fmla="*/ 708 w 4352"/>
                  <a:gd name="T91" fmla="*/ 1435 h 8622"/>
                  <a:gd name="T92" fmla="*/ 669 w 4352"/>
                  <a:gd name="T93" fmla="*/ 1767 h 8622"/>
                  <a:gd name="T94" fmla="*/ 615 w 4352"/>
                  <a:gd name="T95" fmla="*/ 2007 h 8622"/>
                  <a:gd name="T96" fmla="*/ 638 w 4352"/>
                  <a:gd name="T97" fmla="*/ 2067 h 8622"/>
                  <a:gd name="T98" fmla="*/ 641 w 4352"/>
                  <a:gd name="T99" fmla="*/ 2121 h 8622"/>
                  <a:gd name="T100" fmla="*/ 603 w 4352"/>
                  <a:gd name="T101" fmla="*/ 2146 h 8622"/>
                  <a:gd name="T102" fmla="*/ 539 w 4352"/>
                  <a:gd name="T103" fmla="*/ 2109 h 8622"/>
                  <a:gd name="T104" fmla="*/ 539 w 4352"/>
                  <a:gd name="T105" fmla="*/ 1960 h 8622"/>
                  <a:gd name="T106" fmla="*/ 538 w 4352"/>
                  <a:gd name="T107" fmla="*/ 1754 h 8622"/>
                  <a:gd name="T108" fmla="*/ 551 w 4352"/>
                  <a:gd name="T109" fmla="*/ 1517 h 8622"/>
                  <a:gd name="T110" fmla="*/ 507 w 4352"/>
                  <a:gd name="T111" fmla="*/ 1480 h 8622"/>
                  <a:gd name="T112" fmla="*/ 487 w 4352"/>
                  <a:gd name="T113" fmla="*/ 1874 h 8622"/>
                  <a:gd name="T114" fmla="*/ 495 w 4352"/>
                  <a:gd name="T115" fmla="*/ 2018 h 8622"/>
                  <a:gd name="T116" fmla="*/ 453 w 4352"/>
                  <a:gd name="T117" fmla="*/ 2152 h 8622"/>
                  <a:gd name="T118" fmla="*/ 408 w 4352"/>
                  <a:gd name="T119" fmla="*/ 2130 h 8622"/>
                  <a:gd name="T120" fmla="*/ 376 w 4352"/>
                  <a:gd name="T121" fmla="*/ 2087 h 8622"/>
                  <a:gd name="T122" fmla="*/ 403 w 4352"/>
                  <a:gd name="T123" fmla="*/ 2040 h 8622"/>
                  <a:gd name="T124" fmla="*/ 404 w 4352"/>
                  <a:gd name="T125" fmla="*/ 1927 h 86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352" h="8622">
                    <a:moveTo>
                      <a:pt x="1573" y="7588"/>
                    </a:moveTo>
                    <a:lnTo>
                      <a:pt x="1515" y="7412"/>
                    </a:lnTo>
                    <a:lnTo>
                      <a:pt x="1484" y="7293"/>
                    </a:lnTo>
                    <a:lnTo>
                      <a:pt x="1440" y="7103"/>
                    </a:lnTo>
                    <a:lnTo>
                      <a:pt x="1425" y="7020"/>
                    </a:lnTo>
                    <a:lnTo>
                      <a:pt x="1414" y="6918"/>
                    </a:lnTo>
                    <a:lnTo>
                      <a:pt x="1408" y="6725"/>
                    </a:lnTo>
                    <a:lnTo>
                      <a:pt x="1413" y="6628"/>
                    </a:lnTo>
                    <a:lnTo>
                      <a:pt x="1424" y="6531"/>
                    </a:lnTo>
                    <a:lnTo>
                      <a:pt x="1435" y="6429"/>
                    </a:lnTo>
                    <a:lnTo>
                      <a:pt x="1439" y="6332"/>
                    </a:lnTo>
                    <a:lnTo>
                      <a:pt x="1447" y="6130"/>
                    </a:lnTo>
                    <a:lnTo>
                      <a:pt x="1442" y="6026"/>
                    </a:lnTo>
                    <a:lnTo>
                      <a:pt x="1427" y="5922"/>
                    </a:lnTo>
                    <a:lnTo>
                      <a:pt x="1370" y="5681"/>
                    </a:lnTo>
                    <a:lnTo>
                      <a:pt x="1351" y="5613"/>
                    </a:lnTo>
                    <a:lnTo>
                      <a:pt x="1315" y="5377"/>
                    </a:lnTo>
                    <a:lnTo>
                      <a:pt x="1284" y="5149"/>
                    </a:lnTo>
                    <a:lnTo>
                      <a:pt x="1261" y="4922"/>
                    </a:lnTo>
                    <a:lnTo>
                      <a:pt x="1260" y="4847"/>
                    </a:lnTo>
                    <a:lnTo>
                      <a:pt x="1265" y="4769"/>
                    </a:lnTo>
                    <a:lnTo>
                      <a:pt x="1275" y="4616"/>
                    </a:lnTo>
                    <a:lnTo>
                      <a:pt x="1286" y="4465"/>
                    </a:lnTo>
                    <a:lnTo>
                      <a:pt x="1314" y="4312"/>
                    </a:lnTo>
                    <a:lnTo>
                      <a:pt x="1337" y="4225"/>
                    </a:lnTo>
                    <a:lnTo>
                      <a:pt x="1369" y="4131"/>
                    </a:lnTo>
                    <a:lnTo>
                      <a:pt x="1393" y="4035"/>
                    </a:lnTo>
                    <a:lnTo>
                      <a:pt x="1399" y="3951"/>
                    </a:lnTo>
                    <a:lnTo>
                      <a:pt x="1401" y="3856"/>
                    </a:lnTo>
                    <a:lnTo>
                      <a:pt x="1420" y="3774"/>
                    </a:lnTo>
                    <a:lnTo>
                      <a:pt x="1446" y="3689"/>
                    </a:lnTo>
                    <a:lnTo>
                      <a:pt x="1467" y="3588"/>
                    </a:lnTo>
                    <a:lnTo>
                      <a:pt x="1476" y="3497"/>
                    </a:lnTo>
                    <a:lnTo>
                      <a:pt x="1476" y="3403"/>
                    </a:lnTo>
                    <a:lnTo>
                      <a:pt x="1460" y="3214"/>
                    </a:lnTo>
                    <a:lnTo>
                      <a:pt x="1434" y="3025"/>
                    </a:lnTo>
                    <a:lnTo>
                      <a:pt x="1414" y="2838"/>
                    </a:lnTo>
                    <a:lnTo>
                      <a:pt x="1413" y="2780"/>
                    </a:lnTo>
                    <a:lnTo>
                      <a:pt x="1404" y="2721"/>
                    </a:lnTo>
                    <a:lnTo>
                      <a:pt x="1392" y="2748"/>
                    </a:lnTo>
                    <a:lnTo>
                      <a:pt x="1376" y="2774"/>
                    </a:lnTo>
                    <a:lnTo>
                      <a:pt x="1352" y="2839"/>
                    </a:lnTo>
                    <a:lnTo>
                      <a:pt x="1334" y="2918"/>
                    </a:lnTo>
                    <a:lnTo>
                      <a:pt x="1311" y="3074"/>
                    </a:lnTo>
                    <a:lnTo>
                      <a:pt x="1295" y="3149"/>
                    </a:lnTo>
                    <a:lnTo>
                      <a:pt x="1269" y="3226"/>
                    </a:lnTo>
                    <a:lnTo>
                      <a:pt x="1245" y="3295"/>
                    </a:lnTo>
                    <a:lnTo>
                      <a:pt x="1211" y="3360"/>
                    </a:lnTo>
                    <a:lnTo>
                      <a:pt x="1127" y="3483"/>
                    </a:lnTo>
                    <a:lnTo>
                      <a:pt x="1010" y="3634"/>
                    </a:lnTo>
                    <a:lnTo>
                      <a:pt x="883" y="3779"/>
                    </a:lnTo>
                    <a:lnTo>
                      <a:pt x="763" y="3919"/>
                    </a:lnTo>
                    <a:lnTo>
                      <a:pt x="657" y="4051"/>
                    </a:lnTo>
                    <a:lnTo>
                      <a:pt x="636" y="4097"/>
                    </a:lnTo>
                    <a:lnTo>
                      <a:pt x="640" y="4111"/>
                    </a:lnTo>
                    <a:lnTo>
                      <a:pt x="632" y="4230"/>
                    </a:lnTo>
                    <a:lnTo>
                      <a:pt x="612" y="4348"/>
                    </a:lnTo>
                    <a:lnTo>
                      <a:pt x="586" y="4519"/>
                    </a:lnTo>
                    <a:lnTo>
                      <a:pt x="572" y="4602"/>
                    </a:lnTo>
                    <a:lnTo>
                      <a:pt x="548" y="4684"/>
                    </a:lnTo>
                    <a:lnTo>
                      <a:pt x="529" y="4700"/>
                    </a:lnTo>
                    <a:lnTo>
                      <a:pt x="512" y="4701"/>
                    </a:lnTo>
                    <a:lnTo>
                      <a:pt x="500" y="4643"/>
                    </a:lnTo>
                    <a:lnTo>
                      <a:pt x="499" y="4583"/>
                    </a:lnTo>
                    <a:lnTo>
                      <a:pt x="502" y="4465"/>
                    </a:lnTo>
                    <a:lnTo>
                      <a:pt x="499" y="4467"/>
                    </a:lnTo>
                    <a:lnTo>
                      <a:pt x="493" y="4479"/>
                    </a:lnTo>
                    <a:lnTo>
                      <a:pt x="458" y="4609"/>
                    </a:lnTo>
                    <a:lnTo>
                      <a:pt x="436" y="4673"/>
                    </a:lnTo>
                    <a:lnTo>
                      <a:pt x="404" y="4736"/>
                    </a:lnTo>
                    <a:lnTo>
                      <a:pt x="385" y="4747"/>
                    </a:lnTo>
                    <a:lnTo>
                      <a:pt x="364" y="4744"/>
                    </a:lnTo>
                    <a:lnTo>
                      <a:pt x="356" y="4721"/>
                    </a:lnTo>
                    <a:lnTo>
                      <a:pt x="360" y="4694"/>
                    </a:lnTo>
                    <a:lnTo>
                      <a:pt x="401" y="4479"/>
                    </a:lnTo>
                    <a:lnTo>
                      <a:pt x="246" y="4725"/>
                    </a:lnTo>
                    <a:lnTo>
                      <a:pt x="235" y="4734"/>
                    </a:lnTo>
                    <a:lnTo>
                      <a:pt x="218" y="4739"/>
                    </a:lnTo>
                    <a:lnTo>
                      <a:pt x="188" y="4730"/>
                    </a:lnTo>
                    <a:lnTo>
                      <a:pt x="180" y="4704"/>
                    </a:lnTo>
                    <a:lnTo>
                      <a:pt x="184" y="4674"/>
                    </a:lnTo>
                    <a:lnTo>
                      <a:pt x="205" y="4616"/>
                    </a:lnTo>
                    <a:lnTo>
                      <a:pt x="232" y="4559"/>
                    </a:lnTo>
                    <a:lnTo>
                      <a:pt x="281" y="4445"/>
                    </a:lnTo>
                    <a:lnTo>
                      <a:pt x="216" y="4532"/>
                    </a:lnTo>
                    <a:lnTo>
                      <a:pt x="156" y="4626"/>
                    </a:lnTo>
                    <a:lnTo>
                      <a:pt x="142" y="4643"/>
                    </a:lnTo>
                    <a:lnTo>
                      <a:pt x="122" y="4651"/>
                    </a:lnTo>
                    <a:lnTo>
                      <a:pt x="104" y="4653"/>
                    </a:lnTo>
                    <a:lnTo>
                      <a:pt x="84" y="4643"/>
                    </a:lnTo>
                    <a:lnTo>
                      <a:pt x="80" y="4619"/>
                    </a:lnTo>
                    <a:lnTo>
                      <a:pt x="88" y="4594"/>
                    </a:lnTo>
                    <a:lnTo>
                      <a:pt x="173" y="4411"/>
                    </a:lnTo>
                    <a:lnTo>
                      <a:pt x="212" y="4320"/>
                    </a:lnTo>
                    <a:lnTo>
                      <a:pt x="243" y="4225"/>
                    </a:lnTo>
                    <a:lnTo>
                      <a:pt x="224" y="4221"/>
                    </a:lnTo>
                    <a:lnTo>
                      <a:pt x="208" y="4230"/>
                    </a:lnTo>
                    <a:lnTo>
                      <a:pt x="175" y="4256"/>
                    </a:lnTo>
                    <a:lnTo>
                      <a:pt x="155" y="4265"/>
                    </a:lnTo>
                    <a:lnTo>
                      <a:pt x="119" y="4291"/>
                    </a:lnTo>
                    <a:lnTo>
                      <a:pt x="78" y="4305"/>
                    </a:lnTo>
                    <a:lnTo>
                      <a:pt x="37" y="4304"/>
                    </a:lnTo>
                    <a:lnTo>
                      <a:pt x="0" y="4283"/>
                    </a:lnTo>
                    <a:lnTo>
                      <a:pt x="22" y="4255"/>
                    </a:lnTo>
                    <a:lnTo>
                      <a:pt x="50" y="4232"/>
                    </a:lnTo>
                    <a:lnTo>
                      <a:pt x="79" y="4211"/>
                    </a:lnTo>
                    <a:lnTo>
                      <a:pt x="104" y="4186"/>
                    </a:lnTo>
                    <a:lnTo>
                      <a:pt x="182" y="4078"/>
                    </a:lnTo>
                    <a:lnTo>
                      <a:pt x="204" y="4059"/>
                    </a:lnTo>
                    <a:lnTo>
                      <a:pt x="230" y="4044"/>
                    </a:lnTo>
                    <a:lnTo>
                      <a:pt x="306" y="4015"/>
                    </a:lnTo>
                    <a:lnTo>
                      <a:pt x="341" y="3999"/>
                    </a:lnTo>
                    <a:lnTo>
                      <a:pt x="374" y="3973"/>
                    </a:lnTo>
                    <a:lnTo>
                      <a:pt x="408" y="3924"/>
                    </a:lnTo>
                    <a:lnTo>
                      <a:pt x="437" y="3865"/>
                    </a:lnTo>
                    <a:lnTo>
                      <a:pt x="495" y="3738"/>
                    </a:lnTo>
                    <a:lnTo>
                      <a:pt x="522" y="3662"/>
                    </a:lnTo>
                    <a:lnTo>
                      <a:pt x="553" y="3552"/>
                    </a:lnTo>
                    <a:lnTo>
                      <a:pt x="593" y="3429"/>
                    </a:lnTo>
                    <a:lnTo>
                      <a:pt x="631" y="3310"/>
                    </a:lnTo>
                    <a:lnTo>
                      <a:pt x="651" y="3249"/>
                    </a:lnTo>
                    <a:lnTo>
                      <a:pt x="679" y="3197"/>
                    </a:lnTo>
                    <a:lnTo>
                      <a:pt x="727" y="3117"/>
                    </a:lnTo>
                    <a:lnTo>
                      <a:pt x="748" y="3081"/>
                    </a:lnTo>
                    <a:lnTo>
                      <a:pt x="778" y="3043"/>
                    </a:lnTo>
                    <a:lnTo>
                      <a:pt x="907" y="2845"/>
                    </a:lnTo>
                    <a:lnTo>
                      <a:pt x="947" y="2721"/>
                    </a:lnTo>
                    <a:lnTo>
                      <a:pt x="961" y="2658"/>
                    </a:lnTo>
                    <a:lnTo>
                      <a:pt x="951" y="2506"/>
                    </a:lnTo>
                    <a:lnTo>
                      <a:pt x="948" y="2362"/>
                    </a:lnTo>
                    <a:lnTo>
                      <a:pt x="959" y="2219"/>
                    </a:lnTo>
                    <a:lnTo>
                      <a:pt x="985" y="2068"/>
                    </a:lnTo>
                    <a:lnTo>
                      <a:pt x="990" y="1953"/>
                    </a:lnTo>
                    <a:lnTo>
                      <a:pt x="993" y="1896"/>
                    </a:lnTo>
                    <a:lnTo>
                      <a:pt x="1007" y="1843"/>
                    </a:lnTo>
                    <a:lnTo>
                      <a:pt x="1030" y="1791"/>
                    </a:lnTo>
                    <a:lnTo>
                      <a:pt x="1060" y="1742"/>
                    </a:lnTo>
                    <a:lnTo>
                      <a:pt x="1139" y="1659"/>
                    </a:lnTo>
                    <a:lnTo>
                      <a:pt x="1231" y="1601"/>
                    </a:lnTo>
                    <a:lnTo>
                      <a:pt x="1393" y="1536"/>
                    </a:lnTo>
                    <a:lnTo>
                      <a:pt x="1571" y="1477"/>
                    </a:lnTo>
                    <a:lnTo>
                      <a:pt x="1723" y="1421"/>
                    </a:lnTo>
                    <a:lnTo>
                      <a:pt x="1778" y="1393"/>
                    </a:lnTo>
                    <a:lnTo>
                      <a:pt x="1811" y="1366"/>
                    </a:lnTo>
                    <a:lnTo>
                      <a:pt x="1836" y="1325"/>
                    </a:lnTo>
                    <a:lnTo>
                      <a:pt x="1851" y="1277"/>
                    </a:lnTo>
                    <a:lnTo>
                      <a:pt x="1864" y="1173"/>
                    </a:lnTo>
                    <a:lnTo>
                      <a:pt x="1863" y="1085"/>
                    </a:lnTo>
                    <a:lnTo>
                      <a:pt x="1857" y="1044"/>
                    </a:lnTo>
                    <a:lnTo>
                      <a:pt x="1833" y="972"/>
                    </a:lnTo>
                    <a:lnTo>
                      <a:pt x="1815" y="896"/>
                    </a:lnTo>
                    <a:lnTo>
                      <a:pt x="1807" y="863"/>
                    </a:lnTo>
                    <a:lnTo>
                      <a:pt x="1785" y="833"/>
                    </a:lnTo>
                    <a:lnTo>
                      <a:pt x="1778" y="833"/>
                    </a:lnTo>
                    <a:lnTo>
                      <a:pt x="1768" y="840"/>
                    </a:lnTo>
                    <a:lnTo>
                      <a:pt x="1756" y="841"/>
                    </a:lnTo>
                    <a:lnTo>
                      <a:pt x="1735" y="826"/>
                    </a:lnTo>
                    <a:lnTo>
                      <a:pt x="1719" y="801"/>
                    </a:lnTo>
                    <a:lnTo>
                      <a:pt x="1715" y="780"/>
                    </a:lnTo>
                    <a:lnTo>
                      <a:pt x="1701" y="731"/>
                    </a:lnTo>
                    <a:lnTo>
                      <a:pt x="1670" y="644"/>
                    </a:lnTo>
                    <a:lnTo>
                      <a:pt x="1659" y="574"/>
                    </a:lnTo>
                    <a:lnTo>
                      <a:pt x="1663" y="529"/>
                    </a:lnTo>
                    <a:lnTo>
                      <a:pt x="1670" y="518"/>
                    </a:lnTo>
                    <a:lnTo>
                      <a:pt x="1680" y="517"/>
                    </a:lnTo>
                    <a:lnTo>
                      <a:pt x="1710" y="515"/>
                    </a:lnTo>
                    <a:lnTo>
                      <a:pt x="1711" y="386"/>
                    </a:lnTo>
                    <a:lnTo>
                      <a:pt x="1738" y="256"/>
                    </a:lnTo>
                    <a:lnTo>
                      <a:pt x="1763" y="197"/>
                    </a:lnTo>
                    <a:lnTo>
                      <a:pt x="1795" y="143"/>
                    </a:lnTo>
                    <a:lnTo>
                      <a:pt x="1840" y="97"/>
                    </a:lnTo>
                    <a:lnTo>
                      <a:pt x="1892" y="59"/>
                    </a:lnTo>
                    <a:lnTo>
                      <a:pt x="1985" y="20"/>
                    </a:lnTo>
                    <a:lnTo>
                      <a:pt x="2079" y="0"/>
                    </a:lnTo>
                    <a:lnTo>
                      <a:pt x="2178" y="4"/>
                    </a:lnTo>
                    <a:lnTo>
                      <a:pt x="2283" y="27"/>
                    </a:lnTo>
                    <a:lnTo>
                      <a:pt x="2327" y="45"/>
                    </a:lnTo>
                    <a:lnTo>
                      <a:pt x="2372" y="67"/>
                    </a:lnTo>
                    <a:lnTo>
                      <a:pt x="2413" y="97"/>
                    </a:lnTo>
                    <a:lnTo>
                      <a:pt x="2447" y="135"/>
                    </a:lnTo>
                    <a:lnTo>
                      <a:pt x="2491" y="218"/>
                    </a:lnTo>
                    <a:lnTo>
                      <a:pt x="2518" y="302"/>
                    </a:lnTo>
                    <a:lnTo>
                      <a:pt x="2533" y="391"/>
                    </a:lnTo>
                    <a:lnTo>
                      <a:pt x="2541" y="481"/>
                    </a:lnTo>
                    <a:lnTo>
                      <a:pt x="2551" y="472"/>
                    </a:lnTo>
                    <a:lnTo>
                      <a:pt x="2565" y="468"/>
                    </a:lnTo>
                    <a:lnTo>
                      <a:pt x="2581" y="472"/>
                    </a:lnTo>
                    <a:lnTo>
                      <a:pt x="2599" y="517"/>
                    </a:lnTo>
                    <a:lnTo>
                      <a:pt x="2602" y="546"/>
                    </a:lnTo>
                    <a:lnTo>
                      <a:pt x="2587" y="628"/>
                    </a:lnTo>
                    <a:lnTo>
                      <a:pt x="2573" y="731"/>
                    </a:lnTo>
                    <a:lnTo>
                      <a:pt x="2560" y="783"/>
                    </a:lnTo>
                    <a:lnTo>
                      <a:pt x="2544" y="813"/>
                    </a:lnTo>
                    <a:lnTo>
                      <a:pt x="2524" y="814"/>
                    </a:lnTo>
                    <a:lnTo>
                      <a:pt x="2504" y="864"/>
                    </a:lnTo>
                    <a:lnTo>
                      <a:pt x="2485" y="921"/>
                    </a:lnTo>
                    <a:lnTo>
                      <a:pt x="2459" y="995"/>
                    </a:lnTo>
                    <a:lnTo>
                      <a:pt x="2428" y="1087"/>
                    </a:lnTo>
                    <a:lnTo>
                      <a:pt x="2416" y="1148"/>
                    </a:lnTo>
                    <a:lnTo>
                      <a:pt x="2420" y="1225"/>
                    </a:lnTo>
                    <a:lnTo>
                      <a:pt x="2444" y="1359"/>
                    </a:lnTo>
                    <a:lnTo>
                      <a:pt x="2466" y="1404"/>
                    </a:lnTo>
                    <a:lnTo>
                      <a:pt x="2500" y="1435"/>
                    </a:lnTo>
                    <a:lnTo>
                      <a:pt x="2544" y="1455"/>
                    </a:lnTo>
                    <a:lnTo>
                      <a:pt x="2595" y="1472"/>
                    </a:lnTo>
                    <a:lnTo>
                      <a:pt x="2770" y="1515"/>
                    </a:lnTo>
                    <a:lnTo>
                      <a:pt x="2946" y="1550"/>
                    </a:lnTo>
                    <a:lnTo>
                      <a:pt x="3014" y="1575"/>
                    </a:lnTo>
                    <a:lnTo>
                      <a:pt x="3074" y="1610"/>
                    </a:lnTo>
                    <a:lnTo>
                      <a:pt x="3139" y="1665"/>
                    </a:lnTo>
                    <a:lnTo>
                      <a:pt x="3180" y="1709"/>
                    </a:lnTo>
                    <a:lnTo>
                      <a:pt x="3238" y="1799"/>
                    </a:lnTo>
                    <a:lnTo>
                      <a:pt x="3271" y="1874"/>
                    </a:lnTo>
                    <a:lnTo>
                      <a:pt x="3293" y="1957"/>
                    </a:lnTo>
                    <a:lnTo>
                      <a:pt x="3301" y="2066"/>
                    </a:lnTo>
                    <a:lnTo>
                      <a:pt x="3304" y="2172"/>
                    </a:lnTo>
                    <a:lnTo>
                      <a:pt x="3318" y="2293"/>
                    </a:lnTo>
                    <a:lnTo>
                      <a:pt x="3337" y="2389"/>
                    </a:lnTo>
                    <a:lnTo>
                      <a:pt x="3354" y="2482"/>
                    </a:lnTo>
                    <a:lnTo>
                      <a:pt x="3362" y="2597"/>
                    </a:lnTo>
                    <a:lnTo>
                      <a:pt x="3347" y="2846"/>
                    </a:lnTo>
                    <a:lnTo>
                      <a:pt x="3354" y="2877"/>
                    </a:lnTo>
                    <a:lnTo>
                      <a:pt x="3374" y="2909"/>
                    </a:lnTo>
                    <a:lnTo>
                      <a:pt x="3413" y="2960"/>
                    </a:lnTo>
                    <a:lnTo>
                      <a:pt x="3556" y="3191"/>
                    </a:lnTo>
                    <a:lnTo>
                      <a:pt x="3620" y="3312"/>
                    </a:lnTo>
                    <a:lnTo>
                      <a:pt x="3666" y="3428"/>
                    </a:lnTo>
                    <a:lnTo>
                      <a:pt x="3703" y="3545"/>
                    </a:lnTo>
                    <a:lnTo>
                      <a:pt x="3745" y="3657"/>
                    </a:lnTo>
                    <a:lnTo>
                      <a:pt x="3826" y="3884"/>
                    </a:lnTo>
                    <a:lnTo>
                      <a:pt x="3853" y="3924"/>
                    </a:lnTo>
                    <a:lnTo>
                      <a:pt x="3890" y="3948"/>
                    </a:lnTo>
                    <a:lnTo>
                      <a:pt x="3948" y="3961"/>
                    </a:lnTo>
                    <a:lnTo>
                      <a:pt x="4004" y="3981"/>
                    </a:lnTo>
                    <a:lnTo>
                      <a:pt x="4081" y="4021"/>
                    </a:lnTo>
                    <a:lnTo>
                      <a:pt x="4144" y="4078"/>
                    </a:lnTo>
                    <a:lnTo>
                      <a:pt x="4205" y="4120"/>
                    </a:lnTo>
                    <a:lnTo>
                      <a:pt x="4346" y="4195"/>
                    </a:lnTo>
                    <a:lnTo>
                      <a:pt x="4352" y="4204"/>
                    </a:lnTo>
                    <a:lnTo>
                      <a:pt x="4349" y="4217"/>
                    </a:lnTo>
                    <a:lnTo>
                      <a:pt x="4329" y="4234"/>
                    </a:lnTo>
                    <a:lnTo>
                      <a:pt x="4272" y="4244"/>
                    </a:lnTo>
                    <a:lnTo>
                      <a:pt x="4217" y="4234"/>
                    </a:lnTo>
                    <a:lnTo>
                      <a:pt x="4144" y="4198"/>
                    </a:lnTo>
                    <a:lnTo>
                      <a:pt x="4114" y="4188"/>
                    </a:lnTo>
                    <a:lnTo>
                      <a:pt x="4102" y="4189"/>
                    </a:lnTo>
                    <a:lnTo>
                      <a:pt x="4094" y="4196"/>
                    </a:lnTo>
                    <a:lnTo>
                      <a:pt x="4086" y="4217"/>
                    </a:lnTo>
                    <a:lnTo>
                      <a:pt x="4087" y="4239"/>
                    </a:lnTo>
                    <a:lnTo>
                      <a:pt x="4107" y="4287"/>
                    </a:lnTo>
                    <a:lnTo>
                      <a:pt x="4175" y="4382"/>
                    </a:lnTo>
                    <a:lnTo>
                      <a:pt x="4258" y="4491"/>
                    </a:lnTo>
                    <a:lnTo>
                      <a:pt x="4286" y="4539"/>
                    </a:lnTo>
                    <a:lnTo>
                      <a:pt x="4287" y="4557"/>
                    </a:lnTo>
                    <a:lnTo>
                      <a:pt x="4279" y="4571"/>
                    </a:lnTo>
                    <a:lnTo>
                      <a:pt x="4253" y="4581"/>
                    </a:lnTo>
                    <a:lnTo>
                      <a:pt x="4239" y="4578"/>
                    </a:lnTo>
                    <a:lnTo>
                      <a:pt x="4197" y="4540"/>
                    </a:lnTo>
                    <a:lnTo>
                      <a:pt x="4155" y="4506"/>
                    </a:lnTo>
                    <a:lnTo>
                      <a:pt x="4113" y="4472"/>
                    </a:lnTo>
                    <a:lnTo>
                      <a:pt x="4081" y="4429"/>
                    </a:lnTo>
                    <a:lnTo>
                      <a:pt x="4135" y="4545"/>
                    </a:lnTo>
                    <a:lnTo>
                      <a:pt x="4189" y="4617"/>
                    </a:lnTo>
                    <a:lnTo>
                      <a:pt x="4204" y="4654"/>
                    </a:lnTo>
                    <a:lnTo>
                      <a:pt x="4201" y="4672"/>
                    </a:lnTo>
                    <a:lnTo>
                      <a:pt x="4192" y="4692"/>
                    </a:lnTo>
                    <a:lnTo>
                      <a:pt x="4173" y="4700"/>
                    </a:lnTo>
                    <a:lnTo>
                      <a:pt x="4155" y="4694"/>
                    </a:lnTo>
                    <a:lnTo>
                      <a:pt x="4117" y="4665"/>
                    </a:lnTo>
                    <a:lnTo>
                      <a:pt x="4074" y="4621"/>
                    </a:lnTo>
                    <a:lnTo>
                      <a:pt x="4039" y="4571"/>
                    </a:lnTo>
                    <a:lnTo>
                      <a:pt x="4006" y="4520"/>
                    </a:lnTo>
                    <a:lnTo>
                      <a:pt x="3969" y="4474"/>
                    </a:lnTo>
                    <a:lnTo>
                      <a:pt x="4007" y="4566"/>
                    </a:lnTo>
                    <a:lnTo>
                      <a:pt x="4034" y="4649"/>
                    </a:lnTo>
                    <a:lnTo>
                      <a:pt x="4042" y="4711"/>
                    </a:lnTo>
                    <a:lnTo>
                      <a:pt x="4038" y="4730"/>
                    </a:lnTo>
                    <a:lnTo>
                      <a:pt x="4028" y="4741"/>
                    </a:lnTo>
                    <a:lnTo>
                      <a:pt x="4005" y="4741"/>
                    </a:lnTo>
                    <a:lnTo>
                      <a:pt x="3985" y="4732"/>
                    </a:lnTo>
                    <a:lnTo>
                      <a:pt x="3938" y="4657"/>
                    </a:lnTo>
                    <a:lnTo>
                      <a:pt x="3854" y="4484"/>
                    </a:lnTo>
                    <a:lnTo>
                      <a:pt x="3867" y="4587"/>
                    </a:lnTo>
                    <a:lnTo>
                      <a:pt x="3869" y="4638"/>
                    </a:lnTo>
                    <a:lnTo>
                      <a:pt x="3862" y="4687"/>
                    </a:lnTo>
                    <a:lnTo>
                      <a:pt x="3847" y="4704"/>
                    </a:lnTo>
                    <a:lnTo>
                      <a:pt x="3830" y="4700"/>
                    </a:lnTo>
                    <a:lnTo>
                      <a:pt x="3811" y="4680"/>
                    </a:lnTo>
                    <a:lnTo>
                      <a:pt x="3800" y="4660"/>
                    </a:lnTo>
                    <a:lnTo>
                      <a:pt x="3726" y="4397"/>
                    </a:lnTo>
                    <a:lnTo>
                      <a:pt x="3703" y="4335"/>
                    </a:lnTo>
                    <a:lnTo>
                      <a:pt x="3674" y="4272"/>
                    </a:lnTo>
                    <a:lnTo>
                      <a:pt x="3574" y="4071"/>
                    </a:lnTo>
                    <a:lnTo>
                      <a:pt x="3519" y="4010"/>
                    </a:lnTo>
                    <a:lnTo>
                      <a:pt x="3482" y="3979"/>
                    </a:lnTo>
                    <a:lnTo>
                      <a:pt x="3349" y="3829"/>
                    </a:lnTo>
                    <a:lnTo>
                      <a:pt x="3254" y="3702"/>
                    </a:lnTo>
                    <a:lnTo>
                      <a:pt x="3036" y="3339"/>
                    </a:lnTo>
                    <a:lnTo>
                      <a:pt x="3003" y="3297"/>
                    </a:lnTo>
                    <a:lnTo>
                      <a:pt x="2975" y="3253"/>
                    </a:lnTo>
                    <a:lnTo>
                      <a:pt x="2927" y="3068"/>
                    </a:lnTo>
                    <a:lnTo>
                      <a:pt x="2884" y="2882"/>
                    </a:lnTo>
                    <a:lnTo>
                      <a:pt x="2872" y="2998"/>
                    </a:lnTo>
                    <a:lnTo>
                      <a:pt x="2846" y="3147"/>
                    </a:lnTo>
                    <a:lnTo>
                      <a:pt x="2798" y="3407"/>
                    </a:lnTo>
                    <a:lnTo>
                      <a:pt x="2795" y="3492"/>
                    </a:lnTo>
                    <a:lnTo>
                      <a:pt x="2803" y="3574"/>
                    </a:lnTo>
                    <a:lnTo>
                      <a:pt x="2838" y="3723"/>
                    </a:lnTo>
                    <a:lnTo>
                      <a:pt x="2874" y="3855"/>
                    </a:lnTo>
                    <a:lnTo>
                      <a:pt x="2883" y="3916"/>
                    </a:lnTo>
                    <a:lnTo>
                      <a:pt x="2879" y="3972"/>
                    </a:lnTo>
                    <a:lnTo>
                      <a:pt x="2877" y="4029"/>
                    </a:lnTo>
                    <a:lnTo>
                      <a:pt x="2890" y="4079"/>
                    </a:lnTo>
                    <a:lnTo>
                      <a:pt x="2906" y="4128"/>
                    </a:lnTo>
                    <a:lnTo>
                      <a:pt x="2921" y="4186"/>
                    </a:lnTo>
                    <a:lnTo>
                      <a:pt x="2948" y="4416"/>
                    </a:lnTo>
                    <a:lnTo>
                      <a:pt x="2968" y="4647"/>
                    </a:lnTo>
                    <a:lnTo>
                      <a:pt x="2970" y="4846"/>
                    </a:lnTo>
                    <a:lnTo>
                      <a:pt x="2970" y="5045"/>
                    </a:lnTo>
                    <a:lnTo>
                      <a:pt x="2957" y="5165"/>
                    </a:lnTo>
                    <a:lnTo>
                      <a:pt x="2925" y="5366"/>
                    </a:lnTo>
                    <a:lnTo>
                      <a:pt x="2836" y="5744"/>
                    </a:lnTo>
                    <a:lnTo>
                      <a:pt x="2798" y="5956"/>
                    </a:lnTo>
                    <a:lnTo>
                      <a:pt x="2756" y="6194"/>
                    </a:lnTo>
                    <a:lnTo>
                      <a:pt x="2727" y="6327"/>
                    </a:lnTo>
                    <a:lnTo>
                      <a:pt x="2712" y="6455"/>
                    </a:lnTo>
                    <a:lnTo>
                      <a:pt x="2701" y="6714"/>
                    </a:lnTo>
                    <a:lnTo>
                      <a:pt x="2696" y="6893"/>
                    </a:lnTo>
                    <a:lnTo>
                      <a:pt x="2680" y="7071"/>
                    </a:lnTo>
                    <a:lnTo>
                      <a:pt x="2642" y="7273"/>
                    </a:lnTo>
                    <a:lnTo>
                      <a:pt x="2594" y="7476"/>
                    </a:lnTo>
                    <a:lnTo>
                      <a:pt x="2507" y="7721"/>
                    </a:lnTo>
                    <a:lnTo>
                      <a:pt x="2468" y="7841"/>
                    </a:lnTo>
                    <a:lnTo>
                      <a:pt x="2452" y="7896"/>
                    </a:lnTo>
                    <a:lnTo>
                      <a:pt x="2458" y="7956"/>
                    </a:lnTo>
                    <a:lnTo>
                      <a:pt x="2463" y="8029"/>
                    </a:lnTo>
                    <a:lnTo>
                      <a:pt x="2478" y="8102"/>
                    </a:lnTo>
                    <a:lnTo>
                      <a:pt x="2497" y="8135"/>
                    </a:lnTo>
                    <a:lnTo>
                      <a:pt x="2513" y="8170"/>
                    </a:lnTo>
                    <a:lnTo>
                      <a:pt x="2524" y="8214"/>
                    </a:lnTo>
                    <a:lnTo>
                      <a:pt x="2530" y="8232"/>
                    </a:lnTo>
                    <a:lnTo>
                      <a:pt x="2544" y="8248"/>
                    </a:lnTo>
                    <a:lnTo>
                      <a:pt x="2556" y="8269"/>
                    </a:lnTo>
                    <a:lnTo>
                      <a:pt x="2567" y="8292"/>
                    </a:lnTo>
                    <a:lnTo>
                      <a:pt x="2601" y="8322"/>
                    </a:lnTo>
                    <a:lnTo>
                      <a:pt x="2624" y="8361"/>
                    </a:lnTo>
                    <a:lnTo>
                      <a:pt x="2635" y="8403"/>
                    </a:lnTo>
                    <a:lnTo>
                      <a:pt x="2630" y="8445"/>
                    </a:lnTo>
                    <a:lnTo>
                      <a:pt x="2606" y="8473"/>
                    </a:lnTo>
                    <a:lnTo>
                      <a:pt x="2567" y="8487"/>
                    </a:lnTo>
                    <a:lnTo>
                      <a:pt x="2554" y="8506"/>
                    </a:lnTo>
                    <a:lnTo>
                      <a:pt x="2524" y="8518"/>
                    </a:lnTo>
                    <a:lnTo>
                      <a:pt x="2496" y="8532"/>
                    </a:lnTo>
                    <a:lnTo>
                      <a:pt x="2480" y="8544"/>
                    </a:lnTo>
                    <a:lnTo>
                      <a:pt x="2465" y="8556"/>
                    </a:lnTo>
                    <a:lnTo>
                      <a:pt x="2437" y="8569"/>
                    </a:lnTo>
                    <a:lnTo>
                      <a:pt x="2415" y="8586"/>
                    </a:lnTo>
                    <a:lnTo>
                      <a:pt x="2392" y="8603"/>
                    </a:lnTo>
                    <a:lnTo>
                      <a:pt x="2366" y="8617"/>
                    </a:lnTo>
                    <a:lnTo>
                      <a:pt x="2314" y="8622"/>
                    </a:lnTo>
                    <a:lnTo>
                      <a:pt x="2271" y="8610"/>
                    </a:lnTo>
                    <a:lnTo>
                      <a:pt x="2217" y="8558"/>
                    </a:lnTo>
                    <a:lnTo>
                      <a:pt x="2181" y="8501"/>
                    </a:lnTo>
                    <a:lnTo>
                      <a:pt x="2159" y="8437"/>
                    </a:lnTo>
                    <a:lnTo>
                      <a:pt x="2148" y="8368"/>
                    </a:lnTo>
                    <a:lnTo>
                      <a:pt x="2145" y="8225"/>
                    </a:lnTo>
                    <a:lnTo>
                      <a:pt x="2145" y="8086"/>
                    </a:lnTo>
                    <a:lnTo>
                      <a:pt x="2133" y="7982"/>
                    </a:lnTo>
                    <a:lnTo>
                      <a:pt x="2129" y="7942"/>
                    </a:lnTo>
                    <a:lnTo>
                      <a:pt x="2133" y="7902"/>
                    </a:lnTo>
                    <a:lnTo>
                      <a:pt x="2158" y="7843"/>
                    </a:lnTo>
                    <a:lnTo>
                      <a:pt x="2179" y="7760"/>
                    </a:lnTo>
                    <a:lnTo>
                      <a:pt x="2182" y="7677"/>
                    </a:lnTo>
                    <a:lnTo>
                      <a:pt x="2179" y="7506"/>
                    </a:lnTo>
                    <a:lnTo>
                      <a:pt x="2171" y="7354"/>
                    </a:lnTo>
                    <a:lnTo>
                      <a:pt x="2151" y="7203"/>
                    </a:lnTo>
                    <a:lnTo>
                      <a:pt x="2150" y="7114"/>
                    </a:lnTo>
                    <a:lnTo>
                      <a:pt x="2154" y="7020"/>
                    </a:lnTo>
                    <a:lnTo>
                      <a:pt x="2165" y="6910"/>
                    </a:lnTo>
                    <a:lnTo>
                      <a:pt x="2188" y="6794"/>
                    </a:lnTo>
                    <a:lnTo>
                      <a:pt x="2213" y="6638"/>
                    </a:lnTo>
                    <a:lnTo>
                      <a:pt x="2230" y="6504"/>
                    </a:lnTo>
                    <a:lnTo>
                      <a:pt x="2235" y="6384"/>
                    </a:lnTo>
                    <a:lnTo>
                      <a:pt x="2227" y="6229"/>
                    </a:lnTo>
                    <a:lnTo>
                      <a:pt x="2207" y="6069"/>
                    </a:lnTo>
                    <a:lnTo>
                      <a:pt x="2189" y="5965"/>
                    </a:lnTo>
                    <a:lnTo>
                      <a:pt x="2180" y="5866"/>
                    </a:lnTo>
                    <a:lnTo>
                      <a:pt x="2150" y="5398"/>
                    </a:lnTo>
                    <a:lnTo>
                      <a:pt x="2139" y="5122"/>
                    </a:lnTo>
                    <a:lnTo>
                      <a:pt x="2140" y="4967"/>
                    </a:lnTo>
                    <a:lnTo>
                      <a:pt x="2082" y="5613"/>
                    </a:lnTo>
                    <a:lnTo>
                      <a:pt x="2029" y="5922"/>
                    </a:lnTo>
                    <a:lnTo>
                      <a:pt x="1982" y="6230"/>
                    </a:lnTo>
                    <a:lnTo>
                      <a:pt x="1947" y="6461"/>
                    </a:lnTo>
                    <a:lnTo>
                      <a:pt x="1946" y="6572"/>
                    </a:lnTo>
                    <a:lnTo>
                      <a:pt x="1965" y="6695"/>
                    </a:lnTo>
                    <a:lnTo>
                      <a:pt x="1982" y="6861"/>
                    </a:lnTo>
                    <a:lnTo>
                      <a:pt x="1966" y="7255"/>
                    </a:lnTo>
                    <a:lnTo>
                      <a:pt x="1950" y="7497"/>
                    </a:lnTo>
                    <a:lnTo>
                      <a:pt x="1945" y="7665"/>
                    </a:lnTo>
                    <a:lnTo>
                      <a:pt x="1950" y="7749"/>
                    </a:lnTo>
                    <a:lnTo>
                      <a:pt x="1968" y="7832"/>
                    </a:lnTo>
                    <a:lnTo>
                      <a:pt x="1995" y="7891"/>
                    </a:lnTo>
                    <a:lnTo>
                      <a:pt x="1999" y="7930"/>
                    </a:lnTo>
                    <a:lnTo>
                      <a:pt x="1995" y="7971"/>
                    </a:lnTo>
                    <a:lnTo>
                      <a:pt x="1982" y="8074"/>
                    </a:lnTo>
                    <a:lnTo>
                      <a:pt x="1984" y="8214"/>
                    </a:lnTo>
                    <a:lnTo>
                      <a:pt x="1980" y="8358"/>
                    </a:lnTo>
                    <a:lnTo>
                      <a:pt x="1968" y="8426"/>
                    </a:lnTo>
                    <a:lnTo>
                      <a:pt x="1946" y="8489"/>
                    </a:lnTo>
                    <a:lnTo>
                      <a:pt x="1910" y="8548"/>
                    </a:lnTo>
                    <a:lnTo>
                      <a:pt x="1855" y="8599"/>
                    </a:lnTo>
                    <a:lnTo>
                      <a:pt x="1814" y="8611"/>
                    </a:lnTo>
                    <a:lnTo>
                      <a:pt x="1763" y="8606"/>
                    </a:lnTo>
                    <a:lnTo>
                      <a:pt x="1736" y="8593"/>
                    </a:lnTo>
                    <a:lnTo>
                      <a:pt x="1712" y="8576"/>
                    </a:lnTo>
                    <a:lnTo>
                      <a:pt x="1690" y="8557"/>
                    </a:lnTo>
                    <a:lnTo>
                      <a:pt x="1663" y="8544"/>
                    </a:lnTo>
                    <a:lnTo>
                      <a:pt x="1648" y="8535"/>
                    </a:lnTo>
                    <a:lnTo>
                      <a:pt x="1633" y="8521"/>
                    </a:lnTo>
                    <a:lnTo>
                      <a:pt x="1604" y="8508"/>
                    </a:lnTo>
                    <a:lnTo>
                      <a:pt x="1573" y="8495"/>
                    </a:lnTo>
                    <a:lnTo>
                      <a:pt x="1560" y="8476"/>
                    </a:lnTo>
                    <a:lnTo>
                      <a:pt x="1522" y="8461"/>
                    </a:lnTo>
                    <a:lnTo>
                      <a:pt x="1496" y="8434"/>
                    </a:lnTo>
                    <a:lnTo>
                      <a:pt x="1493" y="8391"/>
                    </a:lnTo>
                    <a:lnTo>
                      <a:pt x="1504" y="8350"/>
                    </a:lnTo>
                    <a:lnTo>
                      <a:pt x="1528" y="8313"/>
                    </a:lnTo>
                    <a:lnTo>
                      <a:pt x="1560" y="8282"/>
                    </a:lnTo>
                    <a:lnTo>
                      <a:pt x="1572" y="8260"/>
                    </a:lnTo>
                    <a:lnTo>
                      <a:pt x="1584" y="8238"/>
                    </a:lnTo>
                    <a:lnTo>
                      <a:pt x="1597" y="8221"/>
                    </a:lnTo>
                    <a:lnTo>
                      <a:pt x="1604" y="8203"/>
                    </a:lnTo>
                    <a:lnTo>
                      <a:pt x="1614" y="8161"/>
                    </a:lnTo>
                    <a:lnTo>
                      <a:pt x="1632" y="8124"/>
                    </a:lnTo>
                    <a:lnTo>
                      <a:pt x="1649" y="8092"/>
                    </a:lnTo>
                    <a:lnTo>
                      <a:pt x="1664" y="8018"/>
                    </a:lnTo>
                    <a:lnTo>
                      <a:pt x="1670" y="7944"/>
                    </a:lnTo>
                    <a:lnTo>
                      <a:pt x="1675" y="7885"/>
                    </a:lnTo>
                    <a:lnTo>
                      <a:pt x="1660" y="7830"/>
                    </a:lnTo>
                    <a:lnTo>
                      <a:pt x="1619" y="7709"/>
                    </a:lnTo>
                    <a:lnTo>
                      <a:pt x="1573" y="7588"/>
                    </a:lnTo>
                    <a:close/>
                  </a:path>
                </a:pathLst>
              </a:custGeom>
              <a:solidFill>
                <a:srgbClr val="DDDDDD"/>
              </a:solidFill>
              <a:ln w="7938">
                <a:solidFill>
                  <a:schemeClr val="tx1"/>
                </a:solidFill>
                <a:prstDash val="solid"/>
                <a:round/>
                <a:headEnd/>
                <a:tailEnd/>
              </a:ln>
            </p:spPr>
            <p:txBody>
              <a:bodyPr rtlCol="0"/>
              <a:lstStyle/>
              <a:p>
                <a:pPr rtl="0"/>
                <a:endParaRPr lang="en-US"/>
              </a:p>
            </p:txBody>
          </p:sp>
          <p:sp>
            <p:nvSpPr>
              <p:cNvPr id="793" name="Line 803">
                <a:extLst>
                  <a:ext uri="{FF2B5EF4-FFF2-40B4-BE49-F238E27FC236}">
                    <a16:creationId xmlns:a16="http://schemas.microsoft.com/office/drawing/2014/main" id="{B6E096B7-3B12-6E69-AAFE-D9A94D239452}"/>
                  </a:ext>
                </a:extLst>
              </p:cNvPr>
              <p:cNvSpPr>
                <a:spLocks noChangeShapeType="1"/>
              </p:cNvSpPr>
              <p:nvPr/>
            </p:nvSpPr>
            <p:spPr bwMode="auto">
              <a:xfrm>
                <a:off x="2851" y="2321"/>
                <a:ext cx="10" cy="16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94" name="Line 804">
                <a:extLst>
                  <a:ext uri="{FF2B5EF4-FFF2-40B4-BE49-F238E27FC236}">
                    <a16:creationId xmlns:a16="http://schemas.microsoft.com/office/drawing/2014/main" id="{73EA7799-4053-4B0F-487D-07EA9BF19168}"/>
                  </a:ext>
                </a:extLst>
              </p:cNvPr>
              <p:cNvSpPr>
                <a:spLocks noChangeShapeType="1"/>
              </p:cNvSpPr>
              <p:nvPr/>
            </p:nvSpPr>
            <p:spPr bwMode="auto">
              <a:xfrm>
                <a:off x="3231" y="1208"/>
                <a:ext cx="2" cy="23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sp>
            <p:nvSpPr>
              <p:cNvPr id="795" name="Line 805">
                <a:extLst>
                  <a:ext uri="{FF2B5EF4-FFF2-40B4-BE49-F238E27FC236}">
                    <a16:creationId xmlns:a16="http://schemas.microsoft.com/office/drawing/2014/main" id="{D8F37BA8-08F2-CFD4-1F4A-819C24489EE6}"/>
                  </a:ext>
                </a:extLst>
              </p:cNvPr>
              <p:cNvSpPr>
                <a:spLocks noChangeShapeType="1"/>
              </p:cNvSpPr>
              <p:nvPr/>
            </p:nvSpPr>
            <p:spPr bwMode="auto">
              <a:xfrm flipH="1">
                <a:off x="2493" y="1220"/>
                <a:ext cx="16" cy="145"/>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US"/>
              </a:p>
            </p:txBody>
          </p:sp>
        </p:grpSp>
      </p:grpSp>
      <p:grpSp>
        <p:nvGrpSpPr>
          <p:cNvPr id="810" name="Group 809">
            <a:extLst>
              <a:ext uri="{FF2B5EF4-FFF2-40B4-BE49-F238E27FC236}">
                <a16:creationId xmlns:a16="http://schemas.microsoft.com/office/drawing/2014/main" id="{E835D5DA-CDA9-B8B7-4AD7-FDC25D78984F}"/>
              </a:ext>
            </a:extLst>
          </p:cNvPr>
          <p:cNvGrpSpPr>
            <a:grpSpLocks noChangeAspect="1"/>
          </p:cNvGrpSpPr>
          <p:nvPr/>
        </p:nvGrpSpPr>
        <p:grpSpPr>
          <a:xfrm>
            <a:off x="10538313" y="1586904"/>
            <a:ext cx="756527" cy="1248874"/>
            <a:chOff x="3060947" y="1470544"/>
            <a:chExt cx="2756500" cy="4550427"/>
          </a:xfrm>
        </p:grpSpPr>
        <p:grpSp>
          <p:nvGrpSpPr>
            <p:cNvPr id="811" name="Group 562">
              <a:extLst>
                <a:ext uri="{FF2B5EF4-FFF2-40B4-BE49-F238E27FC236}">
                  <a16:creationId xmlns:a16="http://schemas.microsoft.com/office/drawing/2014/main" id="{F3911ACA-5ED0-9170-D3DE-B39E3417F90A}"/>
                </a:ext>
              </a:extLst>
            </p:cNvPr>
            <p:cNvGrpSpPr>
              <a:grpSpLocks/>
            </p:cNvGrpSpPr>
            <p:nvPr/>
          </p:nvGrpSpPr>
          <p:grpSpPr bwMode="auto">
            <a:xfrm>
              <a:off x="3060947" y="1470544"/>
              <a:ext cx="2756500" cy="4550427"/>
              <a:chOff x="1792" y="5"/>
              <a:chExt cx="2175" cy="4310"/>
            </a:xfrm>
          </p:grpSpPr>
          <p:sp>
            <p:nvSpPr>
              <p:cNvPr id="824" name="Freeform 563">
                <a:extLst>
                  <a:ext uri="{FF2B5EF4-FFF2-40B4-BE49-F238E27FC236}">
                    <a16:creationId xmlns:a16="http://schemas.microsoft.com/office/drawing/2014/main" id="{53AAC648-2C04-D34A-D3B7-1A43891A72B2}"/>
                  </a:ext>
                </a:extLst>
              </p:cNvPr>
              <p:cNvSpPr>
                <a:spLocks/>
              </p:cNvSpPr>
              <p:nvPr/>
            </p:nvSpPr>
            <p:spPr bwMode="auto">
              <a:xfrm>
                <a:off x="1792" y="5"/>
                <a:ext cx="2175" cy="4310"/>
              </a:xfrm>
              <a:custGeom>
                <a:avLst/>
                <a:gdLst>
                  <a:gd name="T0" fmla="*/ 22 w 4352"/>
                  <a:gd name="T1" fmla="*/ 105 h 8622"/>
                  <a:gd name="T2" fmla="*/ 22 w 4352"/>
                  <a:gd name="T3" fmla="*/ 92 h 8622"/>
                  <a:gd name="T4" fmla="*/ 19 w 4352"/>
                  <a:gd name="T5" fmla="*/ 74 h 8622"/>
                  <a:gd name="T6" fmla="*/ 21 w 4352"/>
                  <a:gd name="T7" fmla="*/ 61 h 8622"/>
                  <a:gd name="T8" fmla="*/ 22 w 4352"/>
                  <a:gd name="T9" fmla="*/ 50 h 8622"/>
                  <a:gd name="T10" fmla="*/ 21 w 4352"/>
                  <a:gd name="T11" fmla="*/ 44 h 8622"/>
                  <a:gd name="T12" fmla="*/ 17 w 4352"/>
                  <a:gd name="T13" fmla="*/ 54 h 8622"/>
                  <a:gd name="T14" fmla="*/ 9 w 4352"/>
                  <a:gd name="T15" fmla="*/ 66 h 8622"/>
                  <a:gd name="T16" fmla="*/ 7 w 4352"/>
                  <a:gd name="T17" fmla="*/ 72 h 8622"/>
                  <a:gd name="T18" fmla="*/ 6 w 4352"/>
                  <a:gd name="T19" fmla="*/ 73 h 8622"/>
                  <a:gd name="T20" fmla="*/ 3 w 4352"/>
                  <a:gd name="T21" fmla="*/ 73 h 8622"/>
                  <a:gd name="T22" fmla="*/ 4 w 4352"/>
                  <a:gd name="T23" fmla="*/ 69 h 8622"/>
                  <a:gd name="T24" fmla="*/ 1 w 4352"/>
                  <a:gd name="T25" fmla="*/ 72 h 8622"/>
                  <a:gd name="T26" fmla="*/ 2 w 4352"/>
                  <a:gd name="T27" fmla="*/ 66 h 8622"/>
                  <a:gd name="T28" fmla="*/ 0 w 4352"/>
                  <a:gd name="T29" fmla="*/ 66 h 8622"/>
                  <a:gd name="T30" fmla="*/ 5 w 4352"/>
                  <a:gd name="T31" fmla="*/ 62 h 8622"/>
                  <a:gd name="T32" fmla="*/ 9 w 4352"/>
                  <a:gd name="T33" fmla="*/ 53 h 8622"/>
                  <a:gd name="T34" fmla="*/ 14 w 4352"/>
                  <a:gd name="T35" fmla="*/ 44 h 8622"/>
                  <a:gd name="T36" fmla="*/ 15 w 4352"/>
                  <a:gd name="T37" fmla="*/ 30 h 8622"/>
                  <a:gd name="T38" fmla="*/ 21 w 4352"/>
                  <a:gd name="T39" fmla="*/ 24 h 8622"/>
                  <a:gd name="T40" fmla="*/ 29 w 4352"/>
                  <a:gd name="T41" fmla="*/ 18 h 8622"/>
                  <a:gd name="T42" fmla="*/ 27 w 4352"/>
                  <a:gd name="T43" fmla="*/ 13 h 8622"/>
                  <a:gd name="T44" fmla="*/ 26 w 4352"/>
                  <a:gd name="T45" fmla="*/ 10 h 8622"/>
                  <a:gd name="T46" fmla="*/ 27 w 4352"/>
                  <a:gd name="T47" fmla="*/ 4 h 8622"/>
                  <a:gd name="T48" fmla="*/ 34 w 4352"/>
                  <a:gd name="T49" fmla="*/ 0 h 8622"/>
                  <a:gd name="T50" fmla="*/ 39 w 4352"/>
                  <a:gd name="T51" fmla="*/ 4 h 8622"/>
                  <a:gd name="T52" fmla="*/ 40 w 4352"/>
                  <a:gd name="T53" fmla="*/ 8 h 8622"/>
                  <a:gd name="T54" fmla="*/ 38 w 4352"/>
                  <a:gd name="T55" fmla="*/ 14 h 8622"/>
                  <a:gd name="T56" fmla="*/ 39 w 4352"/>
                  <a:gd name="T57" fmla="*/ 22 h 8622"/>
                  <a:gd name="T58" fmla="*/ 49 w 4352"/>
                  <a:gd name="T59" fmla="*/ 26 h 8622"/>
                  <a:gd name="T60" fmla="*/ 51 w 4352"/>
                  <a:gd name="T61" fmla="*/ 35 h 8622"/>
                  <a:gd name="T62" fmla="*/ 53 w 4352"/>
                  <a:gd name="T63" fmla="*/ 46 h 8622"/>
                  <a:gd name="T64" fmla="*/ 60 w 4352"/>
                  <a:gd name="T65" fmla="*/ 61 h 8622"/>
                  <a:gd name="T66" fmla="*/ 67 w 4352"/>
                  <a:gd name="T67" fmla="*/ 65 h 8622"/>
                  <a:gd name="T68" fmla="*/ 64 w 4352"/>
                  <a:gd name="T69" fmla="*/ 65 h 8622"/>
                  <a:gd name="T70" fmla="*/ 66 w 4352"/>
                  <a:gd name="T71" fmla="*/ 70 h 8622"/>
                  <a:gd name="T72" fmla="*/ 64 w 4352"/>
                  <a:gd name="T73" fmla="*/ 70 h 8622"/>
                  <a:gd name="T74" fmla="*/ 65 w 4352"/>
                  <a:gd name="T75" fmla="*/ 73 h 8622"/>
                  <a:gd name="T76" fmla="*/ 62 w 4352"/>
                  <a:gd name="T77" fmla="*/ 69 h 8622"/>
                  <a:gd name="T78" fmla="*/ 62 w 4352"/>
                  <a:gd name="T79" fmla="*/ 73 h 8622"/>
                  <a:gd name="T80" fmla="*/ 59 w 4352"/>
                  <a:gd name="T81" fmla="*/ 73 h 8622"/>
                  <a:gd name="T82" fmla="*/ 54 w 4352"/>
                  <a:gd name="T83" fmla="*/ 62 h 8622"/>
                  <a:gd name="T84" fmla="*/ 45 w 4352"/>
                  <a:gd name="T85" fmla="*/ 47 h 8622"/>
                  <a:gd name="T86" fmla="*/ 44 w 4352"/>
                  <a:gd name="T87" fmla="*/ 58 h 8622"/>
                  <a:gd name="T88" fmla="*/ 45 w 4352"/>
                  <a:gd name="T89" fmla="*/ 65 h 8622"/>
                  <a:gd name="T90" fmla="*/ 44 w 4352"/>
                  <a:gd name="T91" fmla="*/ 89 h 8622"/>
                  <a:gd name="T92" fmla="*/ 41 w 4352"/>
                  <a:gd name="T93" fmla="*/ 110 h 8622"/>
                  <a:gd name="T94" fmla="*/ 38 w 4352"/>
                  <a:gd name="T95" fmla="*/ 125 h 8622"/>
                  <a:gd name="T96" fmla="*/ 39 w 4352"/>
                  <a:gd name="T97" fmla="*/ 129 h 8622"/>
                  <a:gd name="T98" fmla="*/ 40 w 4352"/>
                  <a:gd name="T99" fmla="*/ 132 h 8622"/>
                  <a:gd name="T100" fmla="*/ 37 w 4352"/>
                  <a:gd name="T101" fmla="*/ 134 h 8622"/>
                  <a:gd name="T102" fmla="*/ 33 w 4352"/>
                  <a:gd name="T103" fmla="*/ 131 h 8622"/>
                  <a:gd name="T104" fmla="*/ 33 w 4352"/>
                  <a:gd name="T105" fmla="*/ 122 h 8622"/>
                  <a:gd name="T106" fmla="*/ 33 w 4352"/>
                  <a:gd name="T107" fmla="*/ 109 h 8622"/>
                  <a:gd name="T108" fmla="*/ 34 w 4352"/>
                  <a:gd name="T109" fmla="*/ 94 h 8622"/>
                  <a:gd name="T110" fmla="*/ 31 w 4352"/>
                  <a:gd name="T111" fmla="*/ 92 h 8622"/>
                  <a:gd name="T112" fmla="*/ 30 w 4352"/>
                  <a:gd name="T113" fmla="*/ 117 h 8622"/>
                  <a:gd name="T114" fmla="*/ 30 w 4352"/>
                  <a:gd name="T115" fmla="*/ 126 h 8622"/>
                  <a:gd name="T116" fmla="*/ 28 w 4352"/>
                  <a:gd name="T117" fmla="*/ 134 h 8622"/>
                  <a:gd name="T118" fmla="*/ 25 w 4352"/>
                  <a:gd name="T119" fmla="*/ 133 h 8622"/>
                  <a:gd name="T120" fmla="*/ 23 w 4352"/>
                  <a:gd name="T121" fmla="*/ 130 h 8622"/>
                  <a:gd name="T122" fmla="*/ 25 w 4352"/>
                  <a:gd name="T123" fmla="*/ 127 h 8622"/>
                  <a:gd name="T124" fmla="*/ 25 w 4352"/>
                  <a:gd name="T125" fmla="*/ 120 h 86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352" h="8622">
                    <a:moveTo>
                      <a:pt x="1573" y="7588"/>
                    </a:moveTo>
                    <a:lnTo>
                      <a:pt x="1515" y="7412"/>
                    </a:lnTo>
                    <a:lnTo>
                      <a:pt x="1484" y="7293"/>
                    </a:lnTo>
                    <a:lnTo>
                      <a:pt x="1440" y="7103"/>
                    </a:lnTo>
                    <a:lnTo>
                      <a:pt x="1425" y="7020"/>
                    </a:lnTo>
                    <a:lnTo>
                      <a:pt x="1414" y="6918"/>
                    </a:lnTo>
                    <a:lnTo>
                      <a:pt x="1408" y="6725"/>
                    </a:lnTo>
                    <a:lnTo>
                      <a:pt x="1413" y="6628"/>
                    </a:lnTo>
                    <a:lnTo>
                      <a:pt x="1424" y="6531"/>
                    </a:lnTo>
                    <a:lnTo>
                      <a:pt x="1435" y="6429"/>
                    </a:lnTo>
                    <a:lnTo>
                      <a:pt x="1439" y="6332"/>
                    </a:lnTo>
                    <a:lnTo>
                      <a:pt x="1447" y="6130"/>
                    </a:lnTo>
                    <a:lnTo>
                      <a:pt x="1442" y="6026"/>
                    </a:lnTo>
                    <a:lnTo>
                      <a:pt x="1427" y="5922"/>
                    </a:lnTo>
                    <a:lnTo>
                      <a:pt x="1370" y="5681"/>
                    </a:lnTo>
                    <a:lnTo>
                      <a:pt x="1351" y="5613"/>
                    </a:lnTo>
                    <a:lnTo>
                      <a:pt x="1315" y="5377"/>
                    </a:lnTo>
                    <a:lnTo>
                      <a:pt x="1284" y="5149"/>
                    </a:lnTo>
                    <a:lnTo>
                      <a:pt x="1261" y="4922"/>
                    </a:lnTo>
                    <a:lnTo>
                      <a:pt x="1260" y="4847"/>
                    </a:lnTo>
                    <a:lnTo>
                      <a:pt x="1265" y="4769"/>
                    </a:lnTo>
                    <a:lnTo>
                      <a:pt x="1275" y="4616"/>
                    </a:lnTo>
                    <a:lnTo>
                      <a:pt x="1286" y="4465"/>
                    </a:lnTo>
                    <a:lnTo>
                      <a:pt x="1314" y="4312"/>
                    </a:lnTo>
                    <a:lnTo>
                      <a:pt x="1337" y="4225"/>
                    </a:lnTo>
                    <a:lnTo>
                      <a:pt x="1369" y="4131"/>
                    </a:lnTo>
                    <a:lnTo>
                      <a:pt x="1393" y="4035"/>
                    </a:lnTo>
                    <a:lnTo>
                      <a:pt x="1399" y="3951"/>
                    </a:lnTo>
                    <a:lnTo>
                      <a:pt x="1401" y="3856"/>
                    </a:lnTo>
                    <a:lnTo>
                      <a:pt x="1420" y="3774"/>
                    </a:lnTo>
                    <a:lnTo>
                      <a:pt x="1446" y="3689"/>
                    </a:lnTo>
                    <a:lnTo>
                      <a:pt x="1467" y="3588"/>
                    </a:lnTo>
                    <a:lnTo>
                      <a:pt x="1476" y="3497"/>
                    </a:lnTo>
                    <a:lnTo>
                      <a:pt x="1476" y="3403"/>
                    </a:lnTo>
                    <a:lnTo>
                      <a:pt x="1460" y="3214"/>
                    </a:lnTo>
                    <a:lnTo>
                      <a:pt x="1434" y="3025"/>
                    </a:lnTo>
                    <a:lnTo>
                      <a:pt x="1414" y="2838"/>
                    </a:lnTo>
                    <a:lnTo>
                      <a:pt x="1413" y="2780"/>
                    </a:lnTo>
                    <a:lnTo>
                      <a:pt x="1404" y="2721"/>
                    </a:lnTo>
                    <a:lnTo>
                      <a:pt x="1392" y="2748"/>
                    </a:lnTo>
                    <a:lnTo>
                      <a:pt x="1376" y="2774"/>
                    </a:lnTo>
                    <a:lnTo>
                      <a:pt x="1352" y="2839"/>
                    </a:lnTo>
                    <a:lnTo>
                      <a:pt x="1334" y="2918"/>
                    </a:lnTo>
                    <a:lnTo>
                      <a:pt x="1311" y="3074"/>
                    </a:lnTo>
                    <a:lnTo>
                      <a:pt x="1295" y="3149"/>
                    </a:lnTo>
                    <a:lnTo>
                      <a:pt x="1269" y="3226"/>
                    </a:lnTo>
                    <a:lnTo>
                      <a:pt x="1245" y="3295"/>
                    </a:lnTo>
                    <a:lnTo>
                      <a:pt x="1211" y="3360"/>
                    </a:lnTo>
                    <a:lnTo>
                      <a:pt x="1127" y="3483"/>
                    </a:lnTo>
                    <a:lnTo>
                      <a:pt x="1010" y="3634"/>
                    </a:lnTo>
                    <a:lnTo>
                      <a:pt x="883" y="3779"/>
                    </a:lnTo>
                    <a:lnTo>
                      <a:pt x="763" y="3919"/>
                    </a:lnTo>
                    <a:lnTo>
                      <a:pt x="657" y="4051"/>
                    </a:lnTo>
                    <a:lnTo>
                      <a:pt x="636" y="4097"/>
                    </a:lnTo>
                    <a:lnTo>
                      <a:pt x="640" y="4111"/>
                    </a:lnTo>
                    <a:lnTo>
                      <a:pt x="632" y="4230"/>
                    </a:lnTo>
                    <a:lnTo>
                      <a:pt x="612" y="4348"/>
                    </a:lnTo>
                    <a:lnTo>
                      <a:pt x="586" y="4519"/>
                    </a:lnTo>
                    <a:lnTo>
                      <a:pt x="572" y="4602"/>
                    </a:lnTo>
                    <a:lnTo>
                      <a:pt x="548" y="4684"/>
                    </a:lnTo>
                    <a:lnTo>
                      <a:pt x="529" y="4700"/>
                    </a:lnTo>
                    <a:lnTo>
                      <a:pt x="512" y="4701"/>
                    </a:lnTo>
                    <a:lnTo>
                      <a:pt x="500" y="4643"/>
                    </a:lnTo>
                    <a:lnTo>
                      <a:pt x="499" y="4583"/>
                    </a:lnTo>
                    <a:lnTo>
                      <a:pt x="502" y="4465"/>
                    </a:lnTo>
                    <a:lnTo>
                      <a:pt x="499" y="4467"/>
                    </a:lnTo>
                    <a:lnTo>
                      <a:pt x="493" y="4479"/>
                    </a:lnTo>
                    <a:lnTo>
                      <a:pt x="458" y="4609"/>
                    </a:lnTo>
                    <a:lnTo>
                      <a:pt x="436" y="4673"/>
                    </a:lnTo>
                    <a:lnTo>
                      <a:pt x="404" y="4736"/>
                    </a:lnTo>
                    <a:lnTo>
                      <a:pt x="385" y="4747"/>
                    </a:lnTo>
                    <a:lnTo>
                      <a:pt x="364" y="4744"/>
                    </a:lnTo>
                    <a:lnTo>
                      <a:pt x="356" y="4721"/>
                    </a:lnTo>
                    <a:lnTo>
                      <a:pt x="360" y="4694"/>
                    </a:lnTo>
                    <a:lnTo>
                      <a:pt x="401" y="4479"/>
                    </a:lnTo>
                    <a:lnTo>
                      <a:pt x="246" y="4725"/>
                    </a:lnTo>
                    <a:lnTo>
                      <a:pt x="235" y="4734"/>
                    </a:lnTo>
                    <a:lnTo>
                      <a:pt x="218" y="4739"/>
                    </a:lnTo>
                    <a:lnTo>
                      <a:pt x="188" y="4730"/>
                    </a:lnTo>
                    <a:lnTo>
                      <a:pt x="180" y="4704"/>
                    </a:lnTo>
                    <a:lnTo>
                      <a:pt x="184" y="4674"/>
                    </a:lnTo>
                    <a:lnTo>
                      <a:pt x="205" y="4616"/>
                    </a:lnTo>
                    <a:lnTo>
                      <a:pt x="232" y="4559"/>
                    </a:lnTo>
                    <a:lnTo>
                      <a:pt x="281" y="4445"/>
                    </a:lnTo>
                    <a:lnTo>
                      <a:pt x="216" y="4532"/>
                    </a:lnTo>
                    <a:lnTo>
                      <a:pt x="156" y="4626"/>
                    </a:lnTo>
                    <a:lnTo>
                      <a:pt x="142" y="4643"/>
                    </a:lnTo>
                    <a:lnTo>
                      <a:pt x="122" y="4651"/>
                    </a:lnTo>
                    <a:lnTo>
                      <a:pt x="104" y="4653"/>
                    </a:lnTo>
                    <a:lnTo>
                      <a:pt x="84" y="4643"/>
                    </a:lnTo>
                    <a:lnTo>
                      <a:pt x="80" y="4619"/>
                    </a:lnTo>
                    <a:lnTo>
                      <a:pt x="88" y="4594"/>
                    </a:lnTo>
                    <a:lnTo>
                      <a:pt x="173" y="4411"/>
                    </a:lnTo>
                    <a:lnTo>
                      <a:pt x="212" y="4320"/>
                    </a:lnTo>
                    <a:lnTo>
                      <a:pt x="243" y="4225"/>
                    </a:lnTo>
                    <a:lnTo>
                      <a:pt x="224" y="4221"/>
                    </a:lnTo>
                    <a:lnTo>
                      <a:pt x="208" y="4230"/>
                    </a:lnTo>
                    <a:lnTo>
                      <a:pt x="175" y="4256"/>
                    </a:lnTo>
                    <a:lnTo>
                      <a:pt x="155" y="4265"/>
                    </a:lnTo>
                    <a:lnTo>
                      <a:pt x="119" y="4291"/>
                    </a:lnTo>
                    <a:lnTo>
                      <a:pt x="78" y="4305"/>
                    </a:lnTo>
                    <a:lnTo>
                      <a:pt x="37" y="4304"/>
                    </a:lnTo>
                    <a:lnTo>
                      <a:pt x="0" y="4283"/>
                    </a:lnTo>
                    <a:lnTo>
                      <a:pt x="22" y="4255"/>
                    </a:lnTo>
                    <a:lnTo>
                      <a:pt x="50" y="4232"/>
                    </a:lnTo>
                    <a:lnTo>
                      <a:pt x="79" y="4211"/>
                    </a:lnTo>
                    <a:lnTo>
                      <a:pt x="104" y="4186"/>
                    </a:lnTo>
                    <a:lnTo>
                      <a:pt x="182" y="4078"/>
                    </a:lnTo>
                    <a:lnTo>
                      <a:pt x="204" y="4059"/>
                    </a:lnTo>
                    <a:lnTo>
                      <a:pt x="230" y="4044"/>
                    </a:lnTo>
                    <a:lnTo>
                      <a:pt x="306" y="4015"/>
                    </a:lnTo>
                    <a:lnTo>
                      <a:pt x="341" y="3999"/>
                    </a:lnTo>
                    <a:lnTo>
                      <a:pt x="374" y="3973"/>
                    </a:lnTo>
                    <a:lnTo>
                      <a:pt x="408" y="3924"/>
                    </a:lnTo>
                    <a:lnTo>
                      <a:pt x="437" y="3865"/>
                    </a:lnTo>
                    <a:lnTo>
                      <a:pt x="495" y="3738"/>
                    </a:lnTo>
                    <a:lnTo>
                      <a:pt x="522" y="3662"/>
                    </a:lnTo>
                    <a:lnTo>
                      <a:pt x="553" y="3552"/>
                    </a:lnTo>
                    <a:lnTo>
                      <a:pt x="593" y="3429"/>
                    </a:lnTo>
                    <a:lnTo>
                      <a:pt x="631" y="3310"/>
                    </a:lnTo>
                    <a:lnTo>
                      <a:pt x="651" y="3249"/>
                    </a:lnTo>
                    <a:lnTo>
                      <a:pt x="679" y="3197"/>
                    </a:lnTo>
                    <a:lnTo>
                      <a:pt x="727" y="3117"/>
                    </a:lnTo>
                    <a:lnTo>
                      <a:pt x="748" y="3081"/>
                    </a:lnTo>
                    <a:lnTo>
                      <a:pt x="778" y="3043"/>
                    </a:lnTo>
                    <a:lnTo>
                      <a:pt x="907" y="2845"/>
                    </a:lnTo>
                    <a:lnTo>
                      <a:pt x="947" y="2721"/>
                    </a:lnTo>
                    <a:lnTo>
                      <a:pt x="961" y="2658"/>
                    </a:lnTo>
                    <a:lnTo>
                      <a:pt x="951" y="2506"/>
                    </a:lnTo>
                    <a:lnTo>
                      <a:pt x="948" y="2362"/>
                    </a:lnTo>
                    <a:lnTo>
                      <a:pt x="959" y="2219"/>
                    </a:lnTo>
                    <a:lnTo>
                      <a:pt x="985" y="2068"/>
                    </a:lnTo>
                    <a:lnTo>
                      <a:pt x="990" y="1953"/>
                    </a:lnTo>
                    <a:lnTo>
                      <a:pt x="993" y="1896"/>
                    </a:lnTo>
                    <a:lnTo>
                      <a:pt x="1007" y="1843"/>
                    </a:lnTo>
                    <a:lnTo>
                      <a:pt x="1030" y="1791"/>
                    </a:lnTo>
                    <a:lnTo>
                      <a:pt x="1060" y="1742"/>
                    </a:lnTo>
                    <a:lnTo>
                      <a:pt x="1139" y="1659"/>
                    </a:lnTo>
                    <a:lnTo>
                      <a:pt x="1231" y="1601"/>
                    </a:lnTo>
                    <a:lnTo>
                      <a:pt x="1393" y="1536"/>
                    </a:lnTo>
                    <a:lnTo>
                      <a:pt x="1571" y="1477"/>
                    </a:lnTo>
                    <a:lnTo>
                      <a:pt x="1723" y="1421"/>
                    </a:lnTo>
                    <a:lnTo>
                      <a:pt x="1778" y="1393"/>
                    </a:lnTo>
                    <a:lnTo>
                      <a:pt x="1811" y="1366"/>
                    </a:lnTo>
                    <a:lnTo>
                      <a:pt x="1836" y="1325"/>
                    </a:lnTo>
                    <a:lnTo>
                      <a:pt x="1851" y="1277"/>
                    </a:lnTo>
                    <a:lnTo>
                      <a:pt x="1864" y="1173"/>
                    </a:lnTo>
                    <a:lnTo>
                      <a:pt x="1863" y="1085"/>
                    </a:lnTo>
                    <a:lnTo>
                      <a:pt x="1857" y="1044"/>
                    </a:lnTo>
                    <a:lnTo>
                      <a:pt x="1833" y="972"/>
                    </a:lnTo>
                    <a:lnTo>
                      <a:pt x="1815" y="896"/>
                    </a:lnTo>
                    <a:lnTo>
                      <a:pt x="1807" y="863"/>
                    </a:lnTo>
                    <a:lnTo>
                      <a:pt x="1785" y="833"/>
                    </a:lnTo>
                    <a:lnTo>
                      <a:pt x="1778" y="833"/>
                    </a:lnTo>
                    <a:lnTo>
                      <a:pt x="1768" y="840"/>
                    </a:lnTo>
                    <a:lnTo>
                      <a:pt x="1756" y="841"/>
                    </a:lnTo>
                    <a:lnTo>
                      <a:pt x="1735" y="826"/>
                    </a:lnTo>
                    <a:lnTo>
                      <a:pt x="1719" y="801"/>
                    </a:lnTo>
                    <a:lnTo>
                      <a:pt x="1715" y="780"/>
                    </a:lnTo>
                    <a:lnTo>
                      <a:pt x="1701" y="731"/>
                    </a:lnTo>
                    <a:lnTo>
                      <a:pt x="1670" y="644"/>
                    </a:lnTo>
                    <a:lnTo>
                      <a:pt x="1659" y="574"/>
                    </a:lnTo>
                    <a:lnTo>
                      <a:pt x="1663" y="529"/>
                    </a:lnTo>
                    <a:lnTo>
                      <a:pt x="1670" y="518"/>
                    </a:lnTo>
                    <a:lnTo>
                      <a:pt x="1680" y="517"/>
                    </a:lnTo>
                    <a:lnTo>
                      <a:pt x="1710" y="515"/>
                    </a:lnTo>
                    <a:lnTo>
                      <a:pt x="1711" y="386"/>
                    </a:lnTo>
                    <a:lnTo>
                      <a:pt x="1738" y="256"/>
                    </a:lnTo>
                    <a:lnTo>
                      <a:pt x="1763" y="197"/>
                    </a:lnTo>
                    <a:lnTo>
                      <a:pt x="1795" y="143"/>
                    </a:lnTo>
                    <a:lnTo>
                      <a:pt x="1840" y="97"/>
                    </a:lnTo>
                    <a:lnTo>
                      <a:pt x="1892" y="59"/>
                    </a:lnTo>
                    <a:lnTo>
                      <a:pt x="1985" y="20"/>
                    </a:lnTo>
                    <a:lnTo>
                      <a:pt x="2079" y="0"/>
                    </a:lnTo>
                    <a:lnTo>
                      <a:pt x="2178" y="4"/>
                    </a:lnTo>
                    <a:lnTo>
                      <a:pt x="2283" y="27"/>
                    </a:lnTo>
                    <a:lnTo>
                      <a:pt x="2327" y="45"/>
                    </a:lnTo>
                    <a:lnTo>
                      <a:pt x="2372" y="67"/>
                    </a:lnTo>
                    <a:lnTo>
                      <a:pt x="2413" y="97"/>
                    </a:lnTo>
                    <a:lnTo>
                      <a:pt x="2447" y="135"/>
                    </a:lnTo>
                    <a:lnTo>
                      <a:pt x="2491" y="218"/>
                    </a:lnTo>
                    <a:lnTo>
                      <a:pt x="2518" y="302"/>
                    </a:lnTo>
                    <a:lnTo>
                      <a:pt x="2533" y="391"/>
                    </a:lnTo>
                    <a:lnTo>
                      <a:pt x="2541" y="481"/>
                    </a:lnTo>
                    <a:lnTo>
                      <a:pt x="2551" y="472"/>
                    </a:lnTo>
                    <a:lnTo>
                      <a:pt x="2565" y="468"/>
                    </a:lnTo>
                    <a:lnTo>
                      <a:pt x="2581" y="472"/>
                    </a:lnTo>
                    <a:lnTo>
                      <a:pt x="2599" y="517"/>
                    </a:lnTo>
                    <a:lnTo>
                      <a:pt x="2602" y="546"/>
                    </a:lnTo>
                    <a:lnTo>
                      <a:pt x="2587" y="628"/>
                    </a:lnTo>
                    <a:lnTo>
                      <a:pt x="2573" y="731"/>
                    </a:lnTo>
                    <a:lnTo>
                      <a:pt x="2560" y="783"/>
                    </a:lnTo>
                    <a:lnTo>
                      <a:pt x="2544" y="813"/>
                    </a:lnTo>
                    <a:lnTo>
                      <a:pt x="2524" y="814"/>
                    </a:lnTo>
                    <a:lnTo>
                      <a:pt x="2504" y="864"/>
                    </a:lnTo>
                    <a:lnTo>
                      <a:pt x="2485" y="921"/>
                    </a:lnTo>
                    <a:lnTo>
                      <a:pt x="2459" y="995"/>
                    </a:lnTo>
                    <a:lnTo>
                      <a:pt x="2428" y="1087"/>
                    </a:lnTo>
                    <a:lnTo>
                      <a:pt x="2416" y="1148"/>
                    </a:lnTo>
                    <a:lnTo>
                      <a:pt x="2420" y="1225"/>
                    </a:lnTo>
                    <a:lnTo>
                      <a:pt x="2444" y="1359"/>
                    </a:lnTo>
                    <a:lnTo>
                      <a:pt x="2466" y="1404"/>
                    </a:lnTo>
                    <a:lnTo>
                      <a:pt x="2500" y="1435"/>
                    </a:lnTo>
                    <a:lnTo>
                      <a:pt x="2544" y="1455"/>
                    </a:lnTo>
                    <a:lnTo>
                      <a:pt x="2595" y="1472"/>
                    </a:lnTo>
                    <a:lnTo>
                      <a:pt x="2770" y="1515"/>
                    </a:lnTo>
                    <a:lnTo>
                      <a:pt x="2946" y="1550"/>
                    </a:lnTo>
                    <a:lnTo>
                      <a:pt x="3014" y="1575"/>
                    </a:lnTo>
                    <a:lnTo>
                      <a:pt x="3074" y="1610"/>
                    </a:lnTo>
                    <a:lnTo>
                      <a:pt x="3139" y="1665"/>
                    </a:lnTo>
                    <a:lnTo>
                      <a:pt x="3180" y="1709"/>
                    </a:lnTo>
                    <a:lnTo>
                      <a:pt x="3238" y="1799"/>
                    </a:lnTo>
                    <a:lnTo>
                      <a:pt x="3271" y="1874"/>
                    </a:lnTo>
                    <a:lnTo>
                      <a:pt x="3293" y="1957"/>
                    </a:lnTo>
                    <a:lnTo>
                      <a:pt x="3301" y="2066"/>
                    </a:lnTo>
                    <a:lnTo>
                      <a:pt x="3304" y="2172"/>
                    </a:lnTo>
                    <a:lnTo>
                      <a:pt x="3318" y="2293"/>
                    </a:lnTo>
                    <a:lnTo>
                      <a:pt x="3337" y="2389"/>
                    </a:lnTo>
                    <a:lnTo>
                      <a:pt x="3354" y="2482"/>
                    </a:lnTo>
                    <a:lnTo>
                      <a:pt x="3362" y="2597"/>
                    </a:lnTo>
                    <a:lnTo>
                      <a:pt x="3347" y="2846"/>
                    </a:lnTo>
                    <a:lnTo>
                      <a:pt x="3354" y="2877"/>
                    </a:lnTo>
                    <a:lnTo>
                      <a:pt x="3374" y="2909"/>
                    </a:lnTo>
                    <a:lnTo>
                      <a:pt x="3413" y="2960"/>
                    </a:lnTo>
                    <a:lnTo>
                      <a:pt x="3556" y="3191"/>
                    </a:lnTo>
                    <a:lnTo>
                      <a:pt x="3620" y="3312"/>
                    </a:lnTo>
                    <a:lnTo>
                      <a:pt x="3666" y="3428"/>
                    </a:lnTo>
                    <a:lnTo>
                      <a:pt x="3703" y="3545"/>
                    </a:lnTo>
                    <a:lnTo>
                      <a:pt x="3745" y="3657"/>
                    </a:lnTo>
                    <a:lnTo>
                      <a:pt x="3826" y="3884"/>
                    </a:lnTo>
                    <a:lnTo>
                      <a:pt x="3853" y="3924"/>
                    </a:lnTo>
                    <a:lnTo>
                      <a:pt x="3890" y="3948"/>
                    </a:lnTo>
                    <a:lnTo>
                      <a:pt x="3948" y="3961"/>
                    </a:lnTo>
                    <a:lnTo>
                      <a:pt x="4004" y="3981"/>
                    </a:lnTo>
                    <a:lnTo>
                      <a:pt x="4081" y="4021"/>
                    </a:lnTo>
                    <a:lnTo>
                      <a:pt x="4144" y="4078"/>
                    </a:lnTo>
                    <a:lnTo>
                      <a:pt x="4205" y="4120"/>
                    </a:lnTo>
                    <a:lnTo>
                      <a:pt x="4346" y="4195"/>
                    </a:lnTo>
                    <a:lnTo>
                      <a:pt x="4352" y="4204"/>
                    </a:lnTo>
                    <a:lnTo>
                      <a:pt x="4349" y="4217"/>
                    </a:lnTo>
                    <a:lnTo>
                      <a:pt x="4329" y="4234"/>
                    </a:lnTo>
                    <a:lnTo>
                      <a:pt x="4272" y="4244"/>
                    </a:lnTo>
                    <a:lnTo>
                      <a:pt x="4217" y="4234"/>
                    </a:lnTo>
                    <a:lnTo>
                      <a:pt x="4144" y="4198"/>
                    </a:lnTo>
                    <a:lnTo>
                      <a:pt x="4114" y="4188"/>
                    </a:lnTo>
                    <a:lnTo>
                      <a:pt x="4102" y="4189"/>
                    </a:lnTo>
                    <a:lnTo>
                      <a:pt x="4094" y="4196"/>
                    </a:lnTo>
                    <a:lnTo>
                      <a:pt x="4086" y="4217"/>
                    </a:lnTo>
                    <a:lnTo>
                      <a:pt x="4087" y="4239"/>
                    </a:lnTo>
                    <a:lnTo>
                      <a:pt x="4107" y="4287"/>
                    </a:lnTo>
                    <a:lnTo>
                      <a:pt x="4175" y="4382"/>
                    </a:lnTo>
                    <a:lnTo>
                      <a:pt x="4258" y="4491"/>
                    </a:lnTo>
                    <a:lnTo>
                      <a:pt x="4286" y="4539"/>
                    </a:lnTo>
                    <a:lnTo>
                      <a:pt x="4287" y="4557"/>
                    </a:lnTo>
                    <a:lnTo>
                      <a:pt x="4279" y="4571"/>
                    </a:lnTo>
                    <a:lnTo>
                      <a:pt x="4253" y="4581"/>
                    </a:lnTo>
                    <a:lnTo>
                      <a:pt x="4239" y="4578"/>
                    </a:lnTo>
                    <a:lnTo>
                      <a:pt x="4197" y="4540"/>
                    </a:lnTo>
                    <a:lnTo>
                      <a:pt x="4155" y="4506"/>
                    </a:lnTo>
                    <a:lnTo>
                      <a:pt x="4113" y="4472"/>
                    </a:lnTo>
                    <a:lnTo>
                      <a:pt x="4081" y="4429"/>
                    </a:lnTo>
                    <a:lnTo>
                      <a:pt x="4135" y="4545"/>
                    </a:lnTo>
                    <a:lnTo>
                      <a:pt x="4189" y="4617"/>
                    </a:lnTo>
                    <a:lnTo>
                      <a:pt x="4204" y="4654"/>
                    </a:lnTo>
                    <a:lnTo>
                      <a:pt x="4201" y="4672"/>
                    </a:lnTo>
                    <a:lnTo>
                      <a:pt x="4192" y="4692"/>
                    </a:lnTo>
                    <a:lnTo>
                      <a:pt x="4173" y="4700"/>
                    </a:lnTo>
                    <a:lnTo>
                      <a:pt x="4155" y="4694"/>
                    </a:lnTo>
                    <a:lnTo>
                      <a:pt x="4117" y="4665"/>
                    </a:lnTo>
                    <a:lnTo>
                      <a:pt x="4074" y="4621"/>
                    </a:lnTo>
                    <a:lnTo>
                      <a:pt x="4039" y="4571"/>
                    </a:lnTo>
                    <a:lnTo>
                      <a:pt x="4006" y="4520"/>
                    </a:lnTo>
                    <a:lnTo>
                      <a:pt x="3969" y="4474"/>
                    </a:lnTo>
                    <a:lnTo>
                      <a:pt x="4007" y="4566"/>
                    </a:lnTo>
                    <a:lnTo>
                      <a:pt x="4034" y="4649"/>
                    </a:lnTo>
                    <a:lnTo>
                      <a:pt x="4042" y="4711"/>
                    </a:lnTo>
                    <a:lnTo>
                      <a:pt x="4038" y="4730"/>
                    </a:lnTo>
                    <a:lnTo>
                      <a:pt x="4028" y="4741"/>
                    </a:lnTo>
                    <a:lnTo>
                      <a:pt x="4005" y="4741"/>
                    </a:lnTo>
                    <a:lnTo>
                      <a:pt x="3985" y="4732"/>
                    </a:lnTo>
                    <a:lnTo>
                      <a:pt x="3938" y="4657"/>
                    </a:lnTo>
                    <a:lnTo>
                      <a:pt x="3854" y="4484"/>
                    </a:lnTo>
                    <a:lnTo>
                      <a:pt x="3867" y="4587"/>
                    </a:lnTo>
                    <a:lnTo>
                      <a:pt x="3869" y="4638"/>
                    </a:lnTo>
                    <a:lnTo>
                      <a:pt x="3862" y="4687"/>
                    </a:lnTo>
                    <a:lnTo>
                      <a:pt x="3847" y="4704"/>
                    </a:lnTo>
                    <a:lnTo>
                      <a:pt x="3830" y="4700"/>
                    </a:lnTo>
                    <a:lnTo>
                      <a:pt x="3811" y="4680"/>
                    </a:lnTo>
                    <a:lnTo>
                      <a:pt x="3800" y="4660"/>
                    </a:lnTo>
                    <a:lnTo>
                      <a:pt x="3726" y="4397"/>
                    </a:lnTo>
                    <a:lnTo>
                      <a:pt x="3703" y="4335"/>
                    </a:lnTo>
                    <a:lnTo>
                      <a:pt x="3674" y="4272"/>
                    </a:lnTo>
                    <a:lnTo>
                      <a:pt x="3574" y="4071"/>
                    </a:lnTo>
                    <a:lnTo>
                      <a:pt x="3519" y="4010"/>
                    </a:lnTo>
                    <a:lnTo>
                      <a:pt x="3482" y="3979"/>
                    </a:lnTo>
                    <a:lnTo>
                      <a:pt x="3349" y="3829"/>
                    </a:lnTo>
                    <a:lnTo>
                      <a:pt x="3254" y="3702"/>
                    </a:lnTo>
                    <a:lnTo>
                      <a:pt x="3036" y="3339"/>
                    </a:lnTo>
                    <a:lnTo>
                      <a:pt x="3003" y="3297"/>
                    </a:lnTo>
                    <a:lnTo>
                      <a:pt x="2975" y="3253"/>
                    </a:lnTo>
                    <a:lnTo>
                      <a:pt x="2927" y="3068"/>
                    </a:lnTo>
                    <a:lnTo>
                      <a:pt x="2884" y="2882"/>
                    </a:lnTo>
                    <a:lnTo>
                      <a:pt x="2872" y="2998"/>
                    </a:lnTo>
                    <a:lnTo>
                      <a:pt x="2846" y="3147"/>
                    </a:lnTo>
                    <a:lnTo>
                      <a:pt x="2798" y="3407"/>
                    </a:lnTo>
                    <a:lnTo>
                      <a:pt x="2795" y="3492"/>
                    </a:lnTo>
                    <a:lnTo>
                      <a:pt x="2803" y="3574"/>
                    </a:lnTo>
                    <a:lnTo>
                      <a:pt x="2838" y="3723"/>
                    </a:lnTo>
                    <a:lnTo>
                      <a:pt x="2874" y="3855"/>
                    </a:lnTo>
                    <a:lnTo>
                      <a:pt x="2883" y="3916"/>
                    </a:lnTo>
                    <a:lnTo>
                      <a:pt x="2879" y="3972"/>
                    </a:lnTo>
                    <a:lnTo>
                      <a:pt x="2877" y="4029"/>
                    </a:lnTo>
                    <a:lnTo>
                      <a:pt x="2890" y="4079"/>
                    </a:lnTo>
                    <a:lnTo>
                      <a:pt x="2906" y="4128"/>
                    </a:lnTo>
                    <a:lnTo>
                      <a:pt x="2921" y="4186"/>
                    </a:lnTo>
                    <a:lnTo>
                      <a:pt x="2948" y="4416"/>
                    </a:lnTo>
                    <a:lnTo>
                      <a:pt x="2968" y="4647"/>
                    </a:lnTo>
                    <a:lnTo>
                      <a:pt x="2970" y="4846"/>
                    </a:lnTo>
                    <a:lnTo>
                      <a:pt x="2970" y="5045"/>
                    </a:lnTo>
                    <a:lnTo>
                      <a:pt x="2957" y="5165"/>
                    </a:lnTo>
                    <a:lnTo>
                      <a:pt x="2925" y="5366"/>
                    </a:lnTo>
                    <a:lnTo>
                      <a:pt x="2836" y="5744"/>
                    </a:lnTo>
                    <a:lnTo>
                      <a:pt x="2798" y="5956"/>
                    </a:lnTo>
                    <a:lnTo>
                      <a:pt x="2756" y="6194"/>
                    </a:lnTo>
                    <a:lnTo>
                      <a:pt x="2727" y="6327"/>
                    </a:lnTo>
                    <a:lnTo>
                      <a:pt x="2712" y="6455"/>
                    </a:lnTo>
                    <a:lnTo>
                      <a:pt x="2701" y="6714"/>
                    </a:lnTo>
                    <a:lnTo>
                      <a:pt x="2696" y="6893"/>
                    </a:lnTo>
                    <a:lnTo>
                      <a:pt x="2680" y="7071"/>
                    </a:lnTo>
                    <a:lnTo>
                      <a:pt x="2642" y="7273"/>
                    </a:lnTo>
                    <a:lnTo>
                      <a:pt x="2594" y="7476"/>
                    </a:lnTo>
                    <a:lnTo>
                      <a:pt x="2507" y="7721"/>
                    </a:lnTo>
                    <a:lnTo>
                      <a:pt x="2468" y="7841"/>
                    </a:lnTo>
                    <a:lnTo>
                      <a:pt x="2452" y="7896"/>
                    </a:lnTo>
                    <a:lnTo>
                      <a:pt x="2458" y="7956"/>
                    </a:lnTo>
                    <a:lnTo>
                      <a:pt x="2463" y="8029"/>
                    </a:lnTo>
                    <a:lnTo>
                      <a:pt x="2478" y="8102"/>
                    </a:lnTo>
                    <a:lnTo>
                      <a:pt x="2497" y="8135"/>
                    </a:lnTo>
                    <a:lnTo>
                      <a:pt x="2513" y="8170"/>
                    </a:lnTo>
                    <a:lnTo>
                      <a:pt x="2524" y="8214"/>
                    </a:lnTo>
                    <a:lnTo>
                      <a:pt x="2530" y="8232"/>
                    </a:lnTo>
                    <a:lnTo>
                      <a:pt x="2544" y="8248"/>
                    </a:lnTo>
                    <a:lnTo>
                      <a:pt x="2556" y="8269"/>
                    </a:lnTo>
                    <a:lnTo>
                      <a:pt x="2567" y="8292"/>
                    </a:lnTo>
                    <a:lnTo>
                      <a:pt x="2601" y="8322"/>
                    </a:lnTo>
                    <a:lnTo>
                      <a:pt x="2624" y="8361"/>
                    </a:lnTo>
                    <a:lnTo>
                      <a:pt x="2635" y="8403"/>
                    </a:lnTo>
                    <a:lnTo>
                      <a:pt x="2630" y="8445"/>
                    </a:lnTo>
                    <a:lnTo>
                      <a:pt x="2606" y="8473"/>
                    </a:lnTo>
                    <a:lnTo>
                      <a:pt x="2567" y="8487"/>
                    </a:lnTo>
                    <a:lnTo>
                      <a:pt x="2554" y="8506"/>
                    </a:lnTo>
                    <a:lnTo>
                      <a:pt x="2524" y="8518"/>
                    </a:lnTo>
                    <a:lnTo>
                      <a:pt x="2496" y="8532"/>
                    </a:lnTo>
                    <a:lnTo>
                      <a:pt x="2480" y="8544"/>
                    </a:lnTo>
                    <a:lnTo>
                      <a:pt x="2465" y="8556"/>
                    </a:lnTo>
                    <a:lnTo>
                      <a:pt x="2437" y="8569"/>
                    </a:lnTo>
                    <a:lnTo>
                      <a:pt x="2415" y="8586"/>
                    </a:lnTo>
                    <a:lnTo>
                      <a:pt x="2392" y="8603"/>
                    </a:lnTo>
                    <a:lnTo>
                      <a:pt x="2366" y="8617"/>
                    </a:lnTo>
                    <a:lnTo>
                      <a:pt x="2314" y="8622"/>
                    </a:lnTo>
                    <a:lnTo>
                      <a:pt x="2271" y="8610"/>
                    </a:lnTo>
                    <a:lnTo>
                      <a:pt x="2217" y="8558"/>
                    </a:lnTo>
                    <a:lnTo>
                      <a:pt x="2181" y="8501"/>
                    </a:lnTo>
                    <a:lnTo>
                      <a:pt x="2159" y="8437"/>
                    </a:lnTo>
                    <a:lnTo>
                      <a:pt x="2148" y="8368"/>
                    </a:lnTo>
                    <a:lnTo>
                      <a:pt x="2145" y="8225"/>
                    </a:lnTo>
                    <a:lnTo>
                      <a:pt x="2145" y="8086"/>
                    </a:lnTo>
                    <a:lnTo>
                      <a:pt x="2133" y="7982"/>
                    </a:lnTo>
                    <a:lnTo>
                      <a:pt x="2129" y="7942"/>
                    </a:lnTo>
                    <a:lnTo>
                      <a:pt x="2133" y="7902"/>
                    </a:lnTo>
                    <a:lnTo>
                      <a:pt x="2158" y="7843"/>
                    </a:lnTo>
                    <a:lnTo>
                      <a:pt x="2179" y="7760"/>
                    </a:lnTo>
                    <a:lnTo>
                      <a:pt x="2182" y="7677"/>
                    </a:lnTo>
                    <a:lnTo>
                      <a:pt x="2179" y="7506"/>
                    </a:lnTo>
                    <a:lnTo>
                      <a:pt x="2171" y="7354"/>
                    </a:lnTo>
                    <a:lnTo>
                      <a:pt x="2151" y="7203"/>
                    </a:lnTo>
                    <a:lnTo>
                      <a:pt x="2150" y="7114"/>
                    </a:lnTo>
                    <a:lnTo>
                      <a:pt x="2154" y="7020"/>
                    </a:lnTo>
                    <a:lnTo>
                      <a:pt x="2165" y="6910"/>
                    </a:lnTo>
                    <a:lnTo>
                      <a:pt x="2188" y="6794"/>
                    </a:lnTo>
                    <a:lnTo>
                      <a:pt x="2213" y="6638"/>
                    </a:lnTo>
                    <a:lnTo>
                      <a:pt x="2230" y="6504"/>
                    </a:lnTo>
                    <a:lnTo>
                      <a:pt x="2235" y="6384"/>
                    </a:lnTo>
                    <a:lnTo>
                      <a:pt x="2227" y="6229"/>
                    </a:lnTo>
                    <a:lnTo>
                      <a:pt x="2207" y="6069"/>
                    </a:lnTo>
                    <a:lnTo>
                      <a:pt x="2189" y="5965"/>
                    </a:lnTo>
                    <a:lnTo>
                      <a:pt x="2180" y="5866"/>
                    </a:lnTo>
                    <a:lnTo>
                      <a:pt x="2150" y="5398"/>
                    </a:lnTo>
                    <a:lnTo>
                      <a:pt x="2139" y="5122"/>
                    </a:lnTo>
                    <a:lnTo>
                      <a:pt x="2140" y="4967"/>
                    </a:lnTo>
                    <a:lnTo>
                      <a:pt x="2082" y="5613"/>
                    </a:lnTo>
                    <a:lnTo>
                      <a:pt x="2029" y="5922"/>
                    </a:lnTo>
                    <a:lnTo>
                      <a:pt x="1982" y="6230"/>
                    </a:lnTo>
                    <a:lnTo>
                      <a:pt x="1947" y="6461"/>
                    </a:lnTo>
                    <a:lnTo>
                      <a:pt x="1946" y="6572"/>
                    </a:lnTo>
                    <a:lnTo>
                      <a:pt x="1965" y="6695"/>
                    </a:lnTo>
                    <a:lnTo>
                      <a:pt x="1982" y="6861"/>
                    </a:lnTo>
                    <a:lnTo>
                      <a:pt x="1966" y="7255"/>
                    </a:lnTo>
                    <a:lnTo>
                      <a:pt x="1950" y="7497"/>
                    </a:lnTo>
                    <a:lnTo>
                      <a:pt x="1945" y="7665"/>
                    </a:lnTo>
                    <a:lnTo>
                      <a:pt x="1950" y="7749"/>
                    </a:lnTo>
                    <a:lnTo>
                      <a:pt x="1968" y="7832"/>
                    </a:lnTo>
                    <a:lnTo>
                      <a:pt x="1995" y="7891"/>
                    </a:lnTo>
                    <a:lnTo>
                      <a:pt x="1999" y="7930"/>
                    </a:lnTo>
                    <a:lnTo>
                      <a:pt x="1995" y="7971"/>
                    </a:lnTo>
                    <a:lnTo>
                      <a:pt x="1982" y="8074"/>
                    </a:lnTo>
                    <a:lnTo>
                      <a:pt x="1984" y="8214"/>
                    </a:lnTo>
                    <a:lnTo>
                      <a:pt x="1980" y="8358"/>
                    </a:lnTo>
                    <a:lnTo>
                      <a:pt x="1968" y="8426"/>
                    </a:lnTo>
                    <a:lnTo>
                      <a:pt x="1946" y="8489"/>
                    </a:lnTo>
                    <a:lnTo>
                      <a:pt x="1910" y="8548"/>
                    </a:lnTo>
                    <a:lnTo>
                      <a:pt x="1855" y="8599"/>
                    </a:lnTo>
                    <a:lnTo>
                      <a:pt x="1814" y="8611"/>
                    </a:lnTo>
                    <a:lnTo>
                      <a:pt x="1763" y="8606"/>
                    </a:lnTo>
                    <a:lnTo>
                      <a:pt x="1736" y="8593"/>
                    </a:lnTo>
                    <a:lnTo>
                      <a:pt x="1712" y="8576"/>
                    </a:lnTo>
                    <a:lnTo>
                      <a:pt x="1690" y="8557"/>
                    </a:lnTo>
                    <a:lnTo>
                      <a:pt x="1663" y="8544"/>
                    </a:lnTo>
                    <a:lnTo>
                      <a:pt x="1648" y="8535"/>
                    </a:lnTo>
                    <a:lnTo>
                      <a:pt x="1633" y="8521"/>
                    </a:lnTo>
                    <a:lnTo>
                      <a:pt x="1604" y="8508"/>
                    </a:lnTo>
                    <a:lnTo>
                      <a:pt x="1573" y="8495"/>
                    </a:lnTo>
                    <a:lnTo>
                      <a:pt x="1560" y="8476"/>
                    </a:lnTo>
                    <a:lnTo>
                      <a:pt x="1522" y="8461"/>
                    </a:lnTo>
                    <a:lnTo>
                      <a:pt x="1496" y="8434"/>
                    </a:lnTo>
                    <a:lnTo>
                      <a:pt x="1493" y="8391"/>
                    </a:lnTo>
                    <a:lnTo>
                      <a:pt x="1504" y="8350"/>
                    </a:lnTo>
                    <a:lnTo>
                      <a:pt x="1528" y="8313"/>
                    </a:lnTo>
                    <a:lnTo>
                      <a:pt x="1560" y="8282"/>
                    </a:lnTo>
                    <a:lnTo>
                      <a:pt x="1572" y="8260"/>
                    </a:lnTo>
                    <a:lnTo>
                      <a:pt x="1584" y="8238"/>
                    </a:lnTo>
                    <a:lnTo>
                      <a:pt x="1597" y="8221"/>
                    </a:lnTo>
                    <a:lnTo>
                      <a:pt x="1604" y="8203"/>
                    </a:lnTo>
                    <a:lnTo>
                      <a:pt x="1614" y="8161"/>
                    </a:lnTo>
                    <a:lnTo>
                      <a:pt x="1632" y="8124"/>
                    </a:lnTo>
                    <a:lnTo>
                      <a:pt x="1649" y="8092"/>
                    </a:lnTo>
                    <a:lnTo>
                      <a:pt x="1664" y="8018"/>
                    </a:lnTo>
                    <a:lnTo>
                      <a:pt x="1670" y="7944"/>
                    </a:lnTo>
                    <a:lnTo>
                      <a:pt x="1675" y="7885"/>
                    </a:lnTo>
                    <a:lnTo>
                      <a:pt x="1660" y="7830"/>
                    </a:lnTo>
                    <a:lnTo>
                      <a:pt x="1619" y="7709"/>
                    </a:lnTo>
                    <a:lnTo>
                      <a:pt x="1573" y="7588"/>
                    </a:lnTo>
                    <a:close/>
                  </a:path>
                </a:pathLst>
              </a:custGeom>
              <a:solidFill>
                <a:srgbClr val="DDDDDD"/>
              </a:solidFill>
              <a:ln w="7938">
                <a:solidFill>
                  <a:schemeClr val="tx1"/>
                </a:solidFill>
                <a:prstDash val="solid"/>
                <a:round/>
                <a:headEnd/>
                <a:tailEnd/>
              </a:ln>
            </p:spPr>
            <p:txBody>
              <a:bodyPr rtlCol="0"/>
              <a:lstStyle/>
              <a:p>
                <a:pPr rtl="0"/>
                <a:endParaRPr lang="en-GB"/>
              </a:p>
            </p:txBody>
          </p:sp>
          <p:sp>
            <p:nvSpPr>
              <p:cNvPr id="825" name="Line 564">
                <a:extLst>
                  <a:ext uri="{FF2B5EF4-FFF2-40B4-BE49-F238E27FC236}">
                    <a16:creationId xmlns:a16="http://schemas.microsoft.com/office/drawing/2014/main" id="{BF99721A-8DD2-5AF5-20EC-4111457A95E2}"/>
                  </a:ext>
                </a:extLst>
              </p:cNvPr>
              <p:cNvSpPr>
                <a:spLocks noChangeShapeType="1"/>
              </p:cNvSpPr>
              <p:nvPr/>
            </p:nvSpPr>
            <p:spPr bwMode="auto">
              <a:xfrm>
                <a:off x="2851" y="2321"/>
                <a:ext cx="10" cy="16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GB"/>
              </a:p>
            </p:txBody>
          </p:sp>
          <p:sp>
            <p:nvSpPr>
              <p:cNvPr id="826" name="Line 565">
                <a:extLst>
                  <a:ext uri="{FF2B5EF4-FFF2-40B4-BE49-F238E27FC236}">
                    <a16:creationId xmlns:a16="http://schemas.microsoft.com/office/drawing/2014/main" id="{3CA356D5-7CD9-467C-6F46-ED73404D9CF5}"/>
                  </a:ext>
                </a:extLst>
              </p:cNvPr>
              <p:cNvSpPr>
                <a:spLocks noChangeShapeType="1"/>
              </p:cNvSpPr>
              <p:nvPr/>
            </p:nvSpPr>
            <p:spPr bwMode="auto">
              <a:xfrm>
                <a:off x="3231" y="1208"/>
                <a:ext cx="2" cy="237"/>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GB"/>
              </a:p>
            </p:txBody>
          </p:sp>
          <p:sp>
            <p:nvSpPr>
              <p:cNvPr id="827" name="Line 566">
                <a:extLst>
                  <a:ext uri="{FF2B5EF4-FFF2-40B4-BE49-F238E27FC236}">
                    <a16:creationId xmlns:a16="http://schemas.microsoft.com/office/drawing/2014/main" id="{DD6F9B70-F4A7-EE4B-D303-80BECE41F93F}"/>
                  </a:ext>
                </a:extLst>
              </p:cNvPr>
              <p:cNvSpPr>
                <a:spLocks noChangeShapeType="1"/>
              </p:cNvSpPr>
              <p:nvPr/>
            </p:nvSpPr>
            <p:spPr bwMode="auto">
              <a:xfrm flipH="1">
                <a:off x="2493" y="1220"/>
                <a:ext cx="16" cy="145"/>
              </a:xfrm>
              <a:prstGeom prst="line">
                <a:avLst/>
              </a:prstGeom>
              <a:noFill/>
              <a:ln w="7938">
                <a:solidFill>
                  <a:schemeClr val="tx1"/>
                </a:solidFill>
                <a:round/>
                <a:headEnd/>
                <a:tailEnd/>
              </a:ln>
              <a:extLst>
                <a:ext uri="{909E8E84-426E-40DD-AFC4-6F175D3DCCD1}">
                  <a14:hiddenFill xmlns:a14="http://schemas.microsoft.com/office/drawing/2010/main">
                    <a:noFill/>
                  </a14:hiddenFill>
                </a:ext>
              </a:extLst>
            </p:spPr>
            <p:txBody>
              <a:bodyPr rtlCol="0"/>
              <a:lstStyle/>
              <a:p>
                <a:pPr rtl="0"/>
                <a:endParaRPr lang="en-GB"/>
              </a:p>
            </p:txBody>
          </p:sp>
        </p:grpSp>
        <p:cxnSp>
          <p:nvCxnSpPr>
            <p:cNvPr id="812" name="Straight Connector 811">
              <a:extLst>
                <a:ext uri="{FF2B5EF4-FFF2-40B4-BE49-F238E27FC236}">
                  <a16:creationId xmlns:a16="http://schemas.microsoft.com/office/drawing/2014/main" id="{0CB40002-46A7-2017-49A9-99F9147F1DC3}"/>
                </a:ext>
              </a:extLst>
            </p:cNvPr>
            <p:cNvCxnSpPr/>
            <p:nvPr/>
          </p:nvCxnSpPr>
          <p:spPr bwMode="auto">
            <a:xfrm>
              <a:off x="4415751" y="1967026"/>
              <a:ext cx="0" cy="939384"/>
            </a:xfrm>
            <a:prstGeom prst="line">
              <a:avLst/>
            </a:prstGeom>
            <a:solidFill>
              <a:schemeClr val="accent1"/>
            </a:solidFill>
            <a:ln w="44450" cap="flat" cmpd="sng" algn="ctr">
              <a:solidFill>
                <a:srgbClr val="1E7FB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3" name="Oval 812">
              <a:extLst>
                <a:ext uri="{FF2B5EF4-FFF2-40B4-BE49-F238E27FC236}">
                  <a16:creationId xmlns:a16="http://schemas.microsoft.com/office/drawing/2014/main" id="{58B03C1E-E806-35F1-1E7F-2541EA9ECFCF}"/>
                </a:ext>
              </a:extLst>
            </p:cNvPr>
            <p:cNvSpPr/>
            <p:nvPr/>
          </p:nvSpPr>
          <p:spPr bwMode="auto">
            <a:xfrm>
              <a:off x="4304438" y="3915739"/>
              <a:ext cx="84349" cy="176316"/>
            </a:xfrm>
            <a:prstGeom prst="ellipse">
              <a:avLst/>
            </a:prstGeom>
            <a:solidFill>
              <a:srgbClr val="FF99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14" name="Oval 813">
              <a:extLst>
                <a:ext uri="{FF2B5EF4-FFF2-40B4-BE49-F238E27FC236}">
                  <a16:creationId xmlns:a16="http://schemas.microsoft.com/office/drawing/2014/main" id="{7A12ACD1-AF4E-130D-A676-08E67D3529A0}"/>
                </a:ext>
              </a:extLst>
            </p:cNvPr>
            <p:cNvSpPr/>
            <p:nvPr/>
          </p:nvSpPr>
          <p:spPr bwMode="auto">
            <a:xfrm>
              <a:off x="4428260" y="3915723"/>
              <a:ext cx="84349" cy="176316"/>
            </a:xfrm>
            <a:prstGeom prst="ellipse">
              <a:avLst/>
            </a:prstGeom>
            <a:solidFill>
              <a:srgbClr val="FF9999"/>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15" name="Oval 814">
              <a:extLst>
                <a:ext uri="{FF2B5EF4-FFF2-40B4-BE49-F238E27FC236}">
                  <a16:creationId xmlns:a16="http://schemas.microsoft.com/office/drawing/2014/main" id="{B50A40E0-82F5-568B-2832-B8B5D00D843F}"/>
                </a:ext>
              </a:extLst>
            </p:cNvPr>
            <p:cNvSpPr/>
            <p:nvPr/>
          </p:nvSpPr>
          <p:spPr bwMode="auto">
            <a:xfrm>
              <a:off x="4306129" y="1797860"/>
              <a:ext cx="76208" cy="83317"/>
            </a:xfrm>
            <a:prstGeom prst="ellipse">
              <a:avLst/>
            </a:prstGeom>
            <a:solidFill>
              <a:srgbClr val="66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16" name="Oval 815">
              <a:extLst>
                <a:ext uri="{FF2B5EF4-FFF2-40B4-BE49-F238E27FC236}">
                  <a16:creationId xmlns:a16="http://schemas.microsoft.com/office/drawing/2014/main" id="{794B4F55-6797-24CD-361B-9AD99E343CF0}"/>
                </a:ext>
              </a:extLst>
            </p:cNvPr>
            <p:cNvSpPr/>
            <p:nvPr/>
          </p:nvSpPr>
          <p:spPr bwMode="auto">
            <a:xfrm>
              <a:off x="4458529" y="1797844"/>
              <a:ext cx="76208" cy="83317"/>
            </a:xfrm>
            <a:prstGeom prst="ellipse">
              <a:avLst/>
            </a:prstGeom>
            <a:solidFill>
              <a:srgbClr val="66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17" name="Freeform 246">
              <a:extLst>
                <a:ext uri="{FF2B5EF4-FFF2-40B4-BE49-F238E27FC236}">
                  <a16:creationId xmlns:a16="http://schemas.microsoft.com/office/drawing/2014/main" id="{F3BD7712-079F-226A-9CB6-5D9B81D3FAC0}"/>
                </a:ext>
              </a:extLst>
            </p:cNvPr>
            <p:cNvSpPr/>
            <p:nvPr/>
          </p:nvSpPr>
          <p:spPr bwMode="auto">
            <a:xfrm>
              <a:off x="4169569" y="1504526"/>
              <a:ext cx="459582" cy="293318"/>
            </a:xfrm>
            <a:custGeom>
              <a:avLst/>
              <a:gdLst>
                <a:gd name="connsiteX0" fmla="*/ 2381 w 585801"/>
                <a:gd name="connsiteY0" fmla="*/ 226219 h 433387"/>
                <a:gd name="connsiteX1" fmla="*/ 14287 w 585801"/>
                <a:gd name="connsiteY1" fmla="*/ 216694 h 433387"/>
                <a:gd name="connsiteX2" fmla="*/ 21431 w 585801"/>
                <a:gd name="connsiteY2" fmla="*/ 209550 h 433387"/>
                <a:gd name="connsiteX3" fmla="*/ 42862 w 585801"/>
                <a:gd name="connsiteY3" fmla="*/ 204787 h 433387"/>
                <a:gd name="connsiteX4" fmla="*/ 66675 w 585801"/>
                <a:gd name="connsiteY4" fmla="*/ 207169 h 433387"/>
                <a:gd name="connsiteX5" fmla="*/ 69056 w 585801"/>
                <a:gd name="connsiteY5" fmla="*/ 214312 h 433387"/>
                <a:gd name="connsiteX6" fmla="*/ 71437 w 585801"/>
                <a:gd name="connsiteY6" fmla="*/ 178594 h 433387"/>
                <a:gd name="connsiteX7" fmla="*/ 88106 w 585801"/>
                <a:gd name="connsiteY7" fmla="*/ 159544 h 433387"/>
                <a:gd name="connsiteX8" fmla="*/ 92869 w 585801"/>
                <a:gd name="connsiteY8" fmla="*/ 152400 h 433387"/>
                <a:gd name="connsiteX9" fmla="*/ 107156 w 585801"/>
                <a:gd name="connsiteY9" fmla="*/ 142875 h 433387"/>
                <a:gd name="connsiteX10" fmla="*/ 104775 w 585801"/>
                <a:gd name="connsiteY10" fmla="*/ 121444 h 433387"/>
                <a:gd name="connsiteX11" fmla="*/ 109537 w 585801"/>
                <a:gd name="connsiteY11" fmla="*/ 107156 h 433387"/>
                <a:gd name="connsiteX12" fmla="*/ 130969 w 585801"/>
                <a:gd name="connsiteY12" fmla="*/ 95250 h 433387"/>
                <a:gd name="connsiteX13" fmla="*/ 152400 w 585801"/>
                <a:gd name="connsiteY13" fmla="*/ 92869 h 433387"/>
                <a:gd name="connsiteX14" fmla="*/ 161925 w 585801"/>
                <a:gd name="connsiteY14" fmla="*/ 78581 h 433387"/>
                <a:gd name="connsiteX15" fmla="*/ 164306 w 585801"/>
                <a:gd name="connsiteY15" fmla="*/ 66675 h 433387"/>
                <a:gd name="connsiteX16" fmla="*/ 166687 w 585801"/>
                <a:gd name="connsiteY16" fmla="*/ 59531 h 433387"/>
                <a:gd name="connsiteX17" fmla="*/ 180975 w 585801"/>
                <a:gd name="connsiteY17" fmla="*/ 54769 h 433387"/>
                <a:gd name="connsiteX18" fmla="*/ 197644 w 585801"/>
                <a:gd name="connsiteY18" fmla="*/ 50006 h 433387"/>
                <a:gd name="connsiteX19" fmla="*/ 216694 w 585801"/>
                <a:gd name="connsiteY19" fmla="*/ 47625 h 433387"/>
                <a:gd name="connsiteX20" fmla="*/ 226219 w 585801"/>
                <a:gd name="connsiteY20" fmla="*/ 33337 h 433387"/>
                <a:gd name="connsiteX21" fmla="*/ 238125 w 585801"/>
                <a:gd name="connsiteY21" fmla="*/ 14287 h 433387"/>
                <a:gd name="connsiteX22" fmla="*/ 259556 w 585801"/>
                <a:gd name="connsiteY22" fmla="*/ 21431 h 433387"/>
                <a:gd name="connsiteX23" fmla="*/ 261937 w 585801"/>
                <a:gd name="connsiteY23" fmla="*/ 28575 h 433387"/>
                <a:gd name="connsiteX24" fmla="*/ 269081 w 585801"/>
                <a:gd name="connsiteY24" fmla="*/ 23812 h 433387"/>
                <a:gd name="connsiteX25" fmla="*/ 271462 w 585801"/>
                <a:gd name="connsiteY25" fmla="*/ 16669 h 433387"/>
                <a:gd name="connsiteX26" fmla="*/ 278606 w 585801"/>
                <a:gd name="connsiteY26" fmla="*/ 14287 h 433387"/>
                <a:gd name="connsiteX27" fmla="*/ 295275 w 585801"/>
                <a:gd name="connsiteY27" fmla="*/ 7144 h 433387"/>
                <a:gd name="connsiteX28" fmla="*/ 316706 w 585801"/>
                <a:gd name="connsiteY28" fmla="*/ 9525 h 433387"/>
                <a:gd name="connsiteX29" fmla="*/ 330994 w 585801"/>
                <a:gd name="connsiteY29" fmla="*/ 14287 h 433387"/>
                <a:gd name="connsiteX30" fmla="*/ 333375 w 585801"/>
                <a:gd name="connsiteY30" fmla="*/ 21431 h 433387"/>
                <a:gd name="connsiteX31" fmla="*/ 338137 w 585801"/>
                <a:gd name="connsiteY31" fmla="*/ 14287 h 433387"/>
                <a:gd name="connsiteX32" fmla="*/ 352425 w 585801"/>
                <a:gd name="connsiteY32" fmla="*/ 2381 h 433387"/>
                <a:gd name="connsiteX33" fmla="*/ 359569 w 585801"/>
                <a:gd name="connsiteY33" fmla="*/ 0 h 433387"/>
                <a:gd name="connsiteX34" fmla="*/ 416719 w 585801"/>
                <a:gd name="connsiteY34" fmla="*/ 2381 h 433387"/>
                <a:gd name="connsiteX35" fmla="*/ 433387 w 585801"/>
                <a:gd name="connsiteY35" fmla="*/ 7144 h 433387"/>
                <a:gd name="connsiteX36" fmla="*/ 438150 w 585801"/>
                <a:gd name="connsiteY36" fmla="*/ 14287 h 433387"/>
                <a:gd name="connsiteX37" fmla="*/ 442912 w 585801"/>
                <a:gd name="connsiteY37" fmla="*/ 40481 h 433387"/>
                <a:gd name="connsiteX38" fmla="*/ 447675 w 585801"/>
                <a:gd name="connsiteY38" fmla="*/ 33337 h 433387"/>
                <a:gd name="connsiteX39" fmla="*/ 461962 w 585801"/>
                <a:gd name="connsiteY39" fmla="*/ 28575 h 433387"/>
                <a:gd name="connsiteX40" fmla="*/ 509587 w 585801"/>
                <a:gd name="connsiteY40" fmla="*/ 33337 h 433387"/>
                <a:gd name="connsiteX41" fmla="*/ 516731 w 585801"/>
                <a:gd name="connsiteY41" fmla="*/ 35719 h 433387"/>
                <a:gd name="connsiteX42" fmla="*/ 528637 w 585801"/>
                <a:gd name="connsiteY42" fmla="*/ 50006 h 433387"/>
                <a:gd name="connsiteX43" fmla="*/ 535781 w 585801"/>
                <a:gd name="connsiteY43" fmla="*/ 73819 h 433387"/>
                <a:gd name="connsiteX44" fmla="*/ 550069 w 585801"/>
                <a:gd name="connsiteY44" fmla="*/ 83344 h 433387"/>
                <a:gd name="connsiteX45" fmla="*/ 564356 w 585801"/>
                <a:gd name="connsiteY45" fmla="*/ 95250 h 433387"/>
                <a:gd name="connsiteX46" fmla="*/ 569119 w 585801"/>
                <a:gd name="connsiteY46" fmla="*/ 109537 h 433387"/>
                <a:gd name="connsiteX47" fmla="*/ 564356 w 585801"/>
                <a:gd name="connsiteY47" fmla="*/ 150019 h 433387"/>
                <a:gd name="connsiteX48" fmla="*/ 573881 w 585801"/>
                <a:gd name="connsiteY48" fmla="*/ 164306 h 433387"/>
                <a:gd name="connsiteX49" fmla="*/ 585787 w 585801"/>
                <a:gd name="connsiteY49" fmla="*/ 185737 h 433387"/>
                <a:gd name="connsiteX50" fmla="*/ 578644 w 585801"/>
                <a:gd name="connsiteY50" fmla="*/ 221456 h 433387"/>
                <a:gd name="connsiteX51" fmla="*/ 571500 w 585801"/>
                <a:gd name="connsiteY51" fmla="*/ 223837 h 433387"/>
                <a:gd name="connsiteX52" fmla="*/ 564356 w 585801"/>
                <a:gd name="connsiteY52" fmla="*/ 238125 h 433387"/>
                <a:gd name="connsiteX53" fmla="*/ 557212 w 585801"/>
                <a:gd name="connsiteY53" fmla="*/ 240506 h 433387"/>
                <a:gd name="connsiteX54" fmla="*/ 576262 w 585801"/>
                <a:gd name="connsiteY54" fmla="*/ 261937 h 433387"/>
                <a:gd name="connsiteX55" fmla="*/ 576262 w 585801"/>
                <a:gd name="connsiteY55" fmla="*/ 295275 h 433387"/>
                <a:gd name="connsiteX56" fmla="*/ 571500 w 585801"/>
                <a:gd name="connsiteY56" fmla="*/ 302419 h 433387"/>
                <a:gd name="connsiteX57" fmla="*/ 552450 w 585801"/>
                <a:gd name="connsiteY57" fmla="*/ 307181 h 433387"/>
                <a:gd name="connsiteX58" fmla="*/ 557212 w 585801"/>
                <a:gd name="connsiteY58" fmla="*/ 314325 h 433387"/>
                <a:gd name="connsiteX59" fmla="*/ 564356 w 585801"/>
                <a:gd name="connsiteY59" fmla="*/ 319087 h 433387"/>
                <a:gd name="connsiteX60" fmla="*/ 573881 w 585801"/>
                <a:gd name="connsiteY60" fmla="*/ 333375 h 433387"/>
                <a:gd name="connsiteX61" fmla="*/ 578644 w 585801"/>
                <a:gd name="connsiteY61" fmla="*/ 340519 h 433387"/>
                <a:gd name="connsiteX62" fmla="*/ 573881 w 585801"/>
                <a:gd name="connsiteY62" fmla="*/ 366712 h 433387"/>
                <a:gd name="connsiteX63" fmla="*/ 571500 w 585801"/>
                <a:gd name="connsiteY63" fmla="*/ 373856 h 433387"/>
                <a:gd name="connsiteX64" fmla="*/ 564356 w 585801"/>
                <a:gd name="connsiteY64" fmla="*/ 376237 h 433387"/>
                <a:gd name="connsiteX65" fmla="*/ 528637 w 585801"/>
                <a:gd name="connsiteY65" fmla="*/ 392906 h 433387"/>
                <a:gd name="connsiteX66" fmla="*/ 523875 w 585801"/>
                <a:gd name="connsiteY66" fmla="*/ 400050 h 433387"/>
                <a:gd name="connsiteX67" fmla="*/ 516731 w 585801"/>
                <a:gd name="connsiteY67" fmla="*/ 404812 h 433387"/>
                <a:gd name="connsiteX68" fmla="*/ 502444 w 585801"/>
                <a:gd name="connsiteY68" fmla="*/ 409575 h 433387"/>
                <a:gd name="connsiteX69" fmla="*/ 445294 w 585801"/>
                <a:gd name="connsiteY69" fmla="*/ 407194 h 433387"/>
                <a:gd name="connsiteX70" fmla="*/ 433387 w 585801"/>
                <a:gd name="connsiteY70" fmla="*/ 416719 h 433387"/>
                <a:gd name="connsiteX71" fmla="*/ 426244 w 585801"/>
                <a:gd name="connsiteY71" fmla="*/ 421481 h 433387"/>
                <a:gd name="connsiteX72" fmla="*/ 411956 w 585801"/>
                <a:gd name="connsiteY72" fmla="*/ 426244 h 433387"/>
                <a:gd name="connsiteX73" fmla="*/ 392906 w 585801"/>
                <a:gd name="connsiteY73" fmla="*/ 433387 h 433387"/>
                <a:gd name="connsiteX74" fmla="*/ 354806 w 585801"/>
                <a:gd name="connsiteY74" fmla="*/ 431006 h 433387"/>
                <a:gd name="connsiteX75" fmla="*/ 347662 w 585801"/>
                <a:gd name="connsiteY75" fmla="*/ 426244 h 433387"/>
                <a:gd name="connsiteX76" fmla="*/ 338137 w 585801"/>
                <a:gd name="connsiteY76" fmla="*/ 395287 h 433387"/>
                <a:gd name="connsiteX77" fmla="*/ 309562 w 585801"/>
                <a:gd name="connsiteY77" fmla="*/ 419100 h 433387"/>
                <a:gd name="connsiteX78" fmla="*/ 302419 w 585801"/>
                <a:gd name="connsiteY78" fmla="*/ 423862 h 433387"/>
                <a:gd name="connsiteX79" fmla="*/ 280987 w 585801"/>
                <a:gd name="connsiteY79" fmla="*/ 421481 h 433387"/>
                <a:gd name="connsiteX80" fmla="*/ 271462 w 585801"/>
                <a:gd name="connsiteY80" fmla="*/ 409575 h 433387"/>
                <a:gd name="connsiteX81" fmla="*/ 264319 w 585801"/>
                <a:gd name="connsiteY81" fmla="*/ 402431 h 433387"/>
                <a:gd name="connsiteX82" fmla="*/ 259556 w 585801"/>
                <a:gd name="connsiteY82" fmla="*/ 395287 h 433387"/>
                <a:gd name="connsiteX83" fmla="*/ 261937 w 585801"/>
                <a:gd name="connsiteY83" fmla="*/ 381000 h 433387"/>
                <a:gd name="connsiteX84" fmla="*/ 266700 w 585801"/>
                <a:gd name="connsiteY84" fmla="*/ 366712 h 433387"/>
                <a:gd name="connsiteX85" fmla="*/ 259556 w 585801"/>
                <a:gd name="connsiteY85" fmla="*/ 371475 h 433387"/>
                <a:gd name="connsiteX86" fmla="*/ 242887 w 585801"/>
                <a:gd name="connsiteY86" fmla="*/ 392906 h 433387"/>
                <a:gd name="connsiteX87" fmla="*/ 238125 w 585801"/>
                <a:gd name="connsiteY87" fmla="*/ 400050 h 433387"/>
                <a:gd name="connsiteX88" fmla="*/ 190500 w 585801"/>
                <a:gd name="connsiteY88" fmla="*/ 390525 h 433387"/>
                <a:gd name="connsiteX89" fmla="*/ 188119 w 585801"/>
                <a:gd name="connsiteY89" fmla="*/ 383381 h 433387"/>
                <a:gd name="connsiteX90" fmla="*/ 178594 w 585801"/>
                <a:gd name="connsiteY90" fmla="*/ 404812 h 433387"/>
                <a:gd name="connsiteX91" fmla="*/ 171450 w 585801"/>
                <a:gd name="connsiteY91" fmla="*/ 409575 h 433387"/>
                <a:gd name="connsiteX92" fmla="*/ 157162 w 585801"/>
                <a:gd name="connsiteY92" fmla="*/ 414337 h 433387"/>
                <a:gd name="connsiteX93" fmla="*/ 126206 w 585801"/>
                <a:gd name="connsiteY93" fmla="*/ 411956 h 433387"/>
                <a:gd name="connsiteX94" fmla="*/ 104775 w 585801"/>
                <a:gd name="connsiteY94" fmla="*/ 395287 h 433387"/>
                <a:gd name="connsiteX95" fmla="*/ 102394 w 585801"/>
                <a:gd name="connsiteY95" fmla="*/ 388144 h 433387"/>
                <a:gd name="connsiteX96" fmla="*/ 104775 w 585801"/>
                <a:gd name="connsiteY96" fmla="*/ 378619 h 433387"/>
                <a:gd name="connsiteX97" fmla="*/ 116681 w 585801"/>
                <a:gd name="connsiteY97" fmla="*/ 366712 h 433387"/>
                <a:gd name="connsiteX98" fmla="*/ 123825 w 585801"/>
                <a:gd name="connsiteY98" fmla="*/ 364331 h 433387"/>
                <a:gd name="connsiteX99" fmla="*/ 169069 w 585801"/>
                <a:gd name="connsiteY99" fmla="*/ 361950 h 433387"/>
                <a:gd name="connsiteX100" fmla="*/ 173831 w 585801"/>
                <a:gd name="connsiteY100" fmla="*/ 335756 h 433387"/>
                <a:gd name="connsiteX101" fmla="*/ 166687 w 585801"/>
                <a:gd name="connsiteY101" fmla="*/ 338137 h 433387"/>
                <a:gd name="connsiteX102" fmla="*/ 92869 w 585801"/>
                <a:gd name="connsiteY102" fmla="*/ 345281 h 433387"/>
                <a:gd name="connsiteX103" fmla="*/ 88106 w 585801"/>
                <a:gd name="connsiteY103" fmla="*/ 352425 h 433387"/>
                <a:gd name="connsiteX104" fmla="*/ 80962 w 585801"/>
                <a:gd name="connsiteY104" fmla="*/ 366712 h 433387"/>
                <a:gd name="connsiteX105" fmla="*/ 78581 w 585801"/>
                <a:gd name="connsiteY105" fmla="*/ 373856 h 433387"/>
                <a:gd name="connsiteX106" fmla="*/ 64294 w 585801"/>
                <a:gd name="connsiteY106" fmla="*/ 378619 h 433387"/>
                <a:gd name="connsiteX107" fmla="*/ 35719 w 585801"/>
                <a:gd name="connsiteY107" fmla="*/ 376237 h 433387"/>
                <a:gd name="connsiteX108" fmla="*/ 30956 w 585801"/>
                <a:gd name="connsiteY108" fmla="*/ 369094 h 433387"/>
                <a:gd name="connsiteX109" fmla="*/ 23812 w 585801"/>
                <a:gd name="connsiteY109" fmla="*/ 364331 h 433387"/>
                <a:gd name="connsiteX110" fmla="*/ 19050 w 585801"/>
                <a:gd name="connsiteY110" fmla="*/ 357187 h 433387"/>
                <a:gd name="connsiteX111" fmla="*/ 21431 w 585801"/>
                <a:gd name="connsiteY111" fmla="*/ 338137 h 433387"/>
                <a:gd name="connsiteX112" fmla="*/ 42862 w 585801"/>
                <a:gd name="connsiteY112" fmla="*/ 326231 h 433387"/>
                <a:gd name="connsiteX113" fmla="*/ 59531 w 585801"/>
                <a:gd name="connsiteY113" fmla="*/ 323850 h 433387"/>
                <a:gd name="connsiteX114" fmla="*/ 66675 w 585801"/>
                <a:gd name="connsiteY114" fmla="*/ 321469 h 433387"/>
                <a:gd name="connsiteX115" fmla="*/ 57150 w 585801"/>
                <a:gd name="connsiteY115" fmla="*/ 319087 h 433387"/>
                <a:gd name="connsiteX116" fmla="*/ 11906 w 585801"/>
                <a:gd name="connsiteY116" fmla="*/ 316706 h 433387"/>
                <a:gd name="connsiteX117" fmla="*/ 2381 w 585801"/>
                <a:gd name="connsiteY117" fmla="*/ 314325 h 433387"/>
                <a:gd name="connsiteX118" fmla="*/ 0 w 585801"/>
                <a:gd name="connsiteY118" fmla="*/ 307181 h 433387"/>
                <a:gd name="connsiteX119" fmla="*/ 2381 w 585801"/>
                <a:gd name="connsiteY119" fmla="*/ 276225 h 433387"/>
                <a:gd name="connsiteX120" fmla="*/ 7144 w 585801"/>
                <a:gd name="connsiteY120" fmla="*/ 261937 h 433387"/>
                <a:gd name="connsiteX121" fmla="*/ 9525 w 585801"/>
                <a:gd name="connsiteY121" fmla="*/ 254794 h 433387"/>
                <a:gd name="connsiteX122" fmla="*/ 11906 w 585801"/>
                <a:gd name="connsiteY122" fmla="*/ 223837 h 433387"/>
                <a:gd name="connsiteX123" fmla="*/ 14287 w 585801"/>
                <a:gd name="connsiteY123" fmla="*/ 216694 h 433387"/>
                <a:gd name="connsiteX124" fmla="*/ 21431 w 585801"/>
                <a:gd name="connsiteY124" fmla="*/ 211931 h 433387"/>
                <a:gd name="connsiteX125" fmla="*/ 2381 w 585801"/>
                <a:gd name="connsiteY125" fmla="*/ 226219 h 433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585801" h="433387">
                  <a:moveTo>
                    <a:pt x="2381" y="226219"/>
                  </a:moveTo>
                  <a:cubicBezTo>
                    <a:pt x="1190" y="227013"/>
                    <a:pt x="10462" y="220041"/>
                    <a:pt x="14287" y="216694"/>
                  </a:cubicBezTo>
                  <a:cubicBezTo>
                    <a:pt x="16821" y="214476"/>
                    <a:pt x="18629" y="211418"/>
                    <a:pt x="21431" y="209550"/>
                  </a:cubicBezTo>
                  <a:cubicBezTo>
                    <a:pt x="25337" y="206946"/>
                    <a:pt x="41137" y="205075"/>
                    <a:pt x="42862" y="204787"/>
                  </a:cubicBezTo>
                  <a:cubicBezTo>
                    <a:pt x="50800" y="205581"/>
                    <a:pt x="59178" y="204443"/>
                    <a:pt x="66675" y="207169"/>
                  </a:cubicBezTo>
                  <a:cubicBezTo>
                    <a:pt x="69034" y="208027"/>
                    <a:pt x="68643" y="216788"/>
                    <a:pt x="69056" y="214312"/>
                  </a:cubicBezTo>
                  <a:cubicBezTo>
                    <a:pt x="71017" y="202542"/>
                    <a:pt x="68673" y="190202"/>
                    <a:pt x="71437" y="178594"/>
                  </a:cubicBezTo>
                  <a:cubicBezTo>
                    <a:pt x="74058" y="167585"/>
                    <a:pt x="80445" y="164651"/>
                    <a:pt x="88106" y="159544"/>
                  </a:cubicBezTo>
                  <a:cubicBezTo>
                    <a:pt x="89694" y="157163"/>
                    <a:pt x="90715" y="154285"/>
                    <a:pt x="92869" y="152400"/>
                  </a:cubicBezTo>
                  <a:cubicBezTo>
                    <a:pt x="97176" y="148631"/>
                    <a:pt x="107156" y="142875"/>
                    <a:pt x="107156" y="142875"/>
                  </a:cubicBezTo>
                  <a:lnTo>
                    <a:pt x="104775" y="121444"/>
                  </a:lnTo>
                  <a:lnTo>
                    <a:pt x="109537" y="107156"/>
                  </a:lnTo>
                  <a:cubicBezTo>
                    <a:pt x="110740" y="103545"/>
                    <a:pt x="125049" y="96237"/>
                    <a:pt x="130969" y="95250"/>
                  </a:cubicBezTo>
                  <a:cubicBezTo>
                    <a:pt x="138059" y="94068"/>
                    <a:pt x="145256" y="93663"/>
                    <a:pt x="152400" y="92869"/>
                  </a:cubicBezTo>
                  <a:cubicBezTo>
                    <a:pt x="161916" y="86524"/>
                    <a:pt x="159251" y="90615"/>
                    <a:pt x="161925" y="78581"/>
                  </a:cubicBezTo>
                  <a:cubicBezTo>
                    <a:pt x="162803" y="74630"/>
                    <a:pt x="163324" y="70601"/>
                    <a:pt x="164306" y="66675"/>
                  </a:cubicBezTo>
                  <a:cubicBezTo>
                    <a:pt x="164915" y="64240"/>
                    <a:pt x="164644" y="60990"/>
                    <a:pt x="166687" y="59531"/>
                  </a:cubicBezTo>
                  <a:cubicBezTo>
                    <a:pt x="170772" y="56613"/>
                    <a:pt x="176212" y="56357"/>
                    <a:pt x="180975" y="54769"/>
                  </a:cubicBezTo>
                  <a:cubicBezTo>
                    <a:pt x="186643" y="52880"/>
                    <a:pt x="191655" y="51004"/>
                    <a:pt x="197644" y="50006"/>
                  </a:cubicBezTo>
                  <a:cubicBezTo>
                    <a:pt x="203956" y="48954"/>
                    <a:pt x="210344" y="48419"/>
                    <a:pt x="216694" y="47625"/>
                  </a:cubicBezTo>
                  <a:cubicBezTo>
                    <a:pt x="219869" y="42862"/>
                    <a:pt x="224409" y="38767"/>
                    <a:pt x="226219" y="33337"/>
                  </a:cubicBezTo>
                  <a:cubicBezTo>
                    <a:pt x="231886" y="16335"/>
                    <a:pt x="226804" y="21835"/>
                    <a:pt x="238125" y="14287"/>
                  </a:cubicBezTo>
                  <a:cubicBezTo>
                    <a:pt x="245094" y="15449"/>
                    <a:pt x="254406" y="14993"/>
                    <a:pt x="259556" y="21431"/>
                  </a:cubicBezTo>
                  <a:cubicBezTo>
                    <a:pt x="261124" y="23391"/>
                    <a:pt x="261143" y="26194"/>
                    <a:pt x="261937" y="28575"/>
                  </a:cubicBezTo>
                  <a:cubicBezTo>
                    <a:pt x="264318" y="26987"/>
                    <a:pt x="267293" y="26047"/>
                    <a:pt x="269081" y="23812"/>
                  </a:cubicBezTo>
                  <a:cubicBezTo>
                    <a:pt x="270649" y="21852"/>
                    <a:pt x="269687" y="18444"/>
                    <a:pt x="271462" y="16669"/>
                  </a:cubicBezTo>
                  <a:cubicBezTo>
                    <a:pt x="273237" y="14894"/>
                    <a:pt x="276361" y="15410"/>
                    <a:pt x="278606" y="14287"/>
                  </a:cubicBezTo>
                  <a:cubicBezTo>
                    <a:pt x="295047" y="6067"/>
                    <a:pt x="275456" y="12098"/>
                    <a:pt x="295275" y="7144"/>
                  </a:cubicBezTo>
                  <a:cubicBezTo>
                    <a:pt x="302419" y="7938"/>
                    <a:pt x="309658" y="8116"/>
                    <a:pt x="316706" y="9525"/>
                  </a:cubicBezTo>
                  <a:cubicBezTo>
                    <a:pt x="321629" y="10509"/>
                    <a:pt x="330994" y="14287"/>
                    <a:pt x="330994" y="14287"/>
                  </a:cubicBezTo>
                  <a:cubicBezTo>
                    <a:pt x="331788" y="16668"/>
                    <a:pt x="330865" y="21431"/>
                    <a:pt x="333375" y="21431"/>
                  </a:cubicBezTo>
                  <a:cubicBezTo>
                    <a:pt x="336237" y="21431"/>
                    <a:pt x="336305" y="16486"/>
                    <a:pt x="338137" y="14287"/>
                  </a:cubicBezTo>
                  <a:cubicBezTo>
                    <a:pt x="341897" y="9775"/>
                    <a:pt x="347076" y="5056"/>
                    <a:pt x="352425" y="2381"/>
                  </a:cubicBezTo>
                  <a:cubicBezTo>
                    <a:pt x="354670" y="1258"/>
                    <a:pt x="357188" y="794"/>
                    <a:pt x="359569" y="0"/>
                  </a:cubicBezTo>
                  <a:cubicBezTo>
                    <a:pt x="378619" y="794"/>
                    <a:pt x="397701" y="1023"/>
                    <a:pt x="416719" y="2381"/>
                  </a:cubicBezTo>
                  <a:cubicBezTo>
                    <a:pt x="420530" y="2653"/>
                    <a:pt x="429389" y="5811"/>
                    <a:pt x="433387" y="7144"/>
                  </a:cubicBezTo>
                  <a:cubicBezTo>
                    <a:pt x="434975" y="9525"/>
                    <a:pt x="436870" y="11727"/>
                    <a:pt x="438150" y="14287"/>
                  </a:cubicBezTo>
                  <a:cubicBezTo>
                    <a:pt x="441820" y="21627"/>
                    <a:pt x="442092" y="33920"/>
                    <a:pt x="442912" y="40481"/>
                  </a:cubicBezTo>
                  <a:cubicBezTo>
                    <a:pt x="444500" y="38100"/>
                    <a:pt x="445248" y="34854"/>
                    <a:pt x="447675" y="33337"/>
                  </a:cubicBezTo>
                  <a:cubicBezTo>
                    <a:pt x="451932" y="30676"/>
                    <a:pt x="461962" y="28575"/>
                    <a:pt x="461962" y="28575"/>
                  </a:cubicBezTo>
                  <a:cubicBezTo>
                    <a:pt x="472320" y="29438"/>
                    <a:pt x="497519" y="31143"/>
                    <a:pt x="509587" y="33337"/>
                  </a:cubicBezTo>
                  <a:cubicBezTo>
                    <a:pt x="512057" y="33786"/>
                    <a:pt x="514350" y="34925"/>
                    <a:pt x="516731" y="35719"/>
                  </a:cubicBezTo>
                  <a:cubicBezTo>
                    <a:pt x="521025" y="40012"/>
                    <a:pt x="526149" y="44201"/>
                    <a:pt x="528637" y="50006"/>
                  </a:cubicBezTo>
                  <a:cubicBezTo>
                    <a:pt x="530543" y="54452"/>
                    <a:pt x="532583" y="71687"/>
                    <a:pt x="535781" y="73819"/>
                  </a:cubicBezTo>
                  <a:cubicBezTo>
                    <a:pt x="540544" y="76994"/>
                    <a:pt x="546022" y="79297"/>
                    <a:pt x="550069" y="83344"/>
                  </a:cubicBezTo>
                  <a:cubicBezTo>
                    <a:pt x="559236" y="92511"/>
                    <a:pt x="554410" y="88619"/>
                    <a:pt x="564356" y="95250"/>
                  </a:cubicBezTo>
                  <a:cubicBezTo>
                    <a:pt x="565944" y="100012"/>
                    <a:pt x="569477" y="104530"/>
                    <a:pt x="569119" y="109537"/>
                  </a:cubicBezTo>
                  <a:cubicBezTo>
                    <a:pt x="566558" y="145379"/>
                    <a:pt x="570260" y="132306"/>
                    <a:pt x="564356" y="150019"/>
                  </a:cubicBezTo>
                  <a:cubicBezTo>
                    <a:pt x="568910" y="163681"/>
                    <a:pt x="563476" y="150927"/>
                    <a:pt x="573881" y="164306"/>
                  </a:cubicBezTo>
                  <a:cubicBezTo>
                    <a:pt x="583433" y="176588"/>
                    <a:pt x="582194" y="174959"/>
                    <a:pt x="585787" y="185737"/>
                  </a:cubicBezTo>
                  <a:cubicBezTo>
                    <a:pt x="585269" y="191950"/>
                    <a:pt x="588078" y="213908"/>
                    <a:pt x="578644" y="221456"/>
                  </a:cubicBezTo>
                  <a:cubicBezTo>
                    <a:pt x="576684" y="223024"/>
                    <a:pt x="573881" y="223043"/>
                    <a:pt x="571500" y="223837"/>
                  </a:cubicBezTo>
                  <a:cubicBezTo>
                    <a:pt x="569931" y="228544"/>
                    <a:pt x="568553" y="234767"/>
                    <a:pt x="564356" y="238125"/>
                  </a:cubicBezTo>
                  <a:cubicBezTo>
                    <a:pt x="562396" y="239693"/>
                    <a:pt x="559593" y="239712"/>
                    <a:pt x="557212" y="240506"/>
                  </a:cubicBezTo>
                  <a:cubicBezTo>
                    <a:pt x="573523" y="256817"/>
                    <a:pt x="567764" y="249190"/>
                    <a:pt x="576262" y="261937"/>
                  </a:cubicBezTo>
                  <a:cubicBezTo>
                    <a:pt x="579824" y="276181"/>
                    <a:pt x="580810" y="275566"/>
                    <a:pt x="576262" y="295275"/>
                  </a:cubicBezTo>
                  <a:cubicBezTo>
                    <a:pt x="575618" y="298064"/>
                    <a:pt x="573735" y="300631"/>
                    <a:pt x="571500" y="302419"/>
                  </a:cubicBezTo>
                  <a:cubicBezTo>
                    <a:pt x="569060" y="304371"/>
                    <a:pt x="553042" y="307063"/>
                    <a:pt x="552450" y="307181"/>
                  </a:cubicBezTo>
                  <a:cubicBezTo>
                    <a:pt x="554037" y="309562"/>
                    <a:pt x="555188" y="312301"/>
                    <a:pt x="557212" y="314325"/>
                  </a:cubicBezTo>
                  <a:cubicBezTo>
                    <a:pt x="559236" y="316349"/>
                    <a:pt x="562471" y="316933"/>
                    <a:pt x="564356" y="319087"/>
                  </a:cubicBezTo>
                  <a:cubicBezTo>
                    <a:pt x="568125" y="323395"/>
                    <a:pt x="570706" y="328612"/>
                    <a:pt x="573881" y="333375"/>
                  </a:cubicBezTo>
                  <a:lnTo>
                    <a:pt x="578644" y="340519"/>
                  </a:lnTo>
                  <a:cubicBezTo>
                    <a:pt x="576717" y="354006"/>
                    <a:pt x="577088" y="355486"/>
                    <a:pt x="573881" y="366712"/>
                  </a:cubicBezTo>
                  <a:cubicBezTo>
                    <a:pt x="573191" y="369126"/>
                    <a:pt x="573275" y="372081"/>
                    <a:pt x="571500" y="373856"/>
                  </a:cubicBezTo>
                  <a:cubicBezTo>
                    <a:pt x="569725" y="375631"/>
                    <a:pt x="566737" y="375443"/>
                    <a:pt x="564356" y="376237"/>
                  </a:cubicBezTo>
                  <a:cubicBezTo>
                    <a:pt x="517043" y="372858"/>
                    <a:pt x="536763" y="363113"/>
                    <a:pt x="528637" y="392906"/>
                  </a:cubicBezTo>
                  <a:cubicBezTo>
                    <a:pt x="527884" y="395667"/>
                    <a:pt x="525899" y="398026"/>
                    <a:pt x="523875" y="400050"/>
                  </a:cubicBezTo>
                  <a:cubicBezTo>
                    <a:pt x="521851" y="402074"/>
                    <a:pt x="519346" y="403650"/>
                    <a:pt x="516731" y="404812"/>
                  </a:cubicBezTo>
                  <a:cubicBezTo>
                    <a:pt x="512144" y="406851"/>
                    <a:pt x="502444" y="409575"/>
                    <a:pt x="502444" y="409575"/>
                  </a:cubicBezTo>
                  <a:cubicBezTo>
                    <a:pt x="483394" y="408781"/>
                    <a:pt x="464361" y="407194"/>
                    <a:pt x="445294" y="407194"/>
                  </a:cubicBezTo>
                  <a:cubicBezTo>
                    <a:pt x="429491" y="407194"/>
                    <a:pt x="439752" y="408764"/>
                    <a:pt x="433387" y="416719"/>
                  </a:cubicBezTo>
                  <a:cubicBezTo>
                    <a:pt x="431599" y="418954"/>
                    <a:pt x="428859" y="420319"/>
                    <a:pt x="426244" y="421481"/>
                  </a:cubicBezTo>
                  <a:cubicBezTo>
                    <a:pt x="421656" y="423520"/>
                    <a:pt x="416133" y="423459"/>
                    <a:pt x="411956" y="426244"/>
                  </a:cubicBezTo>
                  <a:cubicBezTo>
                    <a:pt x="401444" y="433251"/>
                    <a:pt x="407618" y="430445"/>
                    <a:pt x="392906" y="433387"/>
                  </a:cubicBezTo>
                  <a:cubicBezTo>
                    <a:pt x="380206" y="432593"/>
                    <a:pt x="367375" y="432990"/>
                    <a:pt x="354806" y="431006"/>
                  </a:cubicBezTo>
                  <a:cubicBezTo>
                    <a:pt x="351979" y="430560"/>
                    <a:pt x="349179" y="428671"/>
                    <a:pt x="347662" y="426244"/>
                  </a:cubicBezTo>
                  <a:cubicBezTo>
                    <a:pt x="345930" y="423473"/>
                    <a:pt x="338688" y="397215"/>
                    <a:pt x="338137" y="395287"/>
                  </a:cubicBezTo>
                  <a:cubicBezTo>
                    <a:pt x="319802" y="413623"/>
                    <a:pt x="329455" y="405839"/>
                    <a:pt x="309562" y="419100"/>
                  </a:cubicBezTo>
                  <a:lnTo>
                    <a:pt x="302419" y="423862"/>
                  </a:lnTo>
                  <a:cubicBezTo>
                    <a:pt x="295275" y="423068"/>
                    <a:pt x="287960" y="423224"/>
                    <a:pt x="280987" y="421481"/>
                  </a:cubicBezTo>
                  <a:cubicBezTo>
                    <a:pt x="270339" y="418819"/>
                    <a:pt x="275992" y="416370"/>
                    <a:pt x="271462" y="409575"/>
                  </a:cubicBezTo>
                  <a:cubicBezTo>
                    <a:pt x="269594" y="406773"/>
                    <a:pt x="266475" y="405018"/>
                    <a:pt x="264319" y="402431"/>
                  </a:cubicBezTo>
                  <a:cubicBezTo>
                    <a:pt x="262487" y="400232"/>
                    <a:pt x="261144" y="397668"/>
                    <a:pt x="259556" y="395287"/>
                  </a:cubicBezTo>
                  <a:cubicBezTo>
                    <a:pt x="260350" y="390525"/>
                    <a:pt x="260766" y="385684"/>
                    <a:pt x="261937" y="381000"/>
                  </a:cubicBezTo>
                  <a:cubicBezTo>
                    <a:pt x="263155" y="376130"/>
                    <a:pt x="270877" y="363927"/>
                    <a:pt x="266700" y="366712"/>
                  </a:cubicBezTo>
                  <a:cubicBezTo>
                    <a:pt x="264319" y="368300"/>
                    <a:pt x="261755" y="369643"/>
                    <a:pt x="259556" y="371475"/>
                  </a:cubicBezTo>
                  <a:cubicBezTo>
                    <a:pt x="251163" y="378469"/>
                    <a:pt x="249524" y="382950"/>
                    <a:pt x="242887" y="392906"/>
                  </a:cubicBezTo>
                  <a:lnTo>
                    <a:pt x="238125" y="400050"/>
                  </a:lnTo>
                  <a:cubicBezTo>
                    <a:pt x="208732" y="398417"/>
                    <a:pt x="199933" y="409395"/>
                    <a:pt x="190500" y="390525"/>
                  </a:cubicBezTo>
                  <a:cubicBezTo>
                    <a:pt x="189378" y="388280"/>
                    <a:pt x="188913" y="385762"/>
                    <a:pt x="188119" y="383381"/>
                  </a:cubicBezTo>
                  <a:cubicBezTo>
                    <a:pt x="185761" y="390453"/>
                    <a:pt x="184254" y="399152"/>
                    <a:pt x="178594" y="404812"/>
                  </a:cubicBezTo>
                  <a:cubicBezTo>
                    <a:pt x="176570" y="406836"/>
                    <a:pt x="174065" y="408413"/>
                    <a:pt x="171450" y="409575"/>
                  </a:cubicBezTo>
                  <a:cubicBezTo>
                    <a:pt x="166862" y="411614"/>
                    <a:pt x="157162" y="414337"/>
                    <a:pt x="157162" y="414337"/>
                  </a:cubicBezTo>
                  <a:cubicBezTo>
                    <a:pt x="146843" y="413543"/>
                    <a:pt x="136214" y="414590"/>
                    <a:pt x="126206" y="411956"/>
                  </a:cubicBezTo>
                  <a:cubicBezTo>
                    <a:pt x="118476" y="409922"/>
                    <a:pt x="110460" y="400972"/>
                    <a:pt x="104775" y="395287"/>
                  </a:cubicBezTo>
                  <a:cubicBezTo>
                    <a:pt x="103981" y="392906"/>
                    <a:pt x="102394" y="390654"/>
                    <a:pt x="102394" y="388144"/>
                  </a:cubicBezTo>
                  <a:cubicBezTo>
                    <a:pt x="102394" y="384871"/>
                    <a:pt x="103486" y="381627"/>
                    <a:pt x="104775" y="378619"/>
                  </a:cubicBezTo>
                  <a:cubicBezTo>
                    <a:pt x="107373" y="372557"/>
                    <a:pt x="110908" y="369599"/>
                    <a:pt x="116681" y="366712"/>
                  </a:cubicBezTo>
                  <a:cubicBezTo>
                    <a:pt x="118926" y="365589"/>
                    <a:pt x="121325" y="364558"/>
                    <a:pt x="123825" y="364331"/>
                  </a:cubicBezTo>
                  <a:cubicBezTo>
                    <a:pt x="138865" y="362964"/>
                    <a:pt x="153988" y="362744"/>
                    <a:pt x="169069" y="361950"/>
                  </a:cubicBezTo>
                  <a:cubicBezTo>
                    <a:pt x="181297" y="357874"/>
                    <a:pt x="184355" y="359435"/>
                    <a:pt x="173831" y="335756"/>
                  </a:cubicBezTo>
                  <a:cubicBezTo>
                    <a:pt x="172812" y="333462"/>
                    <a:pt x="169068" y="337343"/>
                    <a:pt x="166687" y="338137"/>
                  </a:cubicBezTo>
                  <a:cubicBezTo>
                    <a:pt x="139404" y="356330"/>
                    <a:pt x="175128" y="334313"/>
                    <a:pt x="92869" y="345281"/>
                  </a:cubicBezTo>
                  <a:cubicBezTo>
                    <a:pt x="90032" y="345659"/>
                    <a:pt x="89694" y="350044"/>
                    <a:pt x="88106" y="352425"/>
                  </a:cubicBezTo>
                  <a:cubicBezTo>
                    <a:pt x="82121" y="370382"/>
                    <a:pt x="90195" y="348248"/>
                    <a:pt x="80962" y="366712"/>
                  </a:cubicBezTo>
                  <a:cubicBezTo>
                    <a:pt x="79839" y="368957"/>
                    <a:pt x="80623" y="372397"/>
                    <a:pt x="78581" y="373856"/>
                  </a:cubicBezTo>
                  <a:cubicBezTo>
                    <a:pt x="74496" y="376774"/>
                    <a:pt x="64294" y="378619"/>
                    <a:pt x="64294" y="378619"/>
                  </a:cubicBezTo>
                  <a:cubicBezTo>
                    <a:pt x="54769" y="377825"/>
                    <a:pt x="44909" y="378863"/>
                    <a:pt x="35719" y="376237"/>
                  </a:cubicBezTo>
                  <a:cubicBezTo>
                    <a:pt x="32967" y="375451"/>
                    <a:pt x="32980" y="371118"/>
                    <a:pt x="30956" y="369094"/>
                  </a:cubicBezTo>
                  <a:cubicBezTo>
                    <a:pt x="28932" y="367070"/>
                    <a:pt x="26193" y="365919"/>
                    <a:pt x="23812" y="364331"/>
                  </a:cubicBezTo>
                  <a:cubicBezTo>
                    <a:pt x="22225" y="361950"/>
                    <a:pt x="19309" y="360037"/>
                    <a:pt x="19050" y="357187"/>
                  </a:cubicBezTo>
                  <a:cubicBezTo>
                    <a:pt x="18471" y="350814"/>
                    <a:pt x="18206" y="343665"/>
                    <a:pt x="21431" y="338137"/>
                  </a:cubicBezTo>
                  <a:cubicBezTo>
                    <a:pt x="23953" y="333814"/>
                    <a:pt x="36364" y="327531"/>
                    <a:pt x="42862" y="326231"/>
                  </a:cubicBezTo>
                  <a:cubicBezTo>
                    <a:pt x="48366" y="325130"/>
                    <a:pt x="53975" y="324644"/>
                    <a:pt x="59531" y="323850"/>
                  </a:cubicBezTo>
                  <a:cubicBezTo>
                    <a:pt x="61912" y="323056"/>
                    <a:pt x="67797" y="323714"/>
                    <a:pt x="66675" y="321469"/>
                  </a:cubicBezTo>
                  <a:cubicBezTo>
                    <a:pt x="65212" y="318542"/>
                    <a:pt x="60410" y="319371"/>
                    <a:pt x="57150" y="319087"/>
                  </a:cubicBezTo>
                  <a:cubicBezTo>
                    <a:pt x="42105" y="317779"/>
                    <a:pt x="26987" y="317500"/>
                    <a:pt x="11906" y="316706"/>
                  </a:cubicBezTo>
                  <a:cubicBezTo>
                    <a:pt x="8731" y="315912"/>
                    <a:pt x="4937" y="316369"/>
                    <a:pt x="2381" y="314325"/>
                  </a:cubicBezTo>
                  <a:cubicBezTo>
                    <a:pt x="421" y="312757"/>
                    <a:pt x="0" y="309691"/>
                    <a:pt x="0" y="307181"/>
                  </a:cubicBezTo>
                  <a:cubicBezTo>
                    <a:pt x="0" y="296832"/>
                    <a:pt x="767" y="286447"/>
                    <a:pt x="2381" y="276225"/>
                  </a:cubicBezTo>
                  <a:cubicBezTo>
                    <a:pt x="3164" y="271266"/>
                    <a:pt x="5556" y="266700"/>
                    <a:pt x="7144" y="261937"/>
                  </a:cubicBezTo>
                  <a:lnTo>
                    <a:pt x="9525" y="254794"/>
                  </a:lnTo>
                  <a:cubicBezTo>
                    <a:pt x="10319" y="244475"/>
                    <a:pt x="10622" y="234107"/>
                    <a:pt x="11906" y="223837"/>
                  </a:cubicBezTo>
                  <a:cubicBezTo>
                    <a:pt x="12217" y="221347"/>
                    <a:pt x="12719" y="218654"/>
                    <a:pt x="14287" y="216694"/>
                  </a:cubicBezTo>
                  <a:cubicBezTo>
                    <a:pt x="16075" y="214459"/>
                    <a:pt x="18871" y="213211"/>
                    <a:pt x="21431" y="211931"/>
                  </a:cubicBezTo>
                  <a:cubicBezTo>
                    <a:pt x="26695" y="209299"/>
                    <a:pt x="3572" y="225425"/>
                    <a:pt x="2381" y="226219"/>
                  </a:cubicBezTo>
                  <a:close/>
                </a:path>
              </a:pathLst>
            </a:cu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rgbClr val="FF9999"/>
                </a:solidFill>
                <a:effectLst/>
                <a:latin typeface="Calibri"/>
                <a:ea typeface="Calibri"/>
                <a:cs typeface="Calibri"/>
              </a:endParaRPr>
            </a:p>
          </p:txBody>
        </p:sp>
        <p:grpSp>
          <p:nvGrpSpPr>
            <p:cNvPr id="818" name="Group 817">
              <a:extLst>
                <a:ext uri="{FF2B5EF4-FFF2-40B4-BE49-F238E27FC236}">
                  <a16:creationId xmlns:a16="http://schemas.microsoft.com/office/drawing/2014/main" id="{F9AE519D-932B-F4E3-146C-DC9916D34EF6}"/>
                </a:ext>
              </a:extLst>
            </p:cNvPr>
            <p:cNvGrpSpPr/>
            <p:nvPr/>
          </p:nvGrpSpPr>
          <p:grpSpPr>
            <a:xfrm>
              <a:off x="4028326" y="2689533"/>
              <a:ext cx="307371" cy="320130"/>
              <a:chOff x="4028326" y="2689533"/>
              <a:chExt cx="307371" cy="320130"/>
            </a:xfrm>
            <a:solidFill>
              <a:srgbClr val="FF9999"/>
            </a:solidFill>
          </p:grpSpPr>
          <p:sp>
            <p:nvSpPr>
              <p:cNvPr id="822" name="Oval 821">
                <a:extLst>
                  <a:ext uri="{FF2B5EF4-FFF2-40B4-BE49-F238E27FC236}">
                    <a16:creationId xmlns:a16="http://schemas.microsoft.com/office/drawing/2014/main" id="{310C5D07-EABF-A92C-75BF-261961AA3A25}"/>
                  </a:ext>
                </a:extLst>
              </p:cNvPr>
              <p:cNvSpPr/>
              <p:nvPr/>
            </p:nvSpPr>
            <p:spPr bwMode="auto">
              <a:xfrm>
                <a:off x="4028326" y="2689533"/>
                <a:ext cx="307371" cy="320130"/>
              </a:xfrm>
              <a:prstGeom prst="ellips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23" name="Oval 822">
                <a:extLst>
                  <a:ext uri="{FF2B5EF4-FFF2-40B4-BE49-F238E27FC236}">
                    <a16:creationId xmlns:a16="http://schemas.microsoft.com/office/drawing/2014/main" id="{5679A32C-7820-DB14-4109-B91B51327AF6}"/>
                  </a:ext>
                </a:extLst>
              </p:cNvPr>
              <p:cNvSpPr/>
              <p:nvPr/>
            </p:nvSpPr>
            <p:spPr bwMode="auto">
              <a:xfrm>
                <a:off x="4162961" y="2826725"/>
                <a:ext cx="45719" cy="45719"/>
              </a:xfrm>
              <a:prstGeom prst="ellips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grpSp>
        <p:grpSp>
          <p:nvGrpSpPr>
            <p:cNvPr id="819" name="Group 818">
              <a:extLst>
                <a:ext uri="{FF2B5EF4-FFF2-40B4-BE49-F238E27FC236}">
                  <a16:creationId xmlns:a16="http://schemas.microsoft.com/office/drawing/2014/main" id="{8563F438-1253-924F-5EAD-8715BF4097B6}"/>
                </a:ext>
              </a:extLst>
            </p:cNvPr>
            <p:cNvGrpSpPr/>
            <p:nvPr/>
          </p:nvGrpSpPr>
          <p:grpSpPr>
            <a:xfrm>
              <a:off x="4492637" y="2687168"/>
              <a:ext cx="307371" cy="320130"/>
              <a:chOff x="4028326" y="2689533"/>
              <a:chExt cx="307371" cy="320130"/>
            </a:xfrm>
            <a:solidFill>
              <a:srgbClr val="FF9999"/>
            </a:solidFill>
          </p:grpSpPr>
          <p:sp>
            <p:nvSpPr>
              <p:cNvPr id="820" name="Oval 819">
                <a:extLst>
                  <a:ext uri="{FF2B5EF4-FFF2-40B4-BE49-F238E27FC236}">
                    <a16:creationId xmlns:a16="http://schemas.microsoft.com/office/drawing/2014/main" id="{D3A3B87C-E2E7-38D8-7305-C8083F941B5B}"/>
                  </a:ext>
                </a:extLst>
              </p:cNvPr>
              <p:cNvSpPr/>
              <p:nvPr/>
            </p:nvSpPr>
            <p:spPr bwMode="auto">
              <a:xfrm>
                <a:off x="4028326" y="2689533"/>
                <a:ext cx="307371" cy="320130"/>
              </a:xfrm>
              <a:prstGeom prst="ellips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sp>
            <p:nvSpPr>
              <p:cNvPr id="821" name="Oval 820">
                <a:extLst>
                  <a:ext uri="{FF2B5EF4-FFF2-40B4-BE49-F238E27FC236}">
                    <a16:creationId xmlns:a16="http://schemas.microsoft.com/office/drawing/2014/main" id="{208AA770-52C7-58E6-38FE-9B45E1C90D20}"/>
                  </a:ext>
                </a:extLst>
              </p:cNvPr>
              <p:cNvSpPr/>
              <p:nvPr/>
            </p:nvSpPr>
            <p:spPr bwMode="auto">
              <a:xfrm>
                <a:off x="4162961" y="2826725"/>
                <a:ext cx="45719" cy="45719"/>
              </a:xfrm>
              <a:prstGeom prst="ellipse">
                <a:avLst/>
              </a:pr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Calibri"/>
                  <a:ea typeface="Calibri"/>
                  <a:cs typeface="Calibri"/>
                </a:endParaRPr>
              </a:p>
            </p:txBody>
          </p:sp>
        </p:grpSp>
      </p:grpSp>
      <p:pic>
        <p:nvPicPr>
          <p:cNvPr id="828" name="Picture 4" descr="INJECT_2">
            <a:extLst>
              <a:ext uri="{FF2B5EF4-FFF2-40B4-BE49-F238E27FC236}">
                <a16:creationId xmlns:a16="http://schemas.microsoft.com/office/drawing/2014/main" id="{E8B570C4-10FA-30C6-2E9A-7A85326FD06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68037" y="1033073"/>
            <a:ext cx="609989" cy="95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30" name="Group 829">
            <a:extLst>
              <a:ext uri="{FF2B5EF4-FFF2-40B4-BE49-F238E27FC236}">
                <a16:creationId xmlns:a16="http://schemas.microsoft.com/office/drawing/2014/main" id="{97C4A23F-F39E-042F-EB03-00AA31F26819}"/>
              </a:ext>
            </a:extLst>
          </p:cNvPr>
          <p:cNvGrpSpPr/>
          <p:nvPr/>
        </p:nvGrpSpPr>
        <p:grpSpPr>
          <a:xfrm>
            <a:off x="1104657" y="1316144"/>
            <a:ext cx="1321787" cy="1495839"/>
            <a:chOff x="827517" y="1305017"/>
            <a:chExt cx="2084360" cy="2361460"/>
          </a:xfrm>
        </p:grpSpPr>
        <p:grpSp>
          <p:nvGrpSpPr>
            <p:cNvPr id="607" name="Group 606">
              <a:extLst>
                <a:ext uri="{FF2B5EF4-FFF2-40B4-BE49-F238E27FC236}">
                  <a16:creationId xmlns:a16="http://schemas.microsoft.com/office/drawing/2014/main" id="{A5512D53-2A4A-7ECA-5037-AAE4A26BA6AF}"/>
                </a:ext>
              </a:extLst>
            </p:cNvPr>
            <p:cNvGrpSpPr/>
            <p:nvPr/>
          </p:nvGrpSpPr>
          <p:grpSpPr>
            <a:xfrm>
              <a:off x="827517" y="1305017"/>
              <a:ext cx="2084360" cy="2361460"/>
              <a:chOff x="6714" y="968714"/>
              <a:chExt cx="2991277" cy="3488977"/>
            </a:xfrm>
          </p:grpSpPr>
          <p:pic>
            <p:nvPicPr>
              <p:cNvPr id="608" name="Picture 576" descr="MCj03542190000[1]">
                <a:extLst>
                  <a:ext uri="{FF2B5EF4-FFF2-40B4-BE49-F238E27FC236}">
                    <a16:creationId xmlns:a16="http://schemas.microsoft.com/office/drawing/2014/main" id="{392E4476-D472-4C58-85A7-91E8457DF8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38300" y="968714"/>
                <a:ext cx="1056216"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9" name="Line 577">
                <a:extLst>
                  <a:ext uri="{FF2B5EF4-FFF2-40B4-BE49-F238E27FC236}">
                    <a16:creationId xmlns:a16="http://schemas.microsoft.com/office/drawing/2014/main" id="{EE776727-D7AE-E645-8F55-D37EEE86C2E0}"/>
                  </a:ext>
                </a:extLst>
              </p:cNvPr>
              <p:cNvSpPr>
                <a:spLocks noChangeShapeType="1"/>
              </p:cNvSpPr>
              <p:nvPr/>
            </p:nvSpPr>
            <p:spPr bwMode="auto">
              <a:xfrm flipH="1">
                <a:off x="2350634" y="1685484"/>
                <a:ext cx="0" cy="2116567"/>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grpSp>
            <p:nvGrpSpPr>
              <p:cNvPr id="610" name="Group 806">
                <a:extLst>
                  <a:ext uri="{FF2B5EF4-FFF2-40B4-BE49-F238E27FC236}">
                    <a16:creationId xmlns:a16="http://schemas.microsoft.com/office/drawing/2014/main" id="{08EC791E-270B-1BC1-1777-42E9AFF5C6E6}"/>
                  </a:ext>
                </a:extLst>
              </p:cNvPr>
              <p:cNvGrpSpPr>
                <a:grpSpLocks/>
              </p:cNvGrpSpPr>
              <p:nvPr/>
            </p:nvGrpSpPr>
            <p:grpSpPr bwMode="auto">
              <a:xfrm>
                <a:off x="6714" y="1252528"/>
                <a:ext cx="2207684" cy="3201988"/>
                <a:chOff x="113" y="978"/>
                <a:chExt cx="1043" cy="2017"/>
              </a:xfrm>
            </p:grpSpPr>
            <p:sp>
              <p:nvSpPr>
                <p:cNvPr id="615" name="Freeform 807">
                  <a:extLst>
                    <a:ext uri="{FF2B5EF4-FFF2-40B4-BE49-F238E27FC236}">
                      <a16:creationId xmlns:a16="http://schemas.microsoft.com/office/drawing/2014/main" id="{609FAE94-9DB1-FFCB-FB2F-8644482C24E8}"/>
                    </a:ext>
                  </a:extLst>
                </p:cNvPr>
                <p:cNvSpPr>
                  <a:spLocks/>
                </p:cNvSpPr>
                <p:nvPr/>
              </p:nvSpPr>
              <p:spPr bwMode="auto">
                <a:xfrm>
                  <a:off x="113" y="980"/>
                  <a:ext cx="1043" cy="1347"/>
                </a:xfrm>
                <a:custGeom>
                  <a:avLst/>
                  <a:gdLst>
                    <a:gd name="T0" fmla="*/ 651 w 1497"/>
                    <a:gd name="T1" fmla="*/ 637 h 1893"/>
                    <a:gd name="T2" fmla="*/ 688 w 1497"/>
                    <a:gd name="T3" fmla="*/ 645 h 1893"/>
                    <a:gd name="T4" fmla="*/ 683 w 1497"/>
                    <a:gd name="T5" fmla="*/ 647 h 1893"/>
                    <a:gd name="T6" fmla="*/ 672 w 1497"/>
                    <a:gd name="T7" fmla="*/ 694 h 1893"/>
                    <a:gd name="T8" fmla="*/ 663 w 1497"/>
                    <a:gd name="T9" fmla="*/ 742 h 1893"/>
                    <a:gd name="T10" fmla="*/ 651 w 1497"/>
                    <a:gd name="T11" fmla="*/ 781 h 1893"/>
                    <a:gd name="T12" fmla="*/ 617 w 1497"/>
                    <a:gd name="T13" fmla="*/ 796 h 1893"/>
                    <a:gd name="T14" fmla="*/ 614 w 1497"/>
                    <a:gd name="T15" fmla="*/ 830 h 1893"/>
                    <a:gd name="T16" fmla="*/ 600 w 1497"/>
                    <a:gd name="T17" fmla="*/ 833 h 1893"/>
                    <a:gd name="T18" fmla="*/ 592 w 1497"/>
                    <a:gd name="T19" fmla="*/ 858 h 1893"/>
                    <a:gd name="T20" fmla="*/ 540 w 1497"/>
                    <a:gd name="T21" fmla="*/ 921 h 1893"/>
                    <a:gd name="T22" fmla="*/ 474 w 1497"/>
                    <a:gd name="T23" fmla="*/ 924 h 1893"/>
                    <a:gd name="T24" fmla="*/ 508 w 1497"/>
                    <a:gd name="T25" fmla="*/ 879 h 1893"/>
                    <a:gd name="T26" fmla="*/ 572 w 1497"/>
                    <a:gd name="T27" fmla="*/ 744 h 1893"/>
                    <a:gd name="T28" fmla="*/ 566 w 1497"/>
                    <a:gd name="T29" fmla="*/ 689 h 1893"/>
                    <a:gd name="T30" fmla="*/ 559 w 1497"/>
                    <a:gd name="T31" fmla="*/ 668 h 1893"/>
                    <a:gd name="T32" fmla="*/ 554 w 1497"/>
                    <a:gd name="T33" fmla="*/ 641 h 1893"/>
                    <a:gd name="T34" fmla="*/ 585 w 1497"/>
                    <a:gd name="T35" fmla="*/ 556 h 1893"/>
                    <a:gd name="T36" fmla="*/ 555 w 1497"/>
                    <a:gd name="T37" fmla="*/ 522 h 1893"/>
                    <a:gd name="T38" fmla="*/ 430 w 1497"/>
                    <a:gd name="T39" fmla="*/ 585 h 1893"/>
                    <a:gd name="T40" fmla="*/ 375 w 1497"/>
                    <a:gd name="T41" fmla="*/ 618 h 1893"/>
                    <a:gd name="T42" fmla="*/ 410 w 1497"/>
                    <a:gd name="T43" fmla="*/ 649 h 1893"/>
                    <a:gd name="T44" fmla="*/ 392 w 1497"/>
                    <a:gd name="T45" fmla="*/ 682 h 1893"/>
                    <a:gd name="T46" fmla="*/ 380 w 1497"/>
                    <a:gd name="T47" fmla="*/ 682 h 1893"/>
                    <a:gd name="T48" fmla="*/ 393 w 1497"/>
                    <a:gd name="T49" fmla="*/ 714 h 1893"/>
                    <a:gd name="T50" fmla="*/ 348 w 1497"/>
                    <a:gd name="T51" fmla="*/ 749 h 1893"/>
                    <a:gd name="T52" fmla="*/ 315 w 1497"/>
                    <a:gd name="T53" fmla="*/ 728 h 1893"/>
                    <a:gd name="T54" fmla="*/ 301 w 1497"/>
                    <a:gd name="T55" fmla="*/ 757 h 1893"/>
                    <a:gd name="T56" fmla="*/ 247 w 1497"/>
                    <a:gd name="T57" fmla="*/ 698 h 1893"/>
                    <a:gd name="T58" fmla="*/ 234 w 1497"/>
                    <a:gd name="T59" fmla="*/ 716 h 1893"/>
                    <a:gd name="T60" fmla="*/ 172 w 1497"/>
                    <a:gd name="T61" fmla="*/ 731 h 1893"/>
                    <a:gd name="T62" fmla="*/ 203 w 1497"/>
                    <a:gd name="T63" fmla="*/ 773 h 1893"/>
                    <a:gd name="T64" fmla="*/ 181 w 1497"/>
                    <a:gd name="T65" fmla="*/ 847 h 1893"/>
                    <a:gd name="T66" fmla="*/ 242 w 1497"/>
                    <a:gd name="T67" fmla="*/ 910 h 1893"/>
                    <a:gd name="T68" fmla="*/ 281 w 1497"/>
                    <a:gd name="T69" fmla="*/ 936 h 1893"/>
                    <a:gd name="T70" fmla="*/ 236 w 1497"/>
                    <a:gd name="T71" fmla="*/ 937 h 1893"/>
                    <a:gd name="T72" fmla="*/ 190 w 1497"/>
                    <a:gd name="T73" fmla="*/ 909 h 1893"/>
                    <a:gd name="T74" fmla="*/ 193 w 1497"/>
                    <a:gd name="T75" fmla="*/ 879 h 1893"/>
                    <a:gd name="T76" fmla="*/ 148 w 1497"/>
                    <a:gd name="T77" fmla="*/ 867 h 1893"/>
                    <a:gd name="T78" fmla="*/ 134 w 1497"/>
                    <a:gd name="T79" fmla="*/ 788 h 1893"/>
                    <a:gd name="T80" fmla="*/ 114 w 1497"/>
                    <a:gd name="T81" fmla="*/ 793 h 1893"/>
                    <a:gd name="T82" fmla="*/ 67 w 1497"/>
                    <a:gd name="T83" fmla="*/ 739 h 1893"/>
                    <a:gd name="T84" fmla="*/ 68 w 1497"/>
                    <a:gd name="T85" fmla="*/ 724 h 1893"/>
                    <a:gd name="T86" fmla="*/ 30 w 1497"/>
                    <a:gd name="T87" fmla="*/ 698 h 1893"/>
                    <a:gd name="T88" fmla="*/ 34 w 1497"/>
                    <a:gd name="T89" fmla="*/ 649 h 1893"/>
                    <a:gd name="T90" fmla="*/ 26 w 1497"/>
                    <a:gd name="T91" fmla="*/ 560 h 1893"/>
                    <a:gd name="T92" fmla="*/ 22 w 1497"/>
                    <a:gd name="T93" fmla="*/ 514 h 1893"/>
                    <a:gd name="T94" fmla="*/ 31 w 1497"/>
                    <a:gd name="T95" fmla="*/ 286 h 1893"/>
                    <a:gd name="T96" fmla="*/ 101 w 1497"/>
                    <a:gd name="T97" fmla="*/ 162 h 1893"/>
                    <a:gd name="T98" fmla="*/ 206 w 1497"/>
                    <a:gd name="T99" fmla="*/ 73 h 1893"/>
                    <a:gd name="T100" fmla="*/ 295 w 1497"/>
                    <a:gd name="T101" fmla="*/ 10 h 1893"/>
                    <a:gd name="T102" fmla="*/ 370 w 1497"/>
                    <a:gd name="T103" fmla="*/ 1 h 1893"/>
                    <a:gd name="T104" fmla="*/ 511 w 1497"/>
                    <a:gd name="T105" fmla="*/ 66 h 1893"/>
                    <a:gd name="T106" fmla="*/ 600 w 1497"/>
                    <a:gd name="T107" fmla="*/ 147 h 1893"/>
                    <a:gd name="T108" fmla="*/ 652 w 1497"/>
                    <a:gd name="T109" fmla="*/ 247 h 1893"/>
                    <a:gd name="T110" fmla="*/ 695 w 1497"/>
                    <a:gd name="T111" fmla="*/ 292 h 1893"/>
                    <a:gd name="T112" fmla="*/ 694 w 1497"/>
                    <a:gd name="T113" fmla="*/ 407 h 1893"/>
                    <a:gd name="T114" fmla="*/ 702 w 1497"/>
                    <a:gd name="T115" fmla="*/ 445 h 1893"/>
                    <a:gd name="T116" fmla="*/ 721 w 1497"/>
                    <a:gd name="T117" fmla="*/ 486 h 1893"/>
                    <a:gd name="T118" fmla="*/ 717 w 1497"/>
                    <a:gd name="T119" fmla="*/ 517 h 1893"/>
                    <a:gd name="T120" fmla="*/ 668 w 1497"/>
                    <a:gd name="T121" fmla="*/ 601 h 18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97" h="1893">
                      <a:moveTo>
                        <a:pt x="1377" y="1186"/>
                      </a:moveTo>
                      <a:lnTo>
                        <a:pt x="1379" y="1192"/>
                      </a:lnTo>
                      <a:lnTo>
                        <a:pt x="1385" y="1197"/>
                      </a:lnTo>
                      <a:lnTo>
                        <a:pt x="1398" y="1204"/>
                      </a:lnTo>
                      <a:lnTo>
                        <a:pt x="1410" y="1212"/>
                      </a:lnTo>
                      <a:lnTo>
                        <a:pt x="1412" y="1216"/>
                      </a:lnTo>
                      <a:lnTo>
                        <a:pt x="1412" y="1222"/>
                      </a:lnTo>
                      <a:lnTo>
                        <a:pt x="1408" y="1226"/>
                      </a:lnTo>
                      <a:lnTo>
                        <a:pt x="1400" y="1229"/>
                      </a:lnTo>
                      <a:lnTo>
                        <a:pt x="1375" y="1236"/>
                      </a:lnTo>
                      <a:lnTo>
                        <a:pt x="1350" y="1244"/>
                      </a:lnTo>
                      <a:lnTo>
                        <a:pt x="1343" y="1251"/>
                      </a:lnTo>
                      <a:lnTo>
                        <a:pt x="1340" y="1258"/>
                      </a:lnTo>
                      <a:lnTo>
                        <a:pt x="1341" y="1262"/>
                      </a:lnTo>
                      <a:lnTo>
                        <a:pt x="1343" y="1264"/>
                      </a:lnTo>
                      <a:lnTo>
                        <a:pt x="1353" y="1264"/>
                      </a:lnTo>
                      <a:lnTo>
                        <a:pt x="1382" y="1255"/>
                      </a:lnTo>
                      <a:lnTo>
                        <a:pt x="1398" y="1249"/>
                      </a:lnTo>
                      <a:lnTo>
                        <a:pt x="1412" y="1247"/>
                      </a:lnTo>
                      <a:lnTo>
                        <a:pt x="1424" y="1249"/>
                      </a:lnTo>
                      <a:lnTo>
                        <a:pt x="1428" y="1253"/>
                      </a:lnTo>
                      <a:lnTo>
                        <a:pt x="1431" y="1258"/>
                      </a:lnTo>
                      <a:lnTo>
                        <a:pt x="1432" y="1267"/>
                      </a:lnTo>
                      <a:lnTo>
                        <a:pt x="1429" y="1271"/>
                      </a:lnTo>
                      <a:lnTo>
                        <a:pt x="1424" y="1273"/>
                      </a:lnTo>
                      <a:lnTo>
                        <a:pt x="1417" y="1273"/>
                      </a:lnTo>
                      <a:lnTo>
                        <a:pt x="1400" y="1270"/>
                      </a:lnTo>
                      <a:lnTo>
                        <a:pt x="1392" y="1269"/>
                      </a:lnTo>
                      <a:lnTo>
                        <a:pt x="1386" y="1271"/>
                      </a:lnTo>
                      <a:lnTo>
                        <a:pt x="1380" y="1277"/>
                      </a:lnTo>
                      <a:lnTo>
                        <a:pt x="1376" y="1287"/>
                      </a:lnTo>
                      <a:lnTo>
                        <a:pt x="1374" y="1298"/>
                      </a:lnTo>
                      <a:lnTo>
                        <a:pt x="1375" y="1302"/>
                      </a:lnTo>
                      <a:lnTo>
                        <a:pt x="1377" y="1306"/>
                      </a:lnTo>
                      <a:lnTo>
                        <a:pt x="1379" y="1307"/>
                      </a:lnTo>
                      <a:lnTo>
                        <a:pt x="1383" y="1304"/>
                      </a:lnTo>
                      <a:lnTo>
                        <a:pt x="1392" y="1290"/>
                      </a:lnTo>
                      <a:lnTo>
                        <a:pt x="1402" y="1279"/>
                      </a:lnTo>
                      <a:lnTo>
                        <a:pt x="1407" y="1278"/>
                      </a:lnTo>
                      <a:lnTo>
                        <a:pt x="1412" y="1281"/>
                      </a:lnTo>
                      <a:lnTo>
                        <a:pt x="1429" y="1302"/>
                      </a:lnTo>
                      <a:lnTo>
                        <a:pt x="1433" y="1308"/>
                      </a:lnTo>
                      <a:lnTo>
                        <a:pt x="1435" y="1312"/>
                      </a:lnTo>
                      <a:lnTo>
                        <a:pt x="1432" y="1315"/>
                      </a:lnTo>
                      <a:lnTo>
                        <a:pt x="1427" y="1319"/>
                      </a:lnTo>
                      <a:lnTo>
                        <a:pt x="1403" y="1329"/>
                      </a:lnTo>
                      <a:lnTo>
                        <a:pt x="1407" y="1342"/>
                      </a:lnTo>
                      <a:lnTo>
                        <a:pt x="1407" y="1346"/>
                      </a:lnTo>
                      <a:lnTo>
                        <a:pt x="1405" y="1348"/>
                      </a:lnTo>
                      <a:lnTo>
                        <a:pt x="1398" y="1353"/>
                      </a:lnTo>
                      <a:lnTo>
                        <a:pt x="1386" y="1366"/>
                      </a:lnTo>
                      <a:lnTo>
                        <a:pt x="1383" y="1371"/>
                      </a:lnTo>
                      <a:lnTo>
                        <a:pt x="1382" y="1378"/>
                      </a:lnTo>
                      <a:lnTo>
                        <a:pt x="1382" y="1394"/>
                      </a:lnTo>
                      <a:lnTo>
                        <a:pt x="1388" y="1434"/>
                      </a:lnTo>
                      <a:lnTo>
                        <a:pt x="1394" y="1470"/>
                      </a:lnTo>
                      <a:lnTo>
                        <a:pt x="1392" y="1481"/>
                      </a:lnTo>
                      <a:lnTo>
                        <a:pt x="1390" y="1484"/>
                      </a:lnTo>
                      <a:lnTo>
                        <a:pt x="1386" y="1486"/>
                      </a:lnTo>
                      <a:lnTo>
                        <a:pt x="1382" y="1473"/>
                      </a:lnTo>
                      <a:lnTo>
                        <a:pt x="1378" y="1464"/>
                      </a:lnTo>
                      <a:lnTo>
                        <a:pt x="1374" y="1459"/>
                      </a:lnTo>
                      <a:lnTo>
                        <a:pt x="1370" y="1458"/>
                      </a:lnTo>
                      <a:lnTo>
                        <a:pt x="1368" y="1460"/>
                      </a:lnTo>
                      <a:lnTo>
                        <a:pt x="1366" y="1466"/>
                      </a:lnTo>
                      <a:lnTo>
                        <a:pt x="1368" y="1486"/>
                      </a:lnTo>
                      <a:lnTo>
                        <a:pt x="1361" y="1493"/>
                      </a:lnTo>
                      <a:lnTo>
                        <a:pt x="1350" y="1498"/>
                      </a:lnTo>
                      <a:lnTo>
                        <a:pt x="1339" y="1500"/>
                      </a:lnTo>
                      <a:lnTo>
                        <a:pt x="1330" y="1498"/>
                      </a:lnTo>
                      <a:lnTo>
                        <a:pt x="1334" y="1504"/>
                      </a:lnTo>
                      <a:lnTo>
                        <a:pt x="1338" y="1508"/>
                      </a:lnTo>
                      <a:lnTo>
                        <a:pt x="1348" y="1512"/>
                      </a:lnTo>
                      <a:lnTo>
                        <a:pt x="1351" y="1515"/>
                      </a:lnTo>
                      <a:lnTo>
                        <a:pt x="1353" y="1518"/>
                      </a:lnTo>
                      <a:lnTo>
                        <a:pt x="1352" y="1525"/>
                      </a:lnTo>
                      <a:lnTo>
                        <a:pt x="1348" y="1534"/>
                      </a:lnTo>
                      <a:lnTo>
                        <a:pt x="1342" y="1541"/>
                      </a:lnTo>
                      <a:lnTo>
                        <a:pt x="1336" y="1543"/>
                      </a:lnTo>
                      <a:lnTo>
                        <a:pt x="1330" y="1539"/>
                      </a:lnTo>
                      <a:lnTo>
                        <a:pt x="1323" y="1533"/>
                      </a:lnTo>
                      <a:lnTo>
                        <a:pt x="1312" y="1517"/>
                      </a:lnTo>
                      <a:lnTo>
                        <a:pt x="1307" y="1511"/>
                      </a:lnTo>
                      <a:lnTo>
                        <a:pt x="1302" y="1509"/>
                      </a:lnTo>
                      <a:lnTo>
                        <a:pt x="1312" y="1539"/>
                      </a:lnTo>
                      <a:lnTo>
                        <a:pt x="1315" y="1552"/>
                      </a:lnTo>
                      <a:lnTo>
                        <a:pt x="1312" y="1554"/>
                      </a:lnTo>
                      <a:lnTo>
                        <a:pt x="1306" y="1552"/>
                      </a:lnTo>
                      <a:lnTo>
                        <a:pt x="1284" y="1545"/>
                      </a:lnTo>
                      <a:lnTo>
                        <a:pt x="1276" y="1563"/>
                      </a:lnTo>
                      <a:lnTo>
                        <a:pt x="1271" y="1572"/>
                      </a:lnTo>
                      <a:lnTo>
                        <a:pt x="1267" y="1573"/>
                      </a:lnTo>
                      <a:lnTo>
                        <a:pt x="1264" y="1570"/>
                      </a:lnTo>
                      <a:lnTo>
                        <a:pt x="1255" y="1561"/>
                      </a:lnTo>
                      <a:lnTo>
                        <a:pt x="1248" y="1560"/>
                      </a:lnTo>
                      <a:lnTo>
                        <a:pt x="1239" y="1564"/>
                      </a:lnTo>
                      <a:lnTo>
                        <a:pt x="1241" y="1570"/>
                      </a:lnTo>
                      <a:lnTo>
                        <a:pt x="1246" y="1577"/>
                      </a:lnTo>
                      <a:lnTo>
                        <a:pt x="1265" y="1594"/>
                      </a:lnTo>
                      <a:lnTo>
                        <a:pt x="1282" y="1612"/>
                      </a:lnTo>
                      <a:lnTo>
                        <a:pt x="1285" y="1621"/>
                      </a:lnTo>
                      <a:lnTo>
                        <a:pt x="1284" y="1629"/>
                      </a:lnTo>
                      <a:lnTo>
                        <a:pt x="1274" y="1639"/>
                      </a:lnTo>
                      <a:lnTo>
                        <a:pt x="1265" y="1639"/>
                      </a:lnTo>
                      <a:lnTo>
                        <a:pt x="1256" y="1632"/>
                      </a:lnTo>
                      <a:lnTo>
                        <a:pt x="1246" y="1621"/>
                      </a:lnTo>
                      <a:lnTo>
                        <a:pt x="1228" y="1594"/>
                      </a:lnTo>
                      <a:lnTo>
                        <a:pt x="1218" y="1584"/>
                      </a:lnTo>
                      <a:lnTo>
                        <a:pt x="1208" y="1581"/>
                      </a:lnTo>
                      <a:lnTo>
                        <a:pt x="1203" y="1583"/>
                      </a:lnTo>
                      <a:lnTo>
                        <a:pt x="1203" y="1589"/>
                      </a:lnTo>
                      <a:lnTo>
                        <a:pt x="1211" y="1610"/>
                      </a:lnTo>
                      <a:lnTo>
                        <a:pt x="1221" y="1631"/>
                      </a:lnTo>
                      <a:lnTo>
                        <a:pt x="1222" y="1638"/>
                      </a:lnTo>
                      <a:lnTo>
                        <a:pt x="1218" y="1642"/>
                      </a:lnTo>
                      <a:lnTo>
                        <a:pt x="1229" y="1645"/>
                      </a:lnTo>
                      <a:lnTo>
                        <a:pt x="1236" y="1646"/>
                      </a:lnTo>
                      <a:lnTo>
                        <a:pt x="1242" y="1640"/>
                      </a:lnTo>
                      <a:lnTo>
                        <a:pt x="1246" y="1629"/>
                      </a:lnTo>
                      <a:lnTo>
                        <a:pt x="1281" y="1667"/>
                      </a:lnTo>
                      <a:lnTo>
                        <a:pt x="1287" y="1672"/>
                      </a:lnTo>
                      <a:lnTo>
                        <a:pt x="1287" y="1673"/>
                      </a:lnTo>
                      <a:lnTo>
                        <a:pt x="1286" y="1672"/>
                      </a:lnTo>
                      <a:lnTo>
                        <a:pt x="1280" y="1669"/>
                      </a:lnTo>
                      <a:lnTo>
                        <a:pt x="1269" y="1665"/>
                      </a:lnTo>
                      <a:lnTo>
                        <a:pt x="1254" y="1662"/>
                      </a:lnTo>
                      <a:lnTo>
                        <a:pt x="1236" y="1665"/>
                      </a:lnTo>
                      <a:lnTo>
                        <a:pt x="1228" y="1670"/>
                      </a:lnTo>
                      <a:lnTo>
                        <a:pt x="1222" y="1681"/>
                      </a:lnTo>
                      <a:lnTo>
                        <a:pt x="1218" y="1695"/>
                      </a:lnTo>
                      <a:lnTo>
                        <a:pt x="1214" y="1710"/>
                      </a:lnTo>
                      <a:lnTo>
                        <a:pt x="1208" y="1734"/>
                      </a:lnTo>
                      <a:lnTo>
                        <a:pt x="1204" y="1738"/>
                      </a:lnTo>
                      <a:lnTo>
                        <a:pt x="1200" y="1736"/>
                      </a:lnTo>
                      <a:lnTo>
                        <a:pt x="1191" y="1738"/>
                      </a:lnTo>
                      <a:lnTo>
                        <a:pt x="1183" y="1744"/>
                      </a:lnTo>
                      <a:lnTo>
                        <a:pt x="1177" y="1753"/>
                      </a:lnTo>
                      <a:lnTo>
                        <a:pt x="1172" y="1764"/>
                      </a:lnTo>
                      <a:lnTo>
                        <a:pt x="1163" y="1788"/>
                      </a:lnTo>
                      <a:lnTo>
                        <a:pt x="1159" y="1799"/>
                      </a:lnTo>
                      <a:lnTo>
                        <a:pt x="1153" y="1808"/>
                      </a:lnTo>
                      <a:lnTo>
                        <a:pt x="1115" y="1818"/>
                      </a:lnTo>
                      <a:lnTo>
                        <a:pt x="1112" y="1819"/>
                      </a:lnTo>
                      <a:lnTo>
                        <a:pt x="1107" y="1822"/>
                      </a:lnTo>
                      <a:lnTo>
                        <a:pt x="1100" y="1834"/>
                      </a:lnTo>
                      <a:lnTo>
                        <a:pt x="1093" y="1843"/>
                      </a:lnTo>
                      <a:lnTo>
                        <a:pt x="1090" y="1845"/>
                      </a:lnTo>
                      <a:lnTo>
                        <a:pt x="1088" y="1844"/>
                      </a:lnTo>
                      <a:lnTo>
                        <a:pt x="1063" y="1805"/>
                      </a:lnTo>
                      <a:lnTo>
                        <a:pt x="1058" y="1800"/>
                      </a:lnTo>
                      <a:lnTo>
                        <a:pt x="1053" y="1799"/>
                      </a:lnTo>
                      <a:lnTo>
                        <a:pt x="1048" y="1801"/>
                      </a:lnTo>
                      <a:lnTo>
                        <a:pt x="1041" y="1808"/>
                      </a:lnTo>
                      <a:lnTo>
                        <a:pt x="1003" y="1857"/>
                      </a:lnTo>
                      <a:lnTo>
                        <a:pt x="982" y="1833"/>
                      </a:lnTo>
                      <a:lnTo>
                        <a:pt x="976" y="1826"/>
                      </a:lnTo>
                      <a:lnTo>
                        <a:pt x="975" y="1819"/>
                      </a:lnTo>
                      <a:lnTo>
                        <a:pt x="978" y="1812"/>
                      </a:lnTo>
                      <a:lnTo>
                        <a:pt x="985" y="1803"/>
                      </a:lnTo>
                      <a:lnTo>
                        <a:pt x="1013" y="1772"/>
                      </a:lnTo>
                      <a:lnTo>
                        <a:pt x="1032" y="1782"/>
                      </a:lnTo>
                      <a:lnTo>
                        <a:pt x="1045" y="1785"/>
                      </a:lnTo>
                      <a:lnTo>
                        <a:pt x="1059" y="1784"/>
                      </a:lnTo>
                      <a:lnTo>
                        <a:pt x="1080" y="1779"/>
                      </a:lnTo>
                      <a:lnTo>
                        <a:pt x="1045" y="1775"/>
                      </a:lnTo>
                      <a:lnTo>
                        <a:pt x="1033" y="1770"/>
                      </a:lnTo>
                      <a:lnTo>
                        <a:pt x="1030" y="1766"/>
                      </a:lnTo>
                      <a:lnTo>
                        <a:pt x="1032" y="1762"/>
                      </a:lnTo>
                      <a:lnTo>
                        <a:pt x="1046" y="1736"/>
                      </a:lnTo>
                      <a:lnTo>
                        <a:pt x="1063" y="1712"/>
                      </a:lnTo>
                      <a:lnTo>
                        <a:pt x="1083" y="1690"/>
                      </a:lnTo>
                      <a:lnTo>
                        <a:pt x="1104" y="1669"/>
                      </a:lnTo>
                      <a:lnTo>
                        <a:pt x="1144" y="1634"/>
                      </a:lnTo>
                      <a:lnTo>
                        <a:pt x="1182" y="1606"/>
                      </a:lnTo>
                      <a:lnTo>
                        <a:pt x="1191" y="1594"/>
                      </a:lnTo>
                      <a:lnTo>
                        <a:pt x="1193" y="1581"/>
                      </a:lnTo>
                      <a:lnTo>
                        <a:pt x="1189" y="1565"/>
                      </a:lnTo>
                      <a:lnTo>
                        <a:pt x="1182" y="1549"/>
                      </a:lnTo>
                      <a:lnTo>
                        <a:pt x="1167" y="1517"/>
                      </a:lnTo>
                      <a:lnTo>
                        <a:pt x="1162" y="1503"/>
                      </a:lnTo>
                      <a:lnTo>
                        <a:pt x="1162" y="1491"/>
                      </a:lnTo>
                      <a:lnTo>
                        <a:pt x="1179" y="1469"/>
                      </a:lnTo>
                      <a:lnTo>
                        <a:pt x="1186" y="1462"/>
                      </a:lnTo>
                      <a:lnTo>
                        <a:pt x="1181" y="1461"/>
                      </a:lnTo>
                      <a:lnTo>
                        <a:pt x="1162" y="1451"/>
                      </a:lnTo>
                      <a:lnTo>
                        <a:pt x="1179" y="1460"/>
                      </a:lnTo>
                      <a:lnTo>
                        <a:pt x="1183" y="1461"/>
                      </a:lnTo>
                      <a:lnTo>
                        <a:pt x="1186" y="1459"/>
                      </a:lnTo>
                      <a:lnTo>
                        <a:pt x="1186" y="1450"/>
                      </a:lnTo>
                      <a:lnTo>
                        <a:pt x="1181" y="1437"/>
                      </a:lnTo>
                      <a:lnTo>
                        <a:pt x="1163" y="1406"/>
                      </a:lnTo>
                      <a:lnTo>
                        <a:pt x="1153" y="1390"/>
                      </a:lnTo>
                      <a:lnTo>
                        <a:pt x="1151" y="1384"/>
                      </a:lnTo>
                      <a:lnTo>
                        <a:pt x="1153" y="1376"/>
                      </a:lnTo>
                      <a:lnTo>
                        <a:pt x="1167" y="1361"/>
                      </a:lnTo>
                      <a:lnTo>
                        <a:pt x="1181" y="1346"/>
                      </a:lnTo>
                      <a:lnTo>
                        <a:pt x="1183" y="1337"/>
                      </a:lnTo>
                      <a:lnTo>
                        <a:pt x="1182" y="1329"/>
                      </a:lnTo>
                      <a:lnTo>
                        <a:pt x="1179" y="1329"/>
                      </a:lnTo>
                      <a:lnTo>
                        <a:pt x="1176" y="1330"/>
                      </a:lnTo>
                      <a:lnTo>
                        <a:pt x="1171" y="1339"/>
                      </a:lnTo>
                      <a:lnTo>
                        <a:pt x="1164" y="1349"/>
                      </a:lnTo>
                      <a:lnTo>
                        <a:pt x="1162" y="1351"/>
                      </a:lnTo>
                      <a:lnTo>
                        <a:pt x="1159" y="1349"/>
                      </a:lnTo>
                      <a:lnTo>
                        <a:pt x="1143" y="1327"/>
                      </a:lnTo>
                      <a:lnTo>
                        <a:pt x="1143" y="1323"/>
                      </a:lnTo>
                      <a:lnTo>
                        <a:pt x="1146" y="1322"/>
                      </a:lnTo>
                      <a:lnTo>
                        <a:pt x="1151" y="1319"/>
                      </a:lnTo>
                      <a:lnTo>
                        <a:pt x="1156" y="1314"/>
                      </a:lnTo>
                      <a:lnTo>
                        <a:pt x="1161" y="1302"/>
                      </a:lnTo>
                      <a:lnTo>
                        <a:pt x="1162" y="1281"/>
                      </a:lnTo>
                      <a:lnTo>
                        <a:pt x="1171" y="1278"/>
                      </a:lnTo>
                      <a:lnTo>
                        <a:pt x="1179" y="1270"/>
                      </a:lnTo>
                      <a:lnTo>
                        <a:pt x="1190" y="1258"/>
                      </a:lnTo>
                      <a:lnTo>
                        <a:pt x="1183" y="1256"/>
                      </a:lnTo>
                      <a:lnTo>
                        <a:pt x="1177" y="1257"/>
                      </a:lnTo>
                      <a:lnTo>
                        <a:pt x="1167" y="1265"/>
                      </a:lnTo>
                      <a:lnTo>
                        <a:pt x="1161" y="1270"/>
                      </a:lnTo>
                      <a:lnTo>
                        <a:pt x="1156" y="1273"/>
                      </a:lnTo>
                      <a:lnTo>
                        <a:pt x="1149" y="1271"/>
                      </a:lnTo>
                      <a:lnTo>
                        <a:pt x="1141" y="1266"/>
                      </a:lnTo>
                      <a:lnTo>
                        <a:pt x="1137" y="1261"/>
                      </a:lnTo>
                      <a:lnTo>
                        <a:pt x="1134" y="1253"/>
                      </a:lnTo>
                      <a:lnTo>
                        <a:pt x="1130" y="1230"/>
                      </a:lnTo>
                      <a:lnTo>
                        <a:pt x="1131" y="1202"/>
                      </a:lnTo>
                      <a:lnTo>
                        <a:pt x="1134" y="1173"/>
                      </a:lnTo>
                      <a:lnTo>
                        <a:pt x="1141" y="1146"/>
                      </a:lnTo>
                      <a:lnTo>
                        <a:pt x="1151" y="1126"/>
                      </a:lnTo>
                      <a:lnTo>
                        <a:pt x="1158" y="1118"/>
                      </a:lnTo>
                      <a:lnTo>
                        <a:pt x="1165" y="1114"/>
                      </a:lnTo>
                      <a:lnTo>
                        <a:pt x="1173" y="1112"/>
                      </a:lnTo>
                      <a:lnTo>
                        <a:pt x="1182" y="1114"/>
                      </a:lnTo>
                      <a:lnTo>
                        <a:pt x="1196" y="1107"/>
                      </a:lnTo>
                      <a:lnTo>
                        <a:pt x="1205" y="1099"/>
                      </a:lnTo>
                      <a:lnTo>
                        <a:pt x="1208" y="1095"/>
                      </a:lnTo>
                      <a:lnTo>
                        <a:pt x="1208" y="1091"/>
                      </a:lnTo>
                      <a:lnTo>
                        <a:pt x="1191" y="1051"/>
                      </a:lnTo>
                      <a:lnTo>
                        <a:pt x="1182" y="1034"/>
                      </a:lnTo>
                      <a:lnTo>
                        <a:pt x="1171" y="1020"/>
                      </a:lnTo>
                      <a:lnTo>
                        <a:pt x="1170" y="1038"/>
                      </a:lnTo>
                      <a:lnTo>
                        <a:pt x="1167" y="1051"/>
                      </a:lnTo>
                      <a:lnTo>
                        <a:pt x="1162" y="1057"/>
                      </a:lnTo>
                      <a:lnTo>
                        <a:pt x="1158" y="1059"/>
                      </a:lnTo>
                      <a:lnTo>
                        <a:pt x="1153" y="1056"/>
                      </a:lnTo>
                      <a:lnTo>
                        <a:pt x="1148" y="1050"/>
                      </a:lnTo>
                      <a:lnTo>
                        <a:pt x="1145" y="1041"/>
                      </a:lnTo>
                      <a:lnTo>
                        <a:pt x="1144" y="1030"/>
                      </a:lnTo>
                      <a:lnTo>
                        <a:pt x="1123" y="1050"/>
                      </a:lnTo>
                      <a:lnTo>
                        <a:pt x="1099" y="1077"/>
                      </a:lnTo>
                      <a:lnTo>
                        <a:pt x="1043" y="1141"/>
                      </a:lnTo>
                      <a:lnTo>
                        <a:pt x="1014" y="1168"/>
                      </a:lnTo>
                      <a:lnTo>
                        <a:pt x="988" y="1188"/>
                      </a:lnTo>
                      <a:lnTo>
                        <a:pt x="976" y="1194"/>
                      </a:lnTo>
                      <a:lnTo>
                        <a:pt x="965" y="1195"/>
                      </a:lnTo>
                      <a:lnTo>
                        <a:pt x="955" y="1193"/>
                      </a:lnTo>
                      <a:lnTo>
                        <a:pt x="947" y="1186"/>
                      </a:lnTo>
                      <a:lnTo>
                        <a:pt x="929" y="1163"/>
                      </a:lnTo>
                      <a:lnTo>
                        <a:pt x="911" y="1157"/>
                      </a:lnTo>
                      <a:lnTo>
                        <a:pt x="898" y="1154"/>
                      </a:lnTo>
                      <a:lnTo>
                        <a:pt x="886" y="1155"/>
                      </a:lnTo>
                      <a:lnTo>
                        <a:pt x="878" y="1158"/>
                      </a:lnTo>
                      <a:lnTo>
                        <a:pt x="873" y="1165"/>
                      </a:lnTo>
                      <a:lnTo>
                        <a:pt x="868" y="1173"/>
                      </a:lnTo>
                      <a:lnTo>
                        <a:pt x="864" y="1193"/>
                      </a:lnTo>
                      <a:lnTo>
                        <a:pt x="861" y="1236"/>
                      </a:lnTo>
                      <a:lnTo>
                        <a:pt x="859" y="1245"/>
                      </a:lnTo>
                      <a:lnTo>
                        <a:pt x="856" y="1252"/>
                      </a:lnTo>
                      <a:lnTo>
                        <a:pt x="851" y="1256"/>
                      </a:lnTo>
                      <a:lnTo>
                        <a:pt x="845" y="1258"/>
                      </a:lnTo>
                      <a:lnTo>
                        <a:pt x="825" y="1244"/>
                      </a:lnTo>
                      <a:lnTo>
                        <a:pt x="808" y="1234"/>
                      </a:lnTo>
                      <a:lnTo>
                        <a:pt x="790" y="1226"/>
                      </a:lnTo>
                      <a:lnTo>
                        <a:pt x="772" y="1220"/>
                      </a:lnTo>
                      <a:lnTo>
                        <a:pt x="757" y="1220"/>
                      </a:lnTo>
                      <a:lnTo>
                        <a:pt x="751" y="1223"/>
                      </a:lnTo>
                      <a:lnTo>
                        <a:pt x="746" y="1228"/>
                      </a:lnTo>
                      <a:lnTo>
                        <a:pt x="744" y="1235"/>
                      </a:lnTo>
                      <a:lnTo>
                        <a:pt x="742" y="1245"/>
                      </a:lnTo>
                      <a:lnTo>
                        <a:pt x="744" y="1235"/>
                      </a:lnTo>
                      <a:lnTo>
                        <a:pt x="747" y="1229"/>
                      </a:lnTo>
                      <a:lnTo>
                        <a:pt x="753" y="1226"/>
                      </a:lnTo>
                      <a:lnTo>
                        <a:pt x="760" y="1226"/>
                      </a:lnTo>
                      <a:lnTo>
                        <a:pt x="779" y="1233"/>
                      </a:lnTo>
                      <a:lnTo>
                        <a:pt x="799" y="1245"/>
                      </a:lnTo>
                      <a:lnTo>
                        <a:pt x="835" y="1273"/>
                      </a:lnTo>
                      <a:lnTo>
                        <a:pt x="845" y="1282"/>
                      </a:lnTo>
                      <a:lnTo>
                        <a:pt x="846" y="1283"/>
                      </a:lnTo>
                      <a:lnTo>
                        <a:pt x="845" y="1281"/>
                      </a:lnTo>
                      <a:lnTo>
                        <a:pt x="843" y="1285"/>
                      </a:lnTo>
                      <a:lnTo>
                        <a:pt x="838" y="1288"/>
                      </a:lnTo>
                      <a:lnTo>
                        <a:pt x="824" y="1290"/>
                      </a:lnTo>
                      <a:lnTo>
                        <a:pt x="810" y="1290"/>
                      </a:lnTo>
                      <a:lnTo>
                        <a:pt x="807" y="1292"/>
                      </a:lnTo>
                      <a:lnTo>
                        <a:pt x="807" y="1294"/>
                      </a:lnTo>
                      <a:lnTo>
                        <a:pt x="827" y="1317"/>
                      </a:lnTo>
                      <a:lnTo>
                        <a:pt x="828" y="1321"/>
                      </a:lnTo>
                      <a:lnTo>
                        <a:pt x="826" y="1325"/>
                      </a:lnTo>
                      <a:lnTo>
                        <a:pt x="819" y="1335"/>
                      </a:lnTo>
                      <a:lnTo>
                        <a:pt x="807" y="1347"/>
                      </a:lnTo>
                      <a:lnTo>
                        <a:pt x="795" y="1326"/>
                      </a:lnTo>
                      <a:lnTo>
                        <a:pt x="788" y="1305"/>
                      </a:lnTo>
                      <a:lnTo>
                        <a:pt x="780" y="1275"/>
                      </a:lnTo>
                      <a:lnTo>
                        <a:pt x="775" y="1268"/>
                      </a:lnTo>
                      <a:lnTo>
                        <a:pt x="767" y="1270"/>
                      </a:lnTo>
                      <a:lnTo>
                        <a:pt x="753" y="1282"/>
                      </a:lnTo>
                      <a:lnTo>
                        <a:pt x="733" y="1306"/>
                      </a:lnTo>
                      <a:lnTo>
                        <a:pt x="752" y="1295"/>
                      </a:lnTo>
                      <a:lnTo>
                        <a:pt x="764" y="1292"/>
                      </a:lnTo>
                      <a:lnTo>
                        <a:pt x="772" y="1294"/>
                      </a:lnTo>
                      <a:lnTo>
                        <a:pt x="775" y="1302"/>
                      </a:lnTo>
                      <a:lnTo>
                        <a:pt x="779" y="1329"/>
                      </a:lnTo>
                      <a:lnTo>
                        <a:pt x="782" y="1346"/>
                      </a:lnTo>
                      <a:lnTo>
                        <a:pt x="789" y="1366"/>
                      </a:lnTo>
                      <a:lnTo>
                        <a:pt x="804" y="1357"/>
                      </a:lnTo>
                      <a:lnTo>
                        <a:pt x="815" y="1351"/>
                      </a:lnTo>
                      <a:lnTo>
                        <a:pt x="824" y="1351"/>
                      </a:lnTo>
                      <a:lnTo>
                        <a:pt x="831" y="1354"/>
                      </a:lnTo>
                      <a:lnTo>
                        <a:pt x="836" y="1361"/>
                      </a:lnTo>
                      <a:lnTo>
                        <a:pt x="841" y="1371"/>
                      </a:lnTo>
                      <a:lnTo>
                        <a:pt x="855" y="1401"/>
                      </a:lnTo>
                      <a:lnTo>
                        <a:pt x="850" y="1408"/>
                      </a:lnTo>
                      <a:lnTo>
                        <a:pt x="843" y="1411"/>
                      </a:lnTo>
                      <a:lnTo>
                        <a:pt x="827" y="1411"/>
                      </a:lnTo>
                      <a:lnTo>
                        <a:pt x="813" y="1410"/>
                      </a:lnTo>
                      <a:lnTo>
                        <a:pt x="809" y="1411"/>
                      </a:lnTo>
                      <a:lnTo>
                        <a:pt x="807" y="1414"/>
                      </a:lnTo>
                      <a:lnTo>
                        <a:pt x="808" y="1464"/>
                      </a:lnTo>
                      <a:lnTo>
                        <a:pt x="807" y="1478"/>
                      </a:lnTo>
                      <a:lnTo>
                        <a:pt x="800" y="1467"/>
                      </a:lnTo>
                      <a:lnTo>
                        <a:pt x="780" y="1437"/>
                      </a:lnTo>
                      <a:lnTo>
                        <a:pt x="775" y="1432"/>
                      </a:lnTo>
                      <a:lnTo>
                        <a:pt x="770" y="1430"/>
                      </a:lnTo>
                      <a:lnTo>
                        <a:pt x="761" y="1433"/>
                      </a:lnTo>
                      <a:lnTo>
                        <a:pt x="751" y="1443"/>
                      </a:lnTo>
                      <a:lnTo>
                        <a:pt x="742" y="1456"/>
                      </a:lnTo>
                      <a:lnTo>
                        <a:pt x="725" y="1478"/>
                      </a:lnTo>
                      <a:lnTo>
                        <a:pt x="719" y="1481"/>
                      </a:lnTo>
                      <a:lnTo>
                        <a:pt x="717" y="1478"/>
                      </a:lnTo>
                      <a:lnTo>
                        <a:pt x="715" y="1473"/>
                      </a:lnTo>
                      <a:lnTo>
                        <a:pt x="713" y="1464"/>
                      </a:lnTo>
                      <a:lnTo>
                        <a:pt x="714" y="1457"/>
                      </a:lnTo>
                      <a:lnTo>
                        <a:pt x="718" y="1453"/>
                      </a:lnTo>
                      <a:lnTo>
                        <a:pt x="722" y="1450"/>
                      </a:lnTo>
                      <a:lnTo>
                        <a:pt x="735" y="1446"/>
                      </a:lnTo>
                      <a:lnTo>
                        <a:pt x="742" y="1442"/>
                      </a:lnTo>
                      <a:lnTo>
                        <a:pt x="748" y="1435"/>
                      </a:lnTo>
                      <a:lnTo>
                        <a:pt x="739" y="1440"/>
                      </a:lnTo>
                      <a:lnTo>
                        <a:pt x="727" y="1441"/>
                      </a:lnTo>
                      <a:lnTo>
                        <a:pt x="700" y="1440"/>
                      </a:lnTo>
                      <a:lnTo>
                        <a:pt x="672" y="1437"/>
                      </a:lnTo>
                      <a:lnTo>
                        <a:pt x="649" y="1437"/>
                      </a:lnTo>
                      <a:lnTo>
                        <a:pt x="673" y="1442"/>
                      </a:lnTo>
                      <a:lnTo>
                        <a:pt x="693" y="1449"/>
                      </a:lnTo>
                      <a:lnTo>
                        <a:pt x="699" y="1453"/>
                      </a:lnTo>
                      <a:lnTo>
                        <a:pt x="704" y="1458"/>
                      </a:lnTo>
                      <a:lnTo>
                        <a:pt x="706" y="1465"/>
                      </a:lnTo>
                      <a:lnTo>
                        <a:pt x="705" y="1473"/>
                      </a:lnTo>
                      <a:lnTo>
                        <a:pt x="697" y="1466"/>
                      </a:lnTo>
                      <a:lnTo>
                        <a:pt x="688" y="1464"/>
                      </a:lnTo>
                      <a:lnTo>
                        <a:pt x="681" y="1466"/>
                      </a:lnTo>
                      <a:lnTo>
                        <a:pt x="674" y="1470"/>
                      </a:lnTo>
                      <a:lnTo>
                        <a:pt x="649" y="1498"/>
                      </a:lnTo>
                      <a:lnTo>
                        <a:pt x="626" y="1497"/>
                      </a:lnTo>
                      <a:lnTo>
                        <a:pt x="620" y="1495"/>
                      </a:lnTo>
                      <a:lnTo>
                        <a:pt x="616" y="1491"/>
                      </a:lnTo>
                      <a:lnTo>
                        <a:pt x="606" y="1480"/>
                      </a:lnTo>
                      <a:lnTo>
                        <a:pt x="584" y="1462"/>
                      </a:lnTo>
                      <a:lnTo>
                        <a:pt x="578" y="1456"/>
                      </a:lnTo>
                      <a:lnTo>
                        <a:pt x="573" y="1447"/>
                      </a:lnTo>
                      <a:lnTo>
                        <a:pt x="566" y="1423"/>
                      </a:lnTo>
                      <a:lnTo>
                        <a:pt x="561" y="1398"/>
                      </a:lnTo>
                      <a:lnTo>
                        <a:pt x="556" y="1378"/>
                      </a:lnTo>
                      <a:lnTo>
                        <a:pt x="526" y="1353"/>
                      </a:lnTo>
                      <a:lnTo>
                        <a:pt x="512" y="1343"/>
                      </a:lnTo>
                      <a:lnTo>
                        <a:pt x="510" y="1344"/>
                      </a:lnTo>
                      <a:lnTo>
                        <a:pt x="509" y="1351"/>
                      </a:lnTo>
                      <a:lnTo>
                        <a:pt x="510" y="1378"/>
                      </a:lnTo>
                      <a:lnTo>
                        <a:pt x="509" y="1382"/>
                      </a:lnTo>
                      <a:lnTo>
                        <a:pt x="507" y="1384"/>
                      </a:lnTo>
                      <a:lnTo>
                        <a:pt x="499" y="1386"/>
                      </a:lnTo>
                      <a:lnTo>
                        <a:pt x="477" y="1377"/>
                      </a:lnTo>
                      <a:lnTo>
                        <a:pt x="455" y="1366"/>
                      </a:lnTo>
                      <a:lnTo>
                        <a:pt x="447" y="1364"/>
                      </a:lnTo>
                      <a:lnTo>
                        <a:pt x="444" y="1366"/>
                      </a:lnTo>
                      <a:lnTo>
                        <a:pt x="446" y="1375"/>
                      </a:lnTo>
                      <a:lnTo>
                        <a:pt x="451" y="1381"/>
                      </a:lnTo>
                      <a:lnTo>
                        <a:pt x="465" y="1390"/>
                      </a:lnTo>
                      <a:lnTo>
                        <a:pt x="478" y="1400"/>
                      </a:lnTo>
                      <a:lnTo>
                        <a:pt x="482" y="1406"/>
                      </a:lnTo>
                      <a:lnTo>
                        <a:pt x="482" y="1414"/>
                      </a:lnTo>
                      <a:lnTo>
                        <a:pt x="473" y="1432"/>
                      </a:lnTo>
                      <a:lnTo>
                        <a:pt x="462" y="1444"/>
                      </a:lnTo>
                      <a:lnTo>
                        <a:pt x="451" y="1450"/>
                      </a:lnTo>
                      <a:lnTo>
                        <a:pt x="440" y="1450"/>
                      </a:lnTo>
                      <a:lnTo>
                        <a:pt x="432" y="1445"/>
                      </a:lnTo>
                      <a:lnTo>
                        <a:pt x="428" y="1435"/>
                      </a:lnTo>
                      <a:lnTo>
                        <a:pt x="428" y="1420"/>
                      </a:lnTo>
                      <a:lnTo>
                        <a:pt x="434" y="1401"/>
                      </a:lnTo>
                      <a:lnTo>
                        <a:pt x="423" y="1415"/>
                      </a:lnTo>
                      <a:lnTo>
                        <a:pt x="409" y="1425"/>
                      </a:lnTo>
                      <a:lnTo>
                        <a:pt x="377" y="1435"/>
                      </a:lnTo>
                      <a:lnTo>
                        <a:pt x="364" y="1439"/>
                      </a:lnTo>
                      <a:lnTo>
                        <a:pt x="355" y="1444"/>
                      </a:lnTo>
                      <a:lnTo>
                        <a:pt x="353" y="1447"/>
                      </a:lnTo>
                      <a:lnTo>
                        <a:pt x="353" y="1451"/>
                      </a:lnTo>
                      <a:lnTo>
                        <a:pt x="360" y="1462"/>
                      </a:lnTo>
                      <a:lnTo>
                        <a:pt x="385" y="1488"/>
                      </a:lnTo>
                      <a:lnTo>
                        <a:pt x="397" y="1502"/>
                      </a:lnTo>
                      <a:lnTo>
                        <a:pt x="395" y="1505"/>
                      </a:lnTo>
                      <a:lnTo>
                        <a:pt x="387" y="1508"/>
                      </a:lnTo>
                      <a:lnTo>
                        <a:pt x="342" y="1509"/>
                      </a:lnTo>
                      <a:lnTo>
                        <a:pt x="362" y="1509"/>
                      </a:lnTo>
                      <a:lnTo>
                        <a:pt x="379" y="1511"/>
                      </a:lnTo>
                      <a:lnTo>
                        <a:pt x="397" y="1516"/>
                      </a:lnTo>
                      <a:lnTo>
                        <a:pt x="412" y="1523"/>
                      </a:lnTo>
                      <a:lnTo>
                        <a:pt x="417" y="1528"/>
                      </a:lnTo>
                      <a:lnTo>
                        <a:pt x="420" y="1534"/>
                      </a:lnTo>
                      <a:lnTo>
                        <a:pt x="422" y="1541"/>
                      </a:lnTo>
                      <a:lnTo>
                        <a:pt x="420" y="1549"/>
                      </a:lnTo>
                      <a:lnTo>
                        <a:pt x="416" y="1559"/>
                      </a:lnTo>
                      <a:lnTo>
                        <a:pt x="407" y="1570"/>
                      </a:lnTo>
                      <a:lnTo>
                        <a:pt x="391" y="1593"/>
                      </a:lnTo>
                      <a:lnTo>
                        <a:pt x="378" y="1618"/>
                      </a:lnTo>
                      <a:lnTo>
                        <a:pt x="365" y="1643"/>
                      </a:lnTo>
                      <a:lnTo>
                        <a:pt x="352" y="1665"/>
                      </a:lnTo>
                      <a:lnTo>
                        <a:pt x="348" y="1670"/>
                      </a:lnTo>
                      <a:lnTo>
                        <a:pt x="349" y="1674"/>
                      </a:lnTo>
                      <a:lnTo>
                        <a:pt x="358" y="1676"/>
                      </a:lnTo>
                      <a:lnTo>
                        <a:pt x="373" y="1672"/>
                      </a:lnTo>
                      <a:lnTo>
                        <a:pt x="388" y="1665"/>
                      </a:lnTo>
                      <a:lnTo>
                        <a:pt x="394" y="1658"/>
                      </a:lnTo>
                      <a:lnTo>
                        <a:pt x="398" y="1652"/>
                      </a:lnTo>
                      <a:lnTo>
                        <a:pt x="398" y="1644"/>
                      </a:lnTo>
                      <a:lnTo>
                        <a:pt x="399" y="1652"/>
                      </a:lnTo>
                      <a:lnTo>
                        <a:pt x="407" y="1688"/>
                      </a:lnTo>
                      <a:lnTo>
                        <a:pt x="429" y="1721"/>
                      </a:lnTo>
                      <a:lnTo>
                        <a:pt x="456" y="1763"/>
                      </a:lnTo>
                      <a:lnTo>
                        <a:pt x="469" y="1781"/>
                      </a:lnTo>
                      <a:lnTo>
                        <a:pt x="481" y="1795"/>
                      </a:lnTo>
                      <a:lnTo>
                        <a:pt x="492" y="1801"/>
                      </a:lnTo>
                      <a:lnTo>
                        <a:pt x="497" y="1800"/>
                      </a:lnTo>
                      <a:lnTo>
                        <a:pt x="500" y="1797"/>
                      </a:lnTo>
                      <a:lnTo>
                        <a:pt x="518" y="1772"/>
                      </a:lnTo>
                      <a:lnTo>
                        <a:pt x="538" y="1797"/>
                      </a:lnTo>
                      <a:lnTo>
                        <a:pt x="540" y="1804"/>
                      </a:lnTo>
                      <a:lnTo>
                        <a:pt x="537" y="1814"/>
                      </a:lnTo>
                      <a:lnTo>
                        <a:pt x="527" y="1834"/>
                      </a:lnTo>
                      <a:lnTo>
                        <a:pt x="524" y="1839"/>
                      </a:lnTo>
                      <a:lnTo>
                        <a:pt x="525" y="1838"/>
                      </a:lnTo>
                      <a:lnTo>
                        <a:pt x="546" y="1808"/>
                      </a:lnTo>
                      <a:lnTo>
                        <a:pt x="556" y="1844"/>
                      </a:lnTo>
                      <a:lnTo>
                        <a:pt x="567" y="1842"/>
                      </a:lnTo>
                      <a:lnTo>
                        <a:pt x="574" y="1844"/>
                      </a:lnTo>
                      <a:lnTo>
                        <a:pt x="579" y="1849"/>
                      </a:lnTo>
                      <a:lnTo>
                        <a:pt x="583" y="1856"/>
                      </a:lnTo>
                      <a:lnTo>
                        <a:pt x="589" y="1873"/>
                      </a:lnTo>
                      <a:lnTo>
                        <a:pt x="595" y="1890"/>
                      </a:lnTo>
                      <a:lnTo>
                        <a:pt x="574" y="1869"/>
                      </a:lnTo>
                      <a:lnTo>
                        <a:pt x="567" y="1867"/>
                      </a:lnTo>
                      <a:lnTo>
                        <a:pt x="556" y="1871"/>
                      </a:lnTo>
                      <a:lnTo>
                        <a:pt x="527" y="1884"/>
                      </a:lnTo>
                      <a:lnTo>
                        <a:pt x="512" y="1890"/>
                      </a:lnTo>
                      <a:lnTo>
                        <a:pt x="496" y="1893"/>
                      </a:lnTo>
                      <a:lnTo>
                        <a:pt x="483" y="1890"/>
                      </a:lnTo>
                      <a:lnTo>
                        <a:pt x="477" y="1886"/>
                      </a:lnTo>
                      <a:lnTo>
                        <a:pt x="472" y="1880"/>
                      </a:lnTo>
                      <a:lnTo>
                        <a:pt x="486" y="1851"/>
                      </a:lnTo>
                      <a:lnTo>
                        <a:pt x="492" y="1837"/>
                      </a:lnTo>
                      <a:lnTo>
                        <a:pt x="492" y="1834"/>
                      </a:lnTo>
                      <a:lnTo>
                        <a:pt x="489" y="1833"/>
                      </a:lnTo>
                      <a:lnTo>
                        <a:pt x="474" y="1832"/>
                      </a:lnTo>
                      <a:lnTo>
                        <a:pt x="456" y="1852"/>
                      </a:lnTo>
                      <a:lnTo>
                        <a:pt x="444" y="1863"/>
                      </a:lnTo>
                      <a:lnTo>
                        <a:pt x="437" y="1865"/>
                      </a:lnTo>
                      <a:lnTo>
                        <a:pt x="433" y="1860"/>
                      </a:lnTo>
                      <a:lnTo>
                        <a:pt x="427" y="1839"/>
                      </a:lnTo>
                      <a:lnTo>
                        <a:pt x="423" y="1825"/>
                      </a:lnTo>
                      <a:lnTo>
                        <a:pt x="415" y="1812"/>
                      </a:lnTo>
                      <a:lnTo>
                        <a:pt x="403" y="1799"/>
                      </a:lnTo>
                      <a:lnTo>
                        <a:pt x="391" y="1796"/>
                      </a:lnTo>
                      <a:lnTo>
                        <a:pt x="378" y="1800"/>
                      </a:lnTo>
                      <a:lnTo>
                        <a:pt x="360" y="1808"/>
                      </a:lnTo>
                      <a:lnTo>
                        <a:pt x="349" y="1794"/>
                      </a:lnTo>
                      <a:lnTo>
                        <a:pt x="343" y="1782"/>
                      </a:lnTo>
                      <a:lnTo>
                        <a:pt x="342" y="1777"/>
                      </a:lnTo>
                      <a:lnTo>
                        <a:pt x="342" y="1772"/>
                      </a:lnTo>
                      <a:lnTo>
                        <a:pt x="348" y="1760"/>
                      </a:lnTo>
                      <a:lnTo>
                        <a:pt x="355" y="1753"/>
                      </a:lnTo>
                      <a:lnTo>
                        <a:pt x="362" y="1749"/>
                      </a:lnTo>
                      <a:lnTo>
                        <a:pt x="370" y="1748"/>
                      </a:lnTo>
                      <a:lnTo>
                        <a:pt x="385" y="1745"/>
                      </a:lnTo>
                      <a:lnTo>
                        <a:pt x="392" y="1742"/>
                      </a:lnTo>
                      <a:lnTo>
                        <a:pt x="398" y="1736"/>
                      </a:lnTo>
                      <a:lnTo>
                        <a:pt x="399" y="1733"/>
                      </a:lnTo>
                      <a:lnTo>
                        <a:pt x="397" y="1729"/>
                      </a:lnTo>
                      <a:lnTo>
                        <a:pt x="388" y="1723"/>
                      </a:lnTo>
                      <a:lnTo>
                        <a:pt x="378" y="1721"/>
                      </a:lnTo>
                      <a:lnTo>
                        <a:pt x="373" y="1722"/>
                      </a:lnTo>
                      <a:lnTo>
                        <a:pt x="369" y="1724"/>
                      </a:lnTo>
                      <a:lnTo>
                        <a:pt x="332" y="1772"/>
                      </a:lnTo>
                      <a:lnTo>
                        <a:pt x="328" y="1772"/>
                      </a:lnTo>
                      <a:lnTo>
                        <a:pt x="323" y="1766"/>
                      </a:lnTo>
                      <a:lnTo>
                        <a:pt x="311" y="1745"/>
                      </a:lnTo>
                      <a:lnTo>
                        <a:pt x="302" y="1723"/>
                      </a:lnTo>
                      <a:lnTo>
                        <a:pt x="301" y="1716"/>
                      </a:lnTo>
                      <a:lnTo>
                        <a:pt x="304" y="1713"/>
                      </a:lnTo>
                      <a:lnTo>
                        <a:pt x="342" y="1713"/>
                      </a:lnTo>
                      <a:lnTo>
                        <a:pt x="327" y="1689"/>
                      </a:lnTo>
                      <a:lnTo>
                        <a:pt x="322" y="1673"/>
                      </a:lnTo>
                      <a:lnTo>
                        <a:pt x="322" y="1663"/>
                      </a:lnTo>
                      <a:lnTo>
                        <a:pt x="325" y="1658"/>
                      </a:lnTo>
                      <a:lnTo>
                        <a:pt x="327" y="1654"/>
                      </a:lnTo>
                      <a:lnTo>
                        <a:pt x="325" y="1652"/>
                      </a:lnTo>
                      <a:lnTo>
                        <a:pt x="295" y="1642"/>
                      </a:lnTo>
                      <a:lnTo>
                        <a:pt x="287" y="1622"/>
                      </a:lnTo>
                      <a:lnTo>
                        <a:pt x="283" y="1607"/>
                      </a:lnTo>
                      <a:lnTo>
                        <a:pt x="281" y="1591"/>
                      </a:lnTo>
                      <a:lnTo>
                        <a:pt x="276" y="1572"/>
                      </a:lnTo>
                      <a:lnTo>
                        <a:pt x="275" y="1557"/>
                      </a:lnTo>
                      <a:lnTo>
                        <a:pt x="276" y="1549"/>
                      </a:lnTo>
                      <a:lnTo>
                        <a:pt x="276" y="1547"/>
                      </a:lnTo>
                      <a:lnTo>
                        <a:pt x="273" y="1545"/>
                      </a:lnTo>
                      <a:lnTo>
                        <a:pt x="257" y="1545"/>
                      </a:lnTo>
                      <a:lnTo>
                        <a:pt x="226" y="1486"/>
                      </a:lnTo>
                      <a:lnTo>
                        <a:pt x="222" y="1482"/>
                      </a:lnTo>
                      <a:lnTo>
                        <a:pt x="223" y="1488"/>
                      </a:lnTo>
                      <a:lnTo>
                        <a:pt x="234" y="1518"/>
                      </a:lnTo>
                      <a:lnTo>
                        <a:pt x="248" y="1545"/>
                      </a:lnTo>
                      <a:lnTo>
                        <a:pt x="250" y="1549"/>
                      </a:lnTo>
                      <a:lnTo>
                        <a:pt x="251" y="1553"/>
                      </a:lnTo>
                      <a:lnTo>
                        <a:pt x="246" y="1560"/>
                      </a:lnTo>
                      <a:lnTo>
                        <a:pt x="235" y="1566"/>
                      </a:lnTo>
                      <a:lnTo>
                        <a:pt x="221" y="1572"/>
                      </a:lnTo>
                      <a:lnTo>
                        <a:pt x="189" y="1578"/>
                      </a:lnTo>
                      <a:lnTo>
                        <a:pt x="165" y="1581"/>
                      </a:lnTo>
                      <a:lnTo>
                        <a:pt x="155" y="1569"/>
                      </a:lnTo>
                      <a:lnTo>
                        <a:pt x="150" y="1555"/>
                      </a:lnTo>
                      <a:lnTo>
                        <a:pt x="149" y="1541"/>
                      </a:lnTo>
                      <a:lnTo>
                        <a:pt x="152" y="1527"/>
                      </a:lnTo>
                      <a:lnTo>
                        <a:pt x="160" y="1505"/>
                      </a:lnTo>
                      <a:lnTo>
                        <a:pt x="165" y="1498"/>
                      </a:lnTo>
                      <a:lnTo>
                        <a:pt x="164" y="1492"/>
                      </a:lnTo>
                      <a:lnTo>
                        <a:pt x="159" y="1485"/>
                      </a:lnTo>
                      <a:lnTo>
                        <a:pt x="148" y="1472"/>
                      </a:lnTo>
                      <a:lnTo>
                        <a:pt x="138" y="1460"/>
                      </a:lnTo>
                      <a:lnTo>
                        <a:pt x="136" y="1455"/>
                      </a:lnTo>
                      <a:lnTo>
                        <a:pt x="137" y="1450"/>
                      </a:lnTo>
                      <a:lnTo>
                        <a:pt x="166" y="1411"/>
                      </a:lnTo>
                      <a:lnTo>
                        <a:pt x="179" y="1386"/>
                      </a:lnTo>
                      <a:lnTo>
                        <a:pt x="181" y="1374"/>
                      </a:lnTo>
                      <a:lnTo>
                        <a:pt x="179" y="1373"/>
                      </a:lnTo>
                      <a:lnTo>
                        <a:pt x="176" y="1373"/>
                      </a:lnTo>
                      <a:lnTo>
                        <a:pt x="165" y="1379"/>
                      </a:lnTo>
                      <a:lnTo>
                        <a:pt x="154" y="1390"/>
                      </a:lnTo>
                      <a:lnTo>
                        <a:pt x="144" y="1405"/>
                      </a:lnTo>
                      <a:lnTo>
                        <a:pt x="141" y="1413"/>
                      </a:lnTo>
                      <a:lnTo>
                        <a:pt x="140" y="1420"/>
                      </a:lnTo>
                      <a:lnTo>
                        <a:pt x="140" y="1430"/>
                      </a:lnTo>
                      <a:lnTo>
                        <a:pt x="138" y="1432"/>
                      </a:lnTo>
                      <a:lnTo>
                        <a:pt x="132" y="1423"/>
                      </a:lnTo>
                      <a:lnTo>
                        <a:pt x="122" y="1411"/>
                      </a:lnTo>
                      <a:lnTo>
                        <a:pt x="116" y="1409"/>
                      </a:lnTo>
                      <a:lnTo>
                        <a:pt x="109" y="1414"/>
                      </a:lnTo>
                      <a:lnTo>
                        <a:pt x="89" y="1437"/>
                      </a:lnTo>
                      <a:lnTo>
                        <a:pt x="89" y="1390"/>
                      </a:lnTo>
                      <a:lnTo>
                        <a:pt x="88" y="1387"/>
                      </a:lnTo>
                      <a:lnTo>
                        <a:pt x="84" y="1385"/>
                      </a:lnTo>
                      <a:lnTo>
                        <a:pt x="72" y="1382"/>
                      </a:lnTo>
                      <a:lnTo>
                        <a:pt x="62" y="1381"/>
                      </a:lnTo>
                      <a:lnTo>
                        <a:pt x="60" y="1380"/>
                      </a:lnTo>
                      <a:lnTo>
                        <a:pt x="61" y="1378"/>
                      </a:lnTo>
                      <a:lnTo>
                        <a:pt x="167" y="1317"/>
                      </a:lnTo>
                      <a:lnTo>
                        <a:pt x="179" y="1309"/>
                      </a:lnTo>
                      <a:lnTo>
                        <a:pt x="172" y="1310"/>
                      </a:lnTo>
                      <a:lnTo>
                        <a:pt x="123" y="1331"/>
                      </a:lnTo>
                      <a:lnTo>
                        <a:pt x="61" y="1355"/>
                      </a:lnTo>
                      <a:lnTo>
                        <a:pt x="53" y="1354"/>
                      </a:lnTo>
                      <a:lnTo>
                        <a:pt x="49" y="1351"/>
                      </a:lnTo>
                      <a:lnTo>
                        <a:pt x="49" y="1347"/>
                      </a:lnTo>
                      <a:lnTo>
                        <a:pt x="52" y="1340"/>
                      </a:lnTo>
                      <a:lnTo>
                        <a:pt x="62" y="1321"/>
                      </a:lnTo>
                      <a:lnTo>
                        <a:pt x="67" y="1309"/>
                      </a:lnTo>
                      <a:lnTo>
                        <a:pt x="71" y="1294"/>
                      </a:lnTo>
                      <a:lnTo>
                        <a:pt x="71" y="1282"/>
                      </a:lnTo>
                      <a:lnTo>
                        <a:pt x="66" y="1268"/>
                      </a:lnTo>
                      <a:lnTo>
                        <a:pt x="50" y="1241"/>
                      </a:lnTo>
                      <a:lnTo>
                        <a:pt x="34" y="1217"/>
                      </a:lnTo>
                      <a:lnTo>
                        <a:pt x="31" y="1207"/>
                      </a:lnTo>
                      <a:lnTo>
                        <a:pt x="32" y="1203"/>
                      </a:lnTo>
                      <a:lnTo>
                        <a:pt x="33" y="1199"/>
                      </a:lnTo>
                      <a:lnTo>
                        <a:pt x="43" y="1163"/>
                      </a:lnTo>
                      <a:lnTo>
                        <a:pt x="61" y="1138"/>
                      </a:lnTo>
                      <a:lnTo>
                        <a:pt x="70" y="1122"/>
                      </a:lnTo>
                      <a:lnTo>
                        <a:pt x="71" y="1116"/>
                      </a:lnTo>
                      <a:lnTo>
                        <a:pt x="68" y="1112"/>
                      </a:lnTo>
                      <a:lnTo>
                        <a:pt x="62" y="1108"/>
                      </a:lnTo>
                      <a:lnTo>
                        <a:pt x="54" y="1106"/>
                      </a:lnTo>
                      <a:lnTo>
                        <a:pt x="25" y="1102"/>
                      </a:lnTo>
                      <a:lnTo>
                        <a:pt x="34" y="1093"/>
                      </a:lnTo>
                      <a:lnTo>
                        <a:pt x="45" y="1085"/>
                      </a:lnTo>
                      <a:lnTo>
                        <a:pt x="68" y="1068"/>
                      </a:lnTo>
                      <a:lnTo>
                        <a:pt x="79" y="1059"/>
                      </a:lnTo>
                      <a:lnTo>
                        <a:pt x="85" y="1048"/>
                      </a:lnTo>
                      <a:lnTo>
                        <a:pt x="90" y="1035"/>
                      </a:lnTo>
                      <a:lnTo>
                        <a:pt x="89" y="1020"/>
                      </a:lnTo>
                      <a:lnTo>
                        <a:pt x="87" y="1017"/>
                      </a:lnTo>
                      <a:lnTo>
                        <a:pt x="81" y="1017"/>
                      </a:lnTo>
                      <a:lnTo>
                        <a:pt x="65" y="1018"/>
                      </a:lnTo>
                      <a:lnTo>
                        <a:pt x="50" y="1018"/>
                      </a:lnTo>
                      <a:lnTo>
                        <a:pt x="45" y="1014"/>
                      </a:lnTo>
                      <a:lnTo>
                        <a:pt x="43" y="1007"/>
                      </a:lnTo>
                      <a:lnTo>
                        <a:pt x="15" y="923"/>
                      </a:lnTo>
                      <a:lnTo>
                        <a:pt x="7" y="909"/>
                      </a:lnTo>
                      <a:lnTo>
                        <a:pt x="2" y="893"/>
                      </a:lnTo>
                      <a:lnTo>
                        <a:pt x="0" y="876"/>
                      </a:lnTo>
                      <a:lnTo>
                        <a:pt x="0" y="858"/>
                      </a:lnTo>
                      <a:lnTo>
                        <a:pt x="7" y="817"/>
                      </a:lnTo>
                      <a:lnTo>
                        <a:pt x="19" y="772"/>
                      </a:lnTo>
                      <a:lnTo>
                        <a:pt x="33" y="723"/>
                      </a:lnTo>
                      <a:lnTo>
                        <a:pt x="48" y="672"/>
                      </a:lnTo>
                      <a:lnTo>
                        <a:pt x="59" y="619"/>
                      </a:lnTo>
                      <a:lnTo>
                        <a:pt x="62" y="592"/>
                      </a:lnTo>
                      <a:lnTo>
                        <a:pt x="63" y="565"/>
                      </a:lnTo>
                      <a:lnTo>
                        <a:pt x="155" y="434"/>
                      </a:lnTo>
                      <a:lnTo>
                        <a:pt x="156" y="418"/>
                      </a:lnTo>
                      <a:lnTo>
                        <a:pt x="159" y="408"/>
                      </a:lnTo>
                      <a:lnTo>
                        <a:pt x="163" y="400"/>
                      </a:lnTo>
                      <a:lnTo>
                        <a:pt x="168" y="395"/>
                      </a:lnTo>
                      <a:lnTo>
                        <a:pt x="180" y="394"/>
                      </a:lnTo>
                      <a:lnTo>
                        <a:pt x="193" y="398"/>
                      </a:lnTo>
                      <a:lnTo>
                        <a:pt x="203" y="400"/>
                      </a:lnTo>
                      <a:lnTo>
                        <a:pt x="206" y="400"/>
                      </a:lnTo>
                      <a:lnTo>
                        <a:pt x="208" y="397"/>
                      </a:lnTo>
                      <a:lnTo>
                        <a:pt x="206" y="383"/>
                      </a:lnTo>
                      <a:lnTo>
                        <a:pt x="193" y="351"/>
                      </a:lnTo>
                      <a:lnTo>
                        <a:pt x="208" y="319"/>
                      </a:lnTo>
                      <a:lnTo>
                        <a:pt x="228" y="282"/>
                      </a:lnTo>
                      <a:lnTo>
                        <a:pt x="252" y="247"/>
                      </a:lnTo>
                      <a:lnTo>
                        <a:pt x="276" y="219"/>
                      </a:lnTo>
                      <a:lnTo>
                        <a:pt x="279" y="217"/>
                      </a:lnTo>
                      <a:lnTo>
                        <a:pt x="283" y="219"/>
                      </a:lnTo>
                      <a:lnTo>
                        <a:pt x="290" y="225"/>
                      </a:lnTo>
                      <a:lnTo>
                        <a:pt x="298" y="231"/>
                      </a:lnTo>
                      <a:lnTo>
                        <a:pt x="301" y="232"/>
                      </a:lnTo>
                      <a:lnTo>
                        <a:pt x="304" y="231"/>
                      </a:lnTo>
                      <a:lnTo>
                        <a:pt x="324" y="212"/>
                      </a:lnTo>
                      <a:lnTo>
                        <a:pt x="348" y="195"/>
                      </a:lnTo>
                      <a:lnTo>
                        <a:pt x="399" y="162"/>
                      </a:lnTo>
                      <a:lnTo>
                        <a:pt x="425" y="145"/>
                      </a:lnTo>
                      <a:lnTo>
                        <a:pt x="451" y="125"/>
                      </a:lnTo>
                      <a:lnTo>
                        <a:pt x="476" y="102"/>
                      </a:lnTo>
                      <a:lnTo>
                        <a:pt x="500" y="75"/>
                      </a:lnTo>
                      <a:lnTo>
                        <a:pt x="514" y="64"/>
                      </a:lnTo>
                      <a:lnTo>
                        <a:pt x="524" y="62"/>
                      </a:lnTo>
                      <a:lnTo>
                        <a:pt x="532" y="66"/>
                      </a:lnTo>
                      <a:lnTo>
                        <a:pt x="540" y="72"/>
                      </a:lnTo>
                      <a:lnTo>
                        <a:pt x="548" y="77"/>
                      </a:lnTo>
                      <a:lnTo>
                        <a:pt x="557" y="75"/>
                      </a:lnTo>
                      <a:lnTo>
                        <a:pt x="569" y="64"/>
                      </a:lnTo>
                      <a:lnTo>
                        <a:pt x="584" y="39"/>
                      </a:lnTo>
                      <a:lnTo>
                        <a:pt x="595" y="29"/>
                      </a:lnTo>
                      <a:lnTo>
                        <a:pt x="607" y="19"/>
                      </a:lnTo>
                      <a:lnTo>
                        <a:pt x="620" y="12"/>
                      </a:lnTo>
                      <a:lnTo>
                        <a:pt x="636" y="6"/>
                      </a:lnTo>
                      <a:lnTo>
                        <a:pt x="667" y="0"/>
                      </a:lnTo>
                      <a:lnTo>
                        <a:pt x="682" y="1"/>
                      </a:lnTo>
                      <a:lnTo>
                        <a:pt x="697" y="4"/>
                      </a:lnTo>
                      <a:lnTo>
                        <a:pt x="711" y="34"/>
                      </a:lnTo>
                      <a:lnTo>
                        <a:pt x="715" y="42"/>
                      </a:lnTo>
                      <a:lnTo>
                        <a:pt x="718" y="45"/>
                      </a:lnTo>
                      <a:lnTo>
                        <a:pt x="722" y="44"/>
                      </a:lnTo>
                      <a:lnTo>
                        <a:pt x="726" y="38"/>
                      </a:lnTo>
                      <a:lnTo>
                        <a:pt x="742" y="16"/>
                      </a:lnTo>
                      <a:lnTo>
                        <a:pt x="752" y="6"/>
                      </a:lnTo>
                      <a:lnTo>
                        <a:pt x="762" y="2"/>
                      </a:lnTo>
                      <a:lnTo>
                        <a:pt x="772" y="2"/>
                      </a:lnTo>
                      <a:lnTo>
                        <a:pt x="784" y="5"/>
                      </a:lnTo>
                      <a:lnTo>
                        <a:pt x="816" y="18"/>
                      </a:lnTo>
                      <a:lnTo>
                        <a:pt x="865" y="33"/>
                      </a:lnTo>
                      <a:lnTo>
                        <a:pt x="885" y="38"/>
                      </a:lnTo>
                      <a:lnTo>
                        <a:pt x="899" y="47"/>
                      </a:lnTo>
                      <a:lnTo>
                        <a:pt x="921" y="72"/>
                      </a:lnTo>
                      <a:lnTo>
                        <a:pt x="934" y="85"/>
                      </a:lnTo>
                      <a:lnTo>
                        <a:pt x="952" y="97"/>
                      </a:lnTo>
                      <a:lnTo>
                        <a:pt x="978" y="106"/>
                      </a:lnTo>
                      <a:lnTo>
                        <a:pt x="1013" y="111"/>
                      </a:lnTo>
                      <a:lnTo>
                        <a:pt x="1032" y="121"/>
                      </a:lnTo>
                      <a:lnTo>
                        <a:pt x="1052" y="130"/>
                      </a:lnTo>
                      <a:lnTo>
                        <a:pt x="1095" y="145"/>
                      </a:lnTo>
                      <a:lnTo>
                        <a:pt x="1117" y="155"/>
                      </a:lnTo>
                      <a:lnTo>
                        <a:pt x="1137" y="168"/>
                      </a:lnTo>
                      <a:lnTo>
                        <a:pt x="1156" y="185"/>
                      </a:lnTo>
                      <a:lnTo>
                        <a:pt x="1171" y="208"/>
                      </a:lnTo>
                      <a:lnTo>
                        <a:pt x="1140" y="272"/>
                      </a:lnTo>
                      <a:lnTo>
                        <a:pt x="1136" y="287"/>
                      </a:lnTo>
                      <a:lnTo>
                        <a:pt x="1137" y="291"/>
                      </a:lnTo>
                      <a:lnTo>
                        <a:pt x="1140" y="294"/>
                      </a:lnTo>
                      <a:lnTo>
                        <a:pt x="1151" y="296"/>
                      </a:lnTo>
                      <a:lnTo>
                        <a:pt x="1171" y="294"/>
                      </a:lnTo>
                      <a:lnTo>
                        <a:pt x="1199" y="291"/>
                      </a:lnTo>
                      <a:lnTo>
                        <a:pt x="1236" y="290"/>
                      </a:lnTo>
                      <a:lnTo>
                        <a:pt x="1251" y="292"/>
                      </a:lnTo>
                      <a:lnTo>
                        <a:pt x="1266" y="298"/>
                      </a:lnTo>
                      <a:lnTo>
                        <a:pt x="1280" y="307"/>
                      </a:lnTo>
                      <a:lnTo>
                        <a:pt x="1293" y="319"/>
                      </a:lnTo>
                      <a:lnTo>
                        <a:pt x="1304" y="334"/>
                      </a:lnTo>
                      <a:lnTo>
                        <a:pt x="1312" y="350"/>
                      </a:lnTo>
                      <a:lnTo>
                        <a:pt x="1318" y="368"/>
                      </a:lnTo>
                      <a:lnTo>
                        <a:pt x="1320" y="387"/>
                      </a:lnTo>
                      <a:lnTo>
                        <a:pt x="1320" y="459"/>
                      </a:lnTo>
                      <a:lnTo>
                        <a:pt x="1323" y="477"/>
                      </a:lnTo>
                      <a:lnTo>
                        <a:pt x="1326" y="482"/>
                      </a:lnTo>
                      <a:lnTo>
                        <a:pt x="1331" y="486"/>
                      </a:lnTo>
                      <a:lnTo>
                        <a:pt x="1343" y="488"/>
                      </a:lnTo>
                      <a:lnTo>
                        <a:pt x="1357" y="487"/>
                      </a:lnTo>
                      <a:lnTo>
                        <a:pt x="1371" y="486"/>
                      </a:lnTo>
                      <a:lnTo>
                        <a:pt x="1384" y="487"/>
                      </a:lnTo>
                      <a:lnTo>
                        <a:pt x="1395" y="492"/>
                      </a:lnTo>
                      <a:lnTo>
                        <a:pt x="1400" y="498"/>
                      </a:lnTo>
                      <a:lnTo>
                        <a:pt x="1403" y="506"/>
                      </a:lnTo>
                      <a:lnTo>
                        <a:pt x="1406" y="524"/>
                      </a:lnTo>
                      <a:lnTo>
                        <a:pt x="1406" y="534"/>
                      </a:lnTo>
                      <a:lnTo>
                        <a:pt x="1404" y="540"/>
                      </a:lnTo>
                      <a:lnTo>
                        <a:pt x="1402" y="543"/>
                      </a:lnTo>
                      <a:lnTo>
                        <a:pt x="1402" y="545"/>
                      </a:lnTo>
                      <a:lnTo>
                        <a:pt x="1405" y="550"/>
                      </a:lnTo>
                      <a:lnTo>
                        <a:pt x="1431" y="577"/>
                      </a:lnTo>
                      <a:lnTo>
                        <a:pt x="1439" y="586"/>
                      </a:lnTo>
                      <a:lnTo>
                        <a:pt x="1443" y="592"/>
                      </a:lnTo>
                      <a:lnTo>
                        <a:pt x="1449" y="623"/>
                      </a:lnTo>
                      <a:lnTo>
                        <a:pt x="1445" y="642"/>
                      </a:lnTo>
                      <a:lnTo>
                        <a:pt x="1446" y="661"/>
                      </a:lnTo>
                      <a:lnTo>
                        <a:pt x="1454" y="700"/>
                      </a:lnTo>
                      <a:lnTo>
                        <a:pt x="1457" y="718"/>
                      </a:lnTo>
                      <a:lnTo>
                        <a:pt x="1458" y="736"/>
                      </a:lnTo>
                      <a:lnTo>
                        <a:pt x="1456" y="752"/>
                      </a:lnTo>
                      <a:lnTo>
                        <a:pt x="1449" y="766"/>
                      </a:lnTo>
                      <a:lnTo>
                        <a:pt x="1429" y="796"/>
                      </a:lnTo>
                      <a:lnTo>
                        <a:pt x="1427" y="801"/>
                      </a:lnTo>
                      <a:lnTo>
                        <a:pt x="1429" y="804"/>
                      </a:lnTo>
                      <a:lnTo>
                        <a:pt x="1436" y="809"/>
                      </a:lnTo>
                      <a:lnTo>
                        <a:pt x="1439" y="816"/>
                      </a:lnTo>
                      <a:lnTo>
                        <a:pt x="1440" y="828"/>
                      </a:lnTo>
                      <a:lnTo>
                        <a:pt x="1442" y="816"/>
                      </a:lnTo>
                      <a:lnTo>
                        <a:pt x="1445" y="808"/>
                      </a:lnTo>
                      <a:lnTo>
                        <a:pt x="1449" y="805"/>
                      </a:lnTo>
                      <a:lnTo>
                        <a:pt x="1455" y="804"/>
                      </a:lnTo>
                      <a:lnTo>
                        <a:pt x="1460" y="807"/>
                      </a:lnTo>
                      <a:lnTo>
                        <a:pt x="1464" y="812"/>
                      </a:lnTo>
                      <a:lnTo>
                        <a:pt x="1467" y="819"/>
                      </a:lnTo>
                      <a:lnTo>
                        <a:pt x="1469" y="828"/>
                      </a:lnTo>
                      <a:lnTo>
                        <a:pt x="1449" y="874"/>
                      </a:lnTo>
                      <a:lnTo>
                        <a:pt x="1447" y="880"/>
                      </a:lnTo>
                      <a:lnTo>
                        <a:pt x="1451" y="885"/>
                      </a:lnTo>
                      <a:lnTo>
                        <a:pt x="1469" y="893"/>
                      </a:lnTo>
                      <a:lnTo>
                        <a:pt x="1489" y="901"/>
                      </a:lnTo>
                      <a:lnTo>
                        <a:pt x="1495" y="905"/>
                      </a:lnTo>
                      <a:lnTo>
                        <a:pt x="1497" y="910"/>
                      </a:lnTo>
                      <a:lnTo>
                        <a:pt x="1492" y="920"/>
                      </a:lnTo>
                      <a:lnTo>
                        <a:pt x="1487" y="925"/>
                      </a:lnTo>
                      <a:lnTo>
                        <a:pt x="1474" y="926"/>
                      </a:lnTo>
                      <a:lnTo>
                        <a:pt x="1460" y="926"/>
                      </a:lnTo>
                      <a:lnTo>
                        <a:pt x="1454" y="929"/>
                      </a:lnTo>
                      <a:lnTo>
                        <a:pt x="1449" y="935"/>
                      </a:lnTo>
                      <a:lnTo>
                        <a:pt x="1469" y="951"/>
                      </a:lnTo>
                      <a:lnTo>
                        <a:pt x="1485" y="960"/>
                      </a:lnTo>
                      <a:lnTo>
                        <a:pt x="1491" y="967"/>
                      </a:lnTo>
                      <a:lnTo>
                        <a:pt x="1490" y="970"/>
                      </a:lnTo>
                      <a:lnTo>
                        <a:pt x="1488" y="973"/>
                      </a:lnTo>
                      <a:lnTo>
                        <a:pt x="1480" y="977"/>
                      </a:lnTo>
                      <a:lnTo>
                        <a:pt x="1456" y="983"/>
                      </a:lnTo>
                      <a:lnTo>
                        <a:pt x="1440" y="983"/>
                      </a:lnTo>
                      <a:lnTo>
                        <a:pt x="1434" y="984"/>
                      </a:lnTo>
                      <a:lnTo>
                        <a:pt x="1435" y="986"/>
                      </a:lnTo>
                      <a:lnTo>
                        <a:pt x="1450" y="992"/>
                      </a:lnTo>
                      <a:lnTo>
                        <a:pt x="1460" y="997"/>
                      </a:lnTo>
                      <a:lnTo>
                        <a:pt x="1469" y="1003"/>
                      </a:lnTo>
                      <a:lnTo>
                        <a:pt x="1475" y="1011"/>
                      </a:lnTo>
                      <a:lnTo>
                        <a:pt x="1477" y="1020"/>
                      </a:lnTo>
                      <a:lnTo>
                        <a:pt x="1474" y="1056"/>
                      </a:lnTo>
                      <a:lnTo>
                        <a:pt x="1472" y="1095"/>
                      </a:lnTo>
                      <a:lnTo>
                        <a:pt x="1469" y="1112"/>
                      </a:lnTo>
                      <a:lnTo>
                        <a:pt x="1465" y="1126"/>
                      </a:lnTo>
                      <a:lnTo>
                        <a:pt x="1458" y="1135"/>
                      </a:lnTo>
                      <a:lnTo>
                        <a:pt x="1449" y="1138"/>
                      </a:lnTo>
                      <a:lnTo>
                        <a:pt x="1407" y="1136"/>
                      </a:lnTo>
                      <a:lnTo>
                        <a:pt x="1404" y="1137"/>
                      </a:lnTo>
                      <a:lnTo>
                        <a:pt x="1407" y="1139"/>
                      </a:lnTo>
                      <a:lnTo>
                        <a:pt x="1440" y="1150"/>
                      </a:lnTo>
                      <a:lnTo>
                        <a:pt x="1425" y="1155"/>
                      </a:lnTo>
                      <a:lnTo>
                        <a:pt x="1407" y="1165"/>
                      </a:lnTo>
                      <a:lnTo>
                        <a:pt x="1377" y="1186"/>
                      </a:lnTo>
                      <a:close/>
                    </a:path>
                  </a:pathLst>
                </a:custGeom>
                <a:solidFill>
                  <a:srgbClr val="0042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16" name="Freeform 808">
                  <a:extLst>
                    <a:ext uri="{FF2B5EF4-FFF2-40B4-BE49-F238E27FC236}">
                      <a16:creationId xmlns:a16="http://schemas.microsoft.com/office/drawing/2014/main" id="{36E304BE-4622-CAE1-2FF6-775F4526ED1D}"/>
                    </a:ext>
                  </a:extLst>
                </p:cNvPr>
                <p:cNvSpPr>
                  <a:spLocks/>
                </p:cNvSpPr>
                <p:nvPr/>
              </p:nvSpPr>
              <p:spPr bwMode="auto">
                <a:xfrm>
                  <a:off x="113" y="980"/>
                  <a:ext cx="879" cy="1017"/>
                </a:xfrm>
                <a:custGeom>
                  <a:avLst/>
                  <a:gdLst>
                    <a:gd name="T0" fmla="*/ 581 w 1263"/>
                    <a:gd name="T1" fmla="*/ 147 h 1430"/>
                    <a:gd name="T2" fmla="*/ 551 w 1263"/>
                    <a:gd name="T3" fmla="*/ 144 h 1430"/>
                    <a:gd name="T4" fmla="*/ 541 w 1263"/>
                    <a:gd name="T5" fmla="*/ 78 h 1430"/>
                    <a:gd name="T6" fmla="*/ 474 w 1263"/>
                    <a:gd name="T7" fmla="*/ 53 h 1430"/>
                    <a:gd name="T8" fmla="*/ 429 w 1263"/>
                    <a:gd name="T9" fmla="*/ 19 h 1430"/>
                    <a:gd name="T10" fmla="*/ 369 w 1263"/>
                    <a:gd name="T11" fmla="*/ 1 h 1430"/>
                    <a:gd name="T12" fmla="*/ 348 w 1263"/>
                    <a:gd name="T13" fmla="*/ 23 h 1430"/>
                    <a:gd name="T14" fmla="*/ 324 w 1263"/>
                    <a:gd name="T15" fmla="*/ 0 h 1430"/>
                    <a:gd name="T16" fmla="*/ 283 w 1263"/>
                    <a:gd name="T17" fmla="*/ 20 h 1430"/>
                    <a:gd name="T18" fmla="*/ 258 w 1263"/>
                    <a:gd name="T19" fmla="*/ 33 h 1430"/>
                    <a:gd name="T20" fmla="*/ 219 w 1263"/>
                    <a:gd name="T21" fmla="*/ 63 h 1430"/>
                    <a:gd name="T22" fmla="*/ 148 w 1263"/>
                    <a:gd name="T23" fmla="*/ 117 h 1430"/>
                    <a:gd name="T24" fmla="*/ 136 w 1263"/>
                    <a:gd name="T25" fmla="*/ 110 h 1430"/>
                    <a:gd name="T26" fmla="*/ 94 w 1263"/>
                    <a:gd name="T27" fmla="*/ 178 h 1430"/>
                    <a:gd name="T28" fmla="*/ 93 w 1263"/>
                    <a:gd name="T29" fmla="*/ 201 h 1430"/>
                    <a:gd name="T30" fmla="*/ 76 w 1263"/>
                    <a:gd name="T31" fmla="*/ 211 h 1430"/>
                    <a:gd name="T32" fmla="*/ 24 w 1263"/>
                    <a:gd name="T33" fmla="*/ 340 h 1430"/>
                    <a:gd name="T34" fmla="*/ 0 w 1263"/>
                    <a:gd name="T35" fmla="*/ 443 h 1430"/>
                    <a:gd name="T36" fmla="*/ 22 w 1263"/>
                    <a:gd name="T37" fmla="*/ 512 h 1430"/>
                    <a:gd name="T38" fmla="*/ 44 w 1263"/>
                    <a:gd name="T39" fmla="*/ 516 h 1430"/>
                    <a:gd name="T40" fmla="*/ 22 w 1263"/>
                    <a:gd name="T41" fmla="*/ 548 h 1430"/>
                    <a:gd name="T42" fmla="*/ 33 w 1263"/>
                    <a:gd name="T43" fmla="*/ 562 h 1430"/>
                    <a:gd name="T44" fmla="*/ 42 w 1263"/>
                    <a:gd name="T45" fmla="*/ 580 h 1430"/>
                    <a:gd name="T46" fmla="*/ 47 w 1263"/>
                    <a:gd name="T47" fmla="*/ 599 h 1430"/>
                    <a:gd name="T48" fmla="*/ 47 w 1263"/>
                    <a:gd name="T49" fmla="*/ 613 h 1430"/>
                    <a:gd name="T50" fmla="*/ 63 w 1263"/>
                    <a:gd name="T51" fmla="*/ 637 h 1430"/>
                    <a:gd name="T52" fmla="*/ 106 w 1263"/>
                    <a:gd name="T53" fmla="*/ 627 h 1430"/>
                    <a:gd name="T54" fmla="*/ 143 w 1263"/>
                    <a:gd name="T55" fmla="*/ 600 h 1430"/>
                    <a:gd name="T56" fmla="*/ 157 w 1263"/>
                    <a:gd name="T57" fmla="*/ 562 h 1430"/>
                    <a:gd name="T58" fmla="*/ 172 w 1263"/>
                    <a:gd name="T59" fmla="*/ 602 h 1430"/>
                    <a:gd name="T60" fmla="*/ 183 w 1263"/>
                    <a:gd name="T61" fmla="*/ 624 h 1430"/>
                    <a:gd name="T62" fmla="*/ 158 w 1263"/>
                    <a:gd name="T63" fmla="*/ 622 h 1430"/>
                    <a:gd name="T64" fmla="*/ 112 w 1263"/>
                    <a:gd name="T65" fmla="*/ 647 h 1430"/>
                    <a:gd name="T66" fmla="*/ 107 w 1263"/>
                    <a:gd name="T67" fmla="*/ 673 h 1430"/>
                    <a:gd name="T68" fmla="*/ 120 w 1263"/>
                    <a:gd name="T69" fmla="*/ 702 h 1430"/>
                    <a:gd name="T70" fmla="*/ 132 w 1263"/>
                    <a:gd name="T71" fmla="*/ 723 h 1430"/>
                    <a:gd name="T72" fmla="*/ 170 w 1263"/>
                    <a:gd name="T73" fmla="*/ 712 h 1430"/>
                    <a:gd name="T74" fmla="*/ 193 w 1263"/>
                    <a:gd name="T75" fmla="*/ 678 h 1430"/>
                    <a:gd name="T76" fmla="*/ 214 w 1263"/>
                    <a:gd name="T77" fmla="*/ 680 h 1430"/>
                    <a:gd name="T78" fmla="*/ 237 w 1263"/>
                    <a:gd name="T79" fmla="*/ 656 h 1430"/>
                    <a:gd name="T80" fmla="*/ 269 w 1263"/>
                    <a:gd name="T81" fmla="*/ 641 h 1430"/>
                    <a:gd name="T82" fmla="*/ 276 w 1263"/>
                    <a:gd name="T83" fmla="*/ 677 h 1430"/>
                    <a:gd name="T84" fmla="*/ 308 w 1263"/>
                    <a:gd name="T85" fmla="*/ 673 h 1430"/>
                    <a:gd name="T86" fmla="*/ 323 w 1263"/>
                    <a:gd name="T87" fmla="*/ 612 h 1430"/>
                    <a:gd name="T88" fmla="*/ 287 w 1263"/>
                    <a:gd name="T89" fmla="*/ 558 h 1430"/>
                    <a:gd name="T90" fmla="*/ 235 w 1263"/>
                    <a:gd name="T91" fmla="*/ 556 h 1430"/>
                    <a:gd name="T92" fmla="*/ 242 w 1263"/>
                    <a:gd name="T93" fmla="*/ 541 h 1430"/>
                    <a:gd name="T94" fmla="*/ 270 w 1263"/>
                    <a:gd name="T95" fmla="*/ 538 h 1430"/>
                    <a:gd name="T96" fmla="*/ 307 w 1263"/>
                    <a:gd name="T97" fmla="*/ 546 h 1430"/>
                    <a:gd name="T98" fmla="*/ 366 w 1263"/>
                    <a:gd name="T99" fmla="*/ 536 h 1430"/>
                    <a:gd name="T100" fmla="*/ 418 w 1263"/>
                    <a:gd name="T101" fmla="*/ 491 h 1430"/>
                    <a:gd name="T102" fmla="*/ 469 w 1263"/>
                    <a:gd name="T103" fmla="*/ 481 h 1430"/>
                    <a:gd name="T104" fmla="*/ 525 w 1263"/>
                    <a:gd name="T105" fmla="*/ 491 h 1430"/>
                    <a:gd name="T106" fmla="*/ 525 w 1263"/>
                    <a:gd name="T107" fmla="*/ 506 h 1430"/>
                    <a:gd name="T108" fmla="*/ 475 w 1263"/>
                    <a:gd name="T109" fmla="*/ 501 h 1430"/>
                    <a:gd name="T110" fmla="*/ 417 w 1263"/>
                    <a:gd name="T111" fmla="*/ 526 h 1430"/>
                    <a:gd name="T112" fmla="*/ 409 w 1263"/>
                    <a:gd name="T113" fmla="*/ 541 h 1430"/>
                    <a:gd name="T114" fmla="*/ 441 w 1263"/>
                    <a:gd name="T115" fmla="*/ 574 h 1430"/>
                    <a:gd name="T116" fmla="*/ 495 w 1263"/>
                    <a:gd name="T117" fmla="*/ 563 h 1430"/>
                    <a:gd name="T118" fmla="*/ 537 w 1263"/>
                    <a:gd name="T119" fmla="*/ 519 h 1430"/>
                    <a:gd name="T120" fmla="*/ 571 w 1263"/>
                    <a:gd name="T121" fmla="*/ 507 h 1430"/>
                    <a:gd name="T122" fmla="*/ 601 w 1263"/>
                    <a:gd name="T123" fmla="*/ 527 h 14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63" h="1430">
                      <a:moveTo>
                        <a:pt x="1263" y="1052"/>
                      </a:moveTo>
                      <a:lnTo>
                        <a:pt x="1263" y="296"/>
                      </a:lnTo>
                      <a:lnTo>
                        <a:pt x="1252" y="292"/>
                      </a:lnTo>
                      <a:lnTo>
                        <a:pt x="1237" y="290"/>
                      </a:lnTo>
                      <a:lnTo>
                        <a:pt x="1200" y="291"/>
                      </a:lnTo>
                      <a:lnTo>
                        <a:pt x="1172" y="294"/>
                      </a:lnTo>
                      <a:lnTo>
                        <a:pt x="1152" y="295"/>
                      </a:lnTo>
                      <a:lnTo>
                        <a:pt x="1141" y="294"/>
                      </a:lnTo>
                      <a:lnTo>
                        <a:pt x="1138" y="291"/>
                      </a:lnTo>
                      <a:lnTo>
                        <a:pt x="1137" y="286"/>
                      </a:lnTo>
                      <a:lnTo>
                        <a:pt x="1141" y="271"/>
                      </a:lnTo>
                      <a:lnTo>
                        <a:pt x="1172" y="207"/>
                      </a:lnTo>
                      <a:lnTo>
                        <a:pt x="1156" y="185"/>
                      </a:lnTo>
                      <a:lnTo>
                        <a:pt x="1138" y="168"/>
                      </a:lnTo>
                      <a:lnTo>
                        <a:pt x="1118" y="155"/>
                      </a:lnTo>
                      <a:lnTo>
                        <a:pt x="1096" y="145"/>
                      </a:lnTo>
                      <a:lnTo>
                        <a:pt x="1053" y="129"/>
                      </a:lnTo>
                      <a:lnTo>
                        <a:pt x="1032" y="121"/>
                      </a:lnTo>
                      <a:lnTo>
                        <a:pt x="1014" y="111"/>
                      </a:lnTo>
                      <a:lnTo>
                        <a:pt x="978" y="106"/>
                      </a:lnTo>
                      <a:lnTo>
                        <a:pt x="953" y="97"/>
                      </a:lnTo>
                      <a:lnTo>
                        <a:pt x="935" y="85"/>
                      </a:lnTo>
                      <a:lnTo>
                        <a:pt x="922" y="72"/>
                      </a:lnTo>
                      <a:lnTo>
                        <a:pt x="900" y="47"/>
                      </a:lnTo>
                      <a:lnTo>
                        <a:pt x="886" y="38"/>
                      </a:lnTo>
                      <a:lnTo>
                        <a:pt x="866" y="32"/>
                      </a:lnTo>
                      <a:lnTo>
                        <a:pt x="816" y="18"/>
                      </a:lnTo>
                      <a:lnTo>
                        <a:pt x="784" y="4"/>
                      </a:lnTo>
                      <a:lnTo>
                        <a:pt x="773" y="1"/>
                      </a:lnTo>
                      <a:lnTo>
                        <a:pt x="762" y="1"/>
                      </a:lnTo>
                      <a:lnTo>
                        <a:pt x="753" y="6"/>
                      </a:lnTo>
                      <a:lnTo>
                        <a:pt x="743" y="16"/>
                      </a:lnTo>
                      <a:lnTo>
                        <a:pt x="727" y="38"/>
                      </a:lnTo>
                      <a:lnTo>
                        <a:pt x="722" y="43"/>
                      </a:lnTo>
                      <a:lnTo>
                        <a:pt x="719" y="45"/>
                      </a:lnTo>
                      <a:lnTo>
                        <a:pt x="716" y="41"/>
                      </a:lnTo>
                      <a:lnTo>
                        <a:pt x="712" y="33"/>
                      </a:lnTo>
                      <a:lnTo>
                        <a:pt x="697" y="4"/>
                      </a:lnTo>
                      <a:lnTo>
                        <a:pt x="683" y="1"/>
                      </a:lnTo>
                      <a:lnTo>
                        <a:pt x="668" y="0"/>
                      </a:lnTo>
                      <a:lnTo>
                        <a:pt x="636" y="6"/>
                      </a:lnTo>
                      <a:lnTo>
                        <a:pt x="621" y="12"/>
                      </a:lnTo>
                      <a:lnTo>
                        <a:pt x="608" y="19"/>
                      </a:lnTo>
                      <a:lnTo>
                        <a:pt x="595" y="28"/>
                      </a:lnTo>
                      <a:lnTo>
                        <a:pt x="584" y="39"/>
                      </a:lnTo>
                      <a:lnTo>
                        <a:pt x="569" y="64"/>
                      </a:lnTo>
                      <a:lnTo>
                        <a:pt x="558" y="75"/>
                      </a:lnTo>
                      <a:lnTo>
                        <a:pt x="548" y="76"/>
                      </a:lnTo>
                      <a:lnTo>
                        <a:pt x="541" y="72"/>
                      </a:lnTo>
                      <a:lnTo>
                        <a:pt x="533" y="66"/>
                      </a:lnTo>
                      <a:lnTo>
                        <a:pt x="524" y="62"/>
                      </a:lnTo>
                      <a:lnTo>
                        <a:pt x="514" y="63"/>
                      </a:lnTo>
                      <a:lnTo>
                        <a:pt x="501" y="75"/>
                      </a:lnTo>
                      <a:lnTo>
                        <a:pt x="477" y="102"/>
                      </a:lnTo>
                      <a:lnTo>
                        <a:pt x="452" y="125"/>
                      </a:lnTo>
                      <a:lnTo>
                        <a:pt x="425" y="145"/>
                      </a:lnTo>
                      <a:lnTo>
                        <a:pt x="399" y="162"/>
                      </a:lnTo>
                      <a:lnTo>
                        <a:pt x="348" y="195"/>
                      </a:lnTo>
                      <a:lnTo>
                        <a:pt x="325" y="212"/>
                      </a:lnTo>
                      <a:lnTo>
                        <a:pt x="305" y="231"/>
                      </a:lnTo>
                      <a:lnTo>
                        <a:pt x="302" y="232"/>
                      </a:lnTo>
                      <a:lnTo>
                        <a:pt x="299" y="231"/>
                      </a:lnTo>
                      <a:lnTo>
                        <a:pt x="291" y="225"/>
                      </a:lnTo>
                      <a:lnTo>
                        <a:pt x="283" y="218"/>
                      </a:lnTo>
                      <a:lnTo>
                        <a:pt x="280" y="217"/>
                      </a:lnTo>
                      <a:lnTo>
                        <a:pt x="276" y="218"/>
                      </a:lnTo>
                      <a:lnTo>
                        <a:pt x="252" y="246"/>
                      </a:lnTo>
                      <a:lnTo>
                        <a:pt x="229" y="282"/>
                      </a:lnTo>
                      <a:lnTo>
                        <a:pt x="208" y="318"/>
                      </a:lnTo>
                      <a:lnTo>
                        <a:pt x="194" y="351"/>
                      </a:lnTo>
                      <a:lnTo>
                        <a:pt x="206" y="382"/>
                      </a:lnTo>
                      <a:lnTo>
                        <a:pt x="209" y="397"/>
                      </a:lnTo>
                      <a:lnTo>
                        <a:pt x="207" y="400"/>
                      </a:lnTo>
                      <a:lnTo>
                        <a:pt x="204" y="400"/>
                      </a:lnTo>
                      <a:lnTo>
                        <a:pt x="193" y="397"/>
                      </a:lnTo>
                      <a:lnTo>
                        <a:pt x="181" y="394"/>
                      </a:lnTo>
                      <a:lnTo>
                        <a:pt x="169" y="395"/>
                      </a:lnTo>
                      <a:lnTo>
                        <a:pt x="164" y="400"/>
                      </a:lnTo>
                      <a:lnTo>
                        <a:pt x="160" y="407"/>
                      </a:lnTo>
                      <a:lnTo>
                        <a:pt x="157" y="418"/>
                      </a:lnTo>
                      <a:lnTo>
                        <a:pt x="156" y="433"/>
                      </a:lnTo>
                      <a:lnTo>
                        <a:pt x="64" y="564"/>
                      </a:lnTo>
                      <a:lnTo>
                        <a:pt x="62" y="591"/>
                      </a:lnTo>
                      <a:lnTo>
                        <a:pt x="59" y="618"/>
                      </a:lnTo>
                      <a:lnTo>
                        <a:pt x="49" y="672"/>
                      </a:lnTo>
                      <a:lnTo>
                        <a:pt x="34" y="722"/>
                      </a:lnTo>
                      <a:lnTo>
                        <a:pt x="20" y="771"/>
                      </a:lnTo>
                      <a:lnTo>
                        <a:pt x="8" y="817"/>
                      </a:lnTo>
                      <a:lnTo>
                        <a:pt x="1" y="858"/>
                      </a:lnTo>
                      <a:lnTo>
                        <a:pt x="0" y="876"/>
                      </a:lnTo>
                      <a:lnTo>
                        <a:pt x="3" y="893"/>
                      </a:lnTo>
                      <a:lnTo>
                        <a:pt x="8" y="909"/>
                      </a:lnTo>
                      <a:lnTo>
                        <a:pt x="16" y="922"/>
                      </a:lnTo>
                      <a:lnTo>
                        <a:pt x="44" y="1007"/>
                      </a:lnTo>
                      <a:lnTo>
                        <a:pt x="46" y="1013"/>
                      </a:lnTo>
                      <a:lnTo>
                        <a:pt x="51" y="1017"/>
                      </a:lnTo>
                      <a:lnTo>
                        <a:pt x="66" y="1018"/>
                      </a:lnTo>
                      <a:lnTo>
                        <a:pt x="82" y="1016"/>
                      </a:lnTo>
                      <a:lnTo>
                        <a:pt x="88" y="1017"/>
                      </a:lnTo>
                      <a:lnTo>
                        <a:pt x="90" y="1019"/>
                      </a:lnTo>
                      <a:lnTo>
                        <a:pt x="91" y="1035"/>
                      </a:lnTo>
                      <a:lnTo>
                        <a:pt x="86" y="1048"/>
                      </a:lnTo>
                      <a:lnTo>
                        <a:pt x="79" y="1059"/>
                      </a:lnTo>
                      <a:lnTo>
                        <a:pt x="69" y="1068"/>
                      </a:lnTo>
                      <a:lnTo>
                        <a:pt x="46" y="1084"/>
                      </a:lnTo>
                      <a:lnTo>
                        <a:pt x="35" y="1093"/>
                      </a:lnTo>
                      <a:lnTo>
                        <a:pt x="25" y="1101"/>
                      </a:lnTo>
                      <a:lnTo>
                        <a:pt x="54" y="1105"/>
                      </a:lnTo>
                      <a:lnTo>
                        <a:pt x="63" y="1108"/>
                      </a:lnTo>
                      <a:lnTo>
                        <a:pt x="69" y="1111"/>
                      </a:lnTo>
                      <a:lnTo>
                        <a:pt x="71" y="1116"/>
                      </a:lnTo>
                      <a:lnTo>
                        <a:pt x="71" y="1122"/>
                      </a:lnTo>
                      <a:lnTo>
                        <a:pt x="62" y="1138"/>
                      </a:lnTo>
                      <a:lnTo>
                        <a:pt x="75" y="1140"/>
                      </a:lnTo>
                      <a:lnTo>
                        <a:pt x="87" y="1147"/>
                      </a:lnTo>
                      <a:lnTo>
                        <a:pt x="97" y="1158"/>
                      </a:lnTo>
                      <a:lnTo>
                        <a:pt x="99" y="1165"/>
                      </a:lnTo>
                      <a:lnTo>
                        <a:pt x="100" y="1172"/>
                      </a:lnTo>
                      <a:lnTo>
                        <a:pt x="97" y="1179"/>
                      </a:lnTo>
                      <a:lnTo>
                        <a:pt x="96" y="1184"/>
                      </a:lnTo>
                      <a:lnTo>
                        <a:pt x="100" y="1192"/>
                      </a:lnTo>
                      <a:lnTo>
                        <a:pt x="102" y="1195"/>
                      </a:lnTo>
                      <a:lnTo>
                        <a:pt x="103" y="1199"/>
                      </a:lnTo>
                      <a:lnTo>
                        <a:pt x="102" y="1205"/>
                      </a:lnTo>
                      <a:lnTo>
                        <a:pt x="97" y="1212"/>
                      </a:lnTo>
                      <a:lnTo>
                        <a:pt x="99" y="1230"/>
                      </a:lnTo>
                      <a:lnTo>
                        <a:pt x="102" y="1242"/>
                      </a:lnTo>
                      <a:lnTo>
                        <a:pt x="107" y="1249"/>
                      </a:lnTo>
                      <a:lnTo>
                        <a:pt x="114" y="1253"/>
                      </a:lnTo>
                      <a:lnTo>
                        <a:pt x="131" y="1260"/>
                      </a:lnTo>
                      <a:lnTo>
                        <a:pt x="141" y="1265"/>
                      </a:lnTo>
                      <a:lnTo>
                        <a:pt x="149" y="1274"/>
                      </a:lnTo>
                      <a:lnTo>
                        <a:pt x="166" y="1271"/>
                      </a:lnTo>
                      <a:lnTo>
                        <a:pt x="183" y="1263"/>
                      </a:lnTo>
                      <a:lnTo>
                        <a:pt x="218" y="1239"/>
                      </a:lnTo>
                      <a:lnTo>
                        <a:pt x="253" y="1214"/>
                      </a:lnTo>
                      <a:lnTo>
                        <a:pt x="270" y="1207"/>
                      </a:lnTo>
                      <a:lnTo>
                        <a:pt x="287" y="1203"/>
                      </a:lnTo>
                      <a:lnTo>
                        <a:pt x="291" y="1195"/>
                      </a:lnTo>
                      <a:lnTo>
                        <a:pt x="294" y="1185"/>
                      </a:lnTo>
                      <a:lnTo>
                        <a:pt x="297" y="1162"/>
                      </a:lnTo>
                      <a:lnTo>
                        <a:pt x="301" y="1140"/>
                      </a:lnTo>
                      <a:lnTo>
                        <a:pt x="305" y="1130"/>
                      </a:lnTo>
                      <a:lnTo>
                        <a:pt x="311" y="1124"/>
                      </a:lnTo>
                      <a:lnTo>
                        <a:pt x="325" y="1111"/>
                      </a:lnTo>
                      <a:lnTo>
                        <a:pt x="331" y="1124"/>
                      </a:lnTo>
                      <a:lnTo>
                        <a:pt x="334" y="1140"/>
                      </a:lnTo>
                      <a:lnTo>
                        <a:pt x="334" y="1156"/>
                      </a:lnTo>
                      <a:lnTo>
                        <a:pt x="332" y="1168"/>
                      </a:lnTo>
                      <a:lnTo>
                        <a:pt x="355" y="1191"/>
                      </a:lnTo>
                      <a:lnTo>
                        <a:pt x="365" y="1203"/>
                      </a:lnTo>
                      <a:lnTo>
                        <a:pt x="368" y="1210"/>
                      </a:lnTo>
                      <a:lnTo>
                        <a:pt x="370" y="1216"/>
                      </a:lnTo>
                      <a:lnTo>
                        <a:pt x="376" y="1226"/>
                      </a:lnTo>
                      <a:lnTo>
                        <a:pt x="378" y="1233"/>
                      </a:lnTo>
                      <a:lnTo>
                        <a:pt x="377" y="1238"/>
                      </a:lnTo>
                      <a:lnTo>
                        <a:pt x="374" y="1239"/>
                      </a:lnTo>
                      <a:lnTo>
                        <a:pt x="362" y="1237"/>
                      </a:lnTo>
                      <a:lnTo>
                        <a:pt x="349" y="1226"/>
                      </a:lnTo>
                      <a:lnTo>
                        <a:pt x="326" y="1231"/>
                      </a:lnTo>
                      <a:lnTo>
                        <a:pt x="303" y="1242"/>
                      </a:lnTo>
                      <a:lnTo>
                        <a:pt x="280" y="1255"/>
                      </a:lnTo>
                      <a:lnTo>
                        <a:pt x="256" y="1265"/>
                      </a:lnTo>
                      <a:lnTo>
                        <a:pt x="244" y="1271"/>
                      </a:lnTo>
                      <a:lnTo>
                        <a:pt x="231" y="1280"/>
                      </a:lnTo>
                      <a:lnTo>
                        <a:pt x="218" y="1292"/>
                      </a:lnTo>
                      <a:lnTo>
                        <a:pt x="208" y="1304"/>
                      </a:lnTo>
                      <a:lnTo>
                        <a:pt x="211" y="1314"/>
                      </a:lnTo>
                      <a:lnTo>
                        <a:pt x="214" y="1321"/>
                      </a:lnTo>
                      <a:lnTo>
                        <a:pt x="221" y="1330"/>
                      </a:lnTo>
                      <a:lnTo>
                        <a:pt x="224" y="1335"/>
                      </a:lnTo>
                      <a:lnTo>
                        <a:pt x="226" y="1342"/>
                      </a:lnTo>
                      <a:lnTo>
                        <a:pt x="228" y="1371"/>
                      </a:lnTo>
                      <a:lnTo>
                        <a:pt x="240" y="1383"/>
                      </a:lnTo>
                      <a:lnTo>
                        <a:pt x="247" y="1388"/>
                      </a:lnTo>
                      <a:lnTo>
                        <a:pt x="252" y="1388"/>
                      </a:lnTo>
                      <a:lnTo>
                        <a:pt x="257" y="1415"/>
                      </a:lnTo>
                      <a:lnTo>
                        <a:pt x="261" y="1424"/>
                      </a:lnTo>
                      <a:lnTo>
                        <a:pt x="266" y="1429"/>
                      </a:lnTo>
                      <a:lnTo>
                        <a:pt x="272" y="1430"/>
                      </a:lnTo>
                      <a:lnTo>
                        <a:pt x="278" y="1429"/>
                      </a:lnTo>
                      <a:lnTo>
                        <a:pt x="286" y="1422"/>
                      </a:lnTo>
                      <a:lnTo>
                        <a:pt x="294" y="1410"/>
                      </a:lnTo>
                      <a:lnTo>
                        <a:pt x="336" y="1410"/>
                      </a:lnTo>
                      <a:lnTo>
                        <a:pt x="350" y="1407"/>
                      </a:lnTo>
                      <a:lnTo>
                        <a:pt x="361" y="1403"/>
                      </a:lnTo>
                      <a:lnTo>
                        <a:pt x="371" y="1396"/>
                      </a:lnTo>
                      <a:lnTo>
                        <a:pt x="380" y="1387"/>
                      </a:lnTo>
                      <a:lnTo>
                        <a:pt x="404" y="1358"/>
                      </a:lnTo>
                      <a:lnTo>
                        <a:pt x="400" y="1342"/>
                      </a:lnTo>
                      <a:lnTo>
                        <a:pt x="400" y="1333"/>
                      </a:lnTo>
                      <a:lnTo>
                        <a:pt x="404" y="1328"/>
                      </a:lnTo>
                      <a:lnTo>
                        <a:pt x="412" y="1328"/>
                      </a:lnTo>
                      <a:lnTo>
                        <a:pt x="429" y="1334"/>
                      </a:lnTo>
                      <a:lnTo>
                        <a:pt x="442" y="1344"/>
                      </a:lnTo>
                      <a:lnTo>
                        <a:pt x="471" y="1343"/>
                      </a:lnTo>
                      <a:lnTo>
                        <a:pt x="485" y="1341"/>
                      </a:lnTo>
                      <a:lnTo>
                        <a:pt x="494" y="1336"/>
                      </a:lnTo>
                      <a:lnTo>
                        <a:pt x="493" y="1312"/>
                      </a:lnTo>
                      <a:lnTo>
                        <a:pt x="490" y="1296"/>
                      </a:lnTo>
                      <a:lnTo>
                        <a:pt x="488" y="1285"/>
                      </a:lnTo>
                      <a:lnTo>
                        <a:pt x="489" y="1278"/>
                      </a:lnTo>
                      <a:lnTo>
                        <a:pt x="494" y="1275"/>
                      </a:lnTo>
                      <a:lnTo>
                        <a:pt x="506" y="1273"/>
                      </a:lnTo>
                      <a:lnTo>
                        <a:pt x="556" y="1269"/>
                      </a:lnTo>
                      <a:lnTo>
                        <a:pt x="562" y="1280"/>
                      </a:lnTo>
                      <a:lnTo>
                        <a:pt x="565" y="1289"/>
                      </a:lnTo>
                      <a:lnTo>
                        <a:pt x="566" y="1309"/>
                      </a:lnTo>
                      <a:lnTo>
                        <a:pt x="566" y="1328"/>
                      </a:lnTo>
                      <a:lnTo>
                        <a:pt x="570" y="1338"/>
                      </a:lnTo>
                      <a:lnTo>
                        <a:pt x="576" y="1349"/>
                      </a:lnTo>
                      <a:lnTo>
                        <a:pt x="608" y="1351"/>
                      </a:lnTo>
                      <a:lnTo>
                        <a:pt x="616" y="1351"/>
                      </a:lnTo>
                      <a:lnTo>
                        <a:pt x="621" y="1349"/>
                      </a:lnTo>
                      <a:lnTo>
                        <a:pt x="637" y="1332"/>
                      </a:lnTo>
                      <a:lnTo>
                        <a:pt x="677" y="1287"/>
                      </a:lnTo>
                      <a:lnTo>
                        <a:pt x="677" y="1261"/>
                      </a:lnTo>
                      <a:lnTo>
                        <a:pt x="674" y="1255"/>
                      </a:lnTo>
                      <a:lnTo>
                        <a:pt x="672" y="1243"/>
                      </a:lnTo>
                      <a:lnTo>
                        <a:pt x="667" y="1211"/>
                      </a:lnTo>
                      <a:lnTo>
                        <a:pt x="663" y="1155"/>
                      </a:lnTo>
                      <a:lnTo>
                        <a:pt x="646" y="1139"/>
                      </a:lnTo>
                      <a:lnTo>
                        <a:pt x="629" y="1128"/>
                      </a:lnTo>
                      <a:lnTo>
                        <a:pt x="611" y="1118"/>
                      </a:lnTo>
                      <a:lnTo>
                        <a:pt x="594" y="1102"/>
                      </a:lnTo>
                      <a:lnTo>
                        <a:pt x="573" y="1107"/>
                      </a:lnTo>
                      <a:lnTo>
                        <a:pt x="553" y="1115"/>
                      </a:lnTo>
                      <a:lnTo>
                        <a:pt x="533" y="1124"/>
                      </a:lnTo>
                      <a:lnTo>
                        <a:pt x="511" y="1128"/>
                      </a:lnTo>
                      <a:lnTo>
                        <a:pt x="485" y="1100"/>
                      </a:lnTo>
                      <a:lnTo>
                        <a:pt x="459" y="1071"/>
                      </a:lnTo>
                      <a:lnTo>
                        <a:pt x="468" y="1063"/>
                      </a:lnTo>
                      <a:lnTo>
                        <a:pt x="477" y="1058"/>
                      </a:lnTo>
                      <a:lnTo>
                        <a:pt x="488" y="1062"/>
                      </a:lnTo>
                      <a:lnTo>
                        <a:pt x="500" y="1069"/>
                      </a:lnTo>
                      <a:lnTo>
                        <a:pt x="515" y="1074"/>
                      </a:lnTo>
                      <a:lnTo>
                        <a:pt x="524" y="1074"/>
                      </a:lnTo>
                      <a:lnTo>
                        <a:pt x="535" y="1071"/>
                      </a:lnTo>
                      <a:lnTo>
                        <a:pt x="552" y="1068"/>
                      </a:lnTo>
                      <a:lnTo>
                        <a:pt x="558" y="1064"/>
                      </a:lnTo>
                      <a:lnTo>
                        <a:pt x="563" y="1058"/>
                      </a:lnTo>
                      <a:lnTo>
                        <a:pt x="584" y="1062"/>
                      </a:lnTo>
                      <a:lnTo>
                        <a:pt x="603" y="1071"/>
                      </a:lnTo>
                      <a:lnTo>
                        <a:pt x="623" y="1079"/>
                      </a:lnTo>
                      <a:lnTo>
                        <a:pt x="633" y="1080"/>
                      </a:lnTo>
                      <a:lnTo>
                        <a:pt x="645" y="1080"/>
                      </a:lnTo>
                      <a:lnTo>
                        <a:pt x="683" y="1084"/>
                      </a:lnTo>
                      <a:lnTo>
                        <a:pt x="722" y="1089"/>
                      </a:lnTo>
                      <a:lnTo>
                        <a:pt x="737" y="1073"/>
                      </a:lnTo>
                      <a:lnTo>
                        <a:pt x="756" y="1060"/>
                      </a:lnTo>
                      <a:lnTo>
                        <a:pt x="797" y="1038"/>
                      </a:lnTo>
                      <a:lnTo>
                        <a:pt x="817" y="1026"/>
                      </a:lnTo>
                      <a:lnTo>
                        <a:pt x="836" y="1011"/>
                      </a:lnTo>
                      <a:lnTo>
                        <a:pt x="851" y="993"/>
                      </a:lnTo>
                      <a:lnTo>
                        <a:pt x="863" y="970"/>
                      </a:lnTo>
                      <a:lnTo>
                        <a:pt x="867" y="963"/>
                      </a:lnTo>
                      <a:lnTo>
                        <a:pt x="875" y="958"/>
                      </a:lnTo>
                      <a:lnTo>
                        <a:pt x="891" y="952"/>
                      </a:lnTo>
                      <a:lnTo>
                        <a:pt x="929" y="954"/>
                      </a:lnTo>
                      <a:lnTo>
                        <a:pt x="968" y="951"/>
                      </a:lnTo>
                      <a:lnTo>
                        <a:pt x="1008" y="946"/>
                      </a:lnTo>
                      <a:lnTo>
                        <a:pt x="1049" y="943"/>
                      </a:lnTo>
                      <a:lnTo>
                        <a:pt x="1060" y="955"/>
                      </a:lnTo>
                      <a:lnTo>
                        <a:pt x="1072" y="966"/>
                      </a:lnTo>
                      <a:lnTo>
                        <a:pt x="1084" y="972"/>
                      </a:lnTo>
                      <a:lnTo>
                        <a:pt x="1097" y="974"/>
                      </a:lnTo>
                      <a:lnTo>
                        <a:pt x="1102" y="981"/>
                      </a:lnTo>
                      <a:lnTo>
                        <a:pt x="1104" y="992"/>
                      </a:lnTo>
                      <a:lnTo>
                        <a:pt x="1095" y="996"/>
                      </a:lnTo>
                      <a:lnTo>
                        <a:pt x="1084" y="1001"/>
                      </a:lnTo>
                      <a:lnTo>
                        <a:pt x="1076" y="993"/>
                      </a:lnTo>
                      <a:lnTo>
                        <a:pt x="1066" y="989"/>
                      </a:lnTo>
                      <a:lnTo>
                        <a:pt x="1042" y="984"/>
                      </a:lnTo>
                      <a:lnTo>
                        <a:pt x="1013" y="986"/>
                      </a:lnTo>
                      <a:lnTo>
                        <a:pt x="981" y="992"/>
                      </a:lnTo>
                      <a:lnTo>
                        <a:pt x="951" y="1002"/>
                      </a:lnTo>
                      <a:lnTo>
                        <a:pt x="924" y="1013"/>
                      </a:lnTo>
                      <a:lnTo>
                        <a:pt x="903" y="1025"/>
                      </a:lnTo>
                      <a:lnTo>
                        <a:pt x="891" y="1036"/>
                      </a:lnTo>
                      <a:lnTo>
                        <a:pt x="860" y="1039"/>
                      </a:lnTo>
                      <a:lnTo>
                        <a:pt x="851" y="1043"/>
                      </a:lnTo>
                      <a:lnTo>
                        <a:pt x="845" y="1048"/>
                      </a:lnTo>
                      <a:lnTo>
                        <a:pt x="842" y="1055"/>
                      </a:lnTo>
                      <a:lnTo>
                        <a:pt x="842" y="1063"/>
                      </a:lnTo>
                      <a:lnTo>
                        <a:pt x="844" y="1070"/>
                      </a:lnTo>
                      <a:lnTo>
                        <a:pt x="847" y="1079"/>
                      </a:lnTo>
                      <a:lnTo>
                        <a:pt x="857" y="1095"/>
                      </a:lnTo>
                      <a:lnTo>
                        <a:pt x="871" y="1111"/>
                      </a:lnTo>
                      <a:lnTo>
                        <a:pt x="891" y="1133"/>
                      </a:lnTo>
                      <a:lnTo>
                        <a:pt x="909" y="1135"/>
                      </a:lnTo>
                      <a:lnTo>
                        <a:pt x="928" y="1141"/>
                      </a:lnTo>
                      <a:lnTo>
                        <a:pt x="946" y="1150"/>
                      </a:lnTo>
                      <a:lnTo>
                        <a:pt x="963" y="1159"/>
                      </a:lnTo>
                      <a:lnTo>
                        <a:pt x="992" y="1139"/>
                      </a:lnTo>
                      <a:lnTo>
                        <a:pt x="1022" y="1113"/>
                      </a:lnTo>
                      <a:lnTo>
                        <a:pt x="1053" y="1087"/>
                      </a:lnTo>
                      <a:lnTo>
                        <a:pt x="1084" y="1067"/>
                      </a:lnTo>
                      <a:lnTo>
                        <a:pt x="1091" y="1060"/>
                      </a:lnTo>
                      <a:lnTo>
                        <a:pt x="1098" y="1048"/>
                      </a:lnTo>
                      <a:lnTo>
                        <a:pt x="1108" y="1027"/>
                      </a:lnTo>
                      <a:lnTo>
                        <a:pt x="1129" y="1021"/>
                      </a:lnTo>
                      <a:lnTo>
                        <a:pt x="1152" y="1018"/>
                      </a:lnTo>
                      <a:lnTo>
                        <a:pt x="1164" y="1006"/>
                      </a:lnTo>
                      <a:lnTo>
                        <a:pt x="1172" y="1001"/>
                      </a:lnTo>
                      <a:lnTo>
                        <a:pt x="1180" y="1003"/>
                      </a:lnTo>
                      <a:lnTo>
                        <a:pt x="1186" y="1008"/>
                      </a:lnTo>
                      <a:lnTo>
                        <a:pt x="1204" y="1023"/>
                      </a:lnTo>
                      <a:lnTo>
                        <a:pt x="1216" y="1030"/>
                      </a:lnTo>
                      <a:lnTo>
                        <a:pt x="1232" y="1032"/>
                      </a:lnTo>
                      <a:lnTo>
                        <a:pt x="1242" y="1042"/>
                      </a:lnTo>
                      <a:lnTo>
                        <a:pt x="1253" y="1048"/>
                      </a:lnTo>
                      <a:lnTo>
                        <a:pt x="1263" y="1052"/>
                      </a:lnTo>
                      <a:close/>
                    </a:path>
                  </a:pathLst>
                </a:custGeom>
                <a:solidFill>
                  <a:srgbClr val="0066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17" name="Freeform 809">
                  <a:extLst>
                    <a:ext uri="{FF2B5EF4-FFF2-40B4-BE49-F238E27FC236}">
                      <a16:creationId xmlns:a16="http://schemas.microsoft.com/office/drawing/2014/main" id="{F38B7FE2-E3E5-9816-9E7D-7F4DE5D32D8A}"/>
                    </a:ext>
                  </a:extLst>
                </p:cNvPr>
                <p:cNvSpPr>
                  <a:spLocks/>
                </p:cNvSpPr>
                <p:nvPr/>
              </p:nvSpPr>
              <p:spPr bwMode="auto">
                <a:xfrm>
                  <a:off x="1070" y="1824"/>
                  <a:ext cx="27" cy="26"/>
                </a:xfrm>
                <a:custGeom>
                  <a:avLst/>
                  <a:gdLst>
                    <a:gd name="T0" fmla="*/ 19 w 39"/>
                    <a:gd name="T1" fmla="*/ 16 h 38"/>
                    <a:gd name="T2" fmla="*/ 19 w 39"/>
                    <a:gd name="T3" fmla="*/ 14 h 38"/>
                    <a:gd name="T4" fmla="*/ 18 w 39"/>
                    <a:gd name="T5" fmla="*/ 13 h 38"/>
                    <a:gd name="T6" fmla="*/ 18 w 39"/>
                    <a:gd name="T7" fmla="*/ 12 h 38"/>
                    <a:gd name="T8" fmla="*/ 17 w 39"/>
                    <a:gd name="T9" fmla="*/ 11 h 38"/>
                    <a:gd name="T10" fmla="*/ 15 w 39"/>
                    <a:gd name="T11" fmla="*/ 10 h 38"/>
                    <a:gd name="T12" fmla="*/ 13 w 39"/>
                    <a:gd name="T13" fmla="*/ 9 h 38"/>
                    <a:gd name="T14" fmla="*/ 12 w 39"/>
                    <a:gd name="T15" fmla="*/ 8 h 38"/>
                    <a:gd name="T16" fmla="*/ 10 w 39"/>
                    <a:gd name="T17" fmla="*/ 8 h 38"/>
                    <a:gd name="T18" fmla="*/ 8 w 39"/>
                    <a:gd name="T19" fmla="*/ 7 h 38"/>
                    <a:gd name="T20" fmla="*/ 7 w 39"/>
                    <a:gd name="T21" fmla="*/ 5 h 38"/>
                    <a:gd name="T22" fmla="*/ 6 w 39"/>
                    <a:gd name="T23" fmla="*/ 5 h 38"/>
                    <a:gd name="T24" fmla="*/ 4 w 39"/>
                    <a:gd name="T25" fmla="*/ 3 h 38"/>
                    <a:gd name="T26" fmla="*/ 3 w 39"/>
                    <a:gd name="T27" fmla="*/ 3 h 38"/>
                    <a:gd name="T28" fmla="*/ 2 w 39"/>
                    <a:gd name="T29" fmla="*/ 1 h 38"/>
                    <a:gd name="T30" fmla="*/ 1 w 39"/>
                    <a:gd name="T31" fmla="*/ 1 h 38"/>
                    <a:gd name="T32" fmla="*/ 0 w 39"/>
                    <a:gd name="T33" fmla="*/ 1 h 38"/>
                    <a:gd name="T34" fmla="*/ 1 w 39"/>
                    <a:gd name="T35" fmla="*/ 2 h 38"/>
                    <a:gd name="T36" fmla="*/ 1 w 39"/>
                    <a:gd name="T37" fmla="*/ 3 h 38"/>
                    <a:gd name="T38" fmla="*/ 3 w 39"/>
                    <a:gd name="T39" fmla="*/ 5 h 38"/>
                    <a:gd name="T40" fmla="*/ 4 w 39"/>
                    <a:gd name="T41" fmla="*/ 5 h 38"/>
                    <a:gd name="T42" fmla="*/ 6 w 39"/>
                    <a:gd name="T43" fmla="*/ 7 h 38"/>
                    <a:gd name="T44" fmla="*/ 8 w 39"/>
                    <a:gd name="T45" fmla="*/ 8 h 38"/>
                    <a:gd name="T46" fmla="*/ 9 w 39"/>
                    <a:gd name="T47" fmla="*/ 8 h 38"/>
                    <a:gd name="T48" fmla="*/ 10 w 39"/>
                    <a:gd name="T49" fmla="*/ 10 h 38"/>
                    <a:gd name="T50" fmla="*/ 12 w 39"/>
                    <a:gd name="T51" fmla="*/ 10 h 38"/>
                    <a:gd name="T52" fmla="*/ 13 w 39"/>
                    <a:gd name="T53" fmla="*/ 11 h 38"/>
                    <a:gd name="T54" fmla="*/ 15 w 39"/>
                    <a:gd name="T55" fmla="*/ 12 h 38"/>
                    <a:gd name="T56" fmla="*/ 16 w 39"/>
                    <a:gd name="T57" fmla="*/ 12 h 38"/>
                    <a:gd name="T58" fmla="*/ 17 w 39"/>
                    <a:gd name="T59" fmla="*/ 14 h 38"/>
                    <a:gd name="T60" fmla="*/ 17 w 39"/>
                    <a:gd name="T61" fmla="*/ 14 h 38"/>
                    <a:gd name="T62" fmla="*/ 17 w 39"/>
                    <a:gd name="T63" fmla="*/ 15 h 38"/>
                    <a:gd name="T64" fmla="*/ 17 w 39"/>
                    <a:gd name="T65" fmla="*/ 16 h 38"/>
                    <a:gd name="T66" fmla="*/ 17 w 39"/>
                    <a:gd name="T67" fmla="*/ 16 h 38"/>
                    <a:gd name="T68" fmla="*/ 17 w 39"/>
                    <a:gd name="T69" fmla="*/ 17 h 38"/>
                    <a:gd name="T70" fmla="*/ 17 w 39"/>
                    <a:gd name="T71" fmla="*/ 17 h 38"/>
                    <a:gd name="T72" fmla="*/ 18 w 39"/>
                    <a:gd name="T73" fmla="*/ 18 h 38"/>
                    <a:gd name="T74" fmla="*/ 18 w 39"/>
                    <a:gd name="T75" fmla="*/ 18 h 38"/>
                    <a:gd name="T76" fmla="*/ 18 w 39"/>
                    <a:gd name="T77" fmla="*/ 18 h 38"/>
                    <a:gd name="T78" fmla="*/ 18 w 39"/>
                    <a:gd name="T79" fmla="*/ 18 h 38"/>
                    <a:gd name="T80" fmla="*/ 18 w 39"/>
                    <a:gd name="T81" fmla="*/ 17 h 38"/>
                    <a:gd name="T82" fmla="*/ 19 w 39"/>
                    <a:gd name="T83" fmla="*/ 17 h 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9" h="38">
                      <a:moveTo>
                        <a:pt x="39" y="36"/>
                      </a:moveTo>
                      <a:lnTo>
                        <a:pt x="39" y="35"/>
                      </a:lnTo>
                      <a:lnTo>
                        <a:pt x="39" y="33"/>
                      </a:lnTo>
                      <a:lnTo>
                        <a:pt x="39" y="31"/>
                      </a:lnTo>
                      <a:lnTo>
                        <a:pt x="39" y="29"/>
                      </a:lnTo>
                      <a:lnTo>
                        <a:pt x="38" y="28"/>
                      </a:lnTo>
                      <a:lnTo>
                        <a:pt x="37" y="26"/>
                      </a:lnTo>
                      <a:lnTo>
                        <a:pt x="37" y="25"/>
                      </a:lnTo>
                      <a:lnTo>
                        <a:pt x="36" y="24"/>
                      </a:lnTo>
                      <a:lnTo>
                        <a:pt x="35" y="23"/>
                      </a:lnTo>
                      <a:lnTo>
                        <a:pt x="33" y="22"/>
                      </a:lnTo>
                      <a:lnTo>
                        <a:pt x="31" y="21"/>
                      </a:lnTo>
                      <a:lnTo>
                        <a:pt x="30" y="20"/>
                      </a:lnTo>
                      <a:lnTo>
                        <a:pt x="28" y="19"/>
                      </a:lnTo>
                      <a:lnTo>
                        <a:pt x="27" y="18"/>
                      </a:lnTo>
                      <a:lnTo>
                        <a:pt x="25" y="17"/>
                      </a:lnTo>
                      <a:lnTo>
                        <a:pt x="23" y="16"/>
                      </a:lnTo>
                      <a:lnTo>
                        <a:pt x="22" y="16"/>
                      </a:lnTo>
                      <a:lnTo>
                        <a:pt x="20" y="15"/>
                      </a:lnTo>
                      <a:lnTo>
                        <a:pt x="18" y="14"/>
                      </a:lnTo>
                      <a:lnTo>
                        <a:pt x="17" y="13"/>
                      </a:lnTo>
                      <a:lnTo>
                        <a:pt x="15" y="12"/>
                      </a:lnTo>
                      <a:lnTo>
                        <a:pt x="14" y="11"/>
                      </a:lnTo>
                      <a:lnTo>
                        <a:pt x="12" y="10"/>
                      </a:lnTo>
                      <a:lnTo>
                        <a:pt x="10" y="9"/>
                      </a:lnTo>
                      <a:lnTo>
                        <a:pt x="9" y="8"/>
                      </a:lnTo>
                      <a:lnTo>
                        <a:pt x="8" y="7"/>
                      </a:lnTo>
                      <a:lnTo>
                        <a:pt x="7" y="6"/>
                      </a:lnTo>
                      <a:lnTo>
                        <a:pt x="6" y="5"/>
                      </a:lnTo>
                      <a:lnTo>
                        <a:pt x="5" y="3"/>
                      </a:lnTo>
                      <a:lnTo>
                        <a:pt x="4" y="2"/>
                      </a:lnTo>
                      <a:lnTo>
                        <a:pt x="3" y="1"/>
                      </a:lnTo>
                      <a:lnTo>
                        <a:pt x="3" y="0"/>
                      </a:lnTo>
                      <a:lnTo>
                        <a:pt x="0" y="1"/>
                      </a:lnTo>
                      <a:lnTo>
                        <a:pt x="1" y="3"/>
                      </a:lnTo>
                      <a:lnTo>
                        <a:pt x="2" y="5"/>
                      </a:lnTo>
                      <a:lnTo>
                        <a:pt x="3" y="6"/>
                      </a:lnTo>
                      <a:lnTo>
                        <a:pt x="3" y="8"/>
                      </a:lnTo>
                      <a:lnTo>
                        <a:pt x="5" y="9"/>
                      </a:lnTo>
                      <a:lnTo>
                        <a:pt x="6" y="10"/>
                      </a:lnTo>
                      <a:lnTo>
                        <a:pt x="8" y="11"/>
                      </a:lnTo>
                      <a:lnTo>
                        <a:pt x="9" y="12"/>
                      </a:lnTo>
                      <a:lnTo>
                        <a:pt x="10" y="14"/>
                      </a:lnTo>
                      <a:lnTo>
                        <a:pt x="12" y="14"/>
                      </a:lnTo>
                      <a:lnTo>
                        <a:pt x="14" y="16"/>
                      </a:lnTo>
                      <a:lnTo>
                        <a:pt x="16" y="16"/>
                      </a:lnTo>
                      <a:lnTo>
                        <a:pt x="17" y="18"/>
                      </a:lnTo>
                      <a:lnTo>
                        <a:pt x="19" y="18"/>
                      </a:lnTo>
                      <a:lnTo>
                        <a:pt x="20" y="19"/>
                      </a:lnTo>
                      <a:lnTo>
                        <a:pt x="22" y="20"/>
                      </a:lnTo>
                      <a:lnTo>
                        <a:pt x="24" y="21"/>
                      </a:lnTo>
                      <a:lnTo>
                        <a:pt x="25" y="22"/>
                      </a:lnTo>
                      <a:lnTo>
                        <a:pt x="27" y="23"/>
                      </a:lnTo>
                      <a:lnTo>
                        <a:pt x="28" y="24"/>
                      </a:lnTo>
                      <a:lnTo>
                        <a:pt x="30" y="24"/>
                      </a:lnTo>
                      <a:lnTo>
                        <a:pt x="31" y="26"/>
                      </a:lnTo>
                      <a:lnTo>
                        <a:pt x="32" y="26"/>
                      </a:lnTo>
                      <a:lnTo>
                        <a:pt x="33" y="27"/>
                      </a:lnTo>
                      <a:lnTo>
                        <a:pt x="35" y="28"/>
                      </a:lnTo>
                      <a:lnTo>
                        <a:pt x="35" y="29"/>
                      </a:lnTo>
                      <a:lnTo>
                        <a:pt x="36" y="30"/>
                      </a:lnTo>
                      <a:lnTo>
                        <a:pt x="36" y="31"/>
                      </a:lnTo>
                      <a:lnTo>
                        <a:pt x="36" y="32"/>
                      </a:lnTo>
                      <a:lnTo>
                        <a:pt x="36" y="34"/>
                      </a:lnTo>
                      <a:lnTo>
                        <a:pt x="36" y="35"/>
                      </a:lnTo>
                      <a:lnTo>
                        <a:pt x="36" y="36"/>
                      </a:lnTo>
                      <a:lnTo>
                        <a:pt x="36" y="37"/>
                      </a:lnTo>
                      <a:lnTo>
                        <a:pt x="37" y="38"/>
                      </a:lnTo>
                      <a:lnTo>
                        <a:pt x="38" y="38"/>
                      </a:lnTo>
                      <a:lnTo>
                        <a:pt x="38" y="37"/>
                      </a:lnTo>
                      <a:lnTo>
                        <a:pt x="39"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18" name="Freeform 810">
                  <a:extLst>
                    <a:ext uri="{FF2B5EF4-FFF2-40B4-BE49-F238E27FC236}">
                      <a16:creationId xmlns:a16="http://schemas.microsoft.com/office/drawing/2014/main" id="{5A0B16E0-E548-CBCC-D146-75DDA3472496}"/>
                    </a:ext>
                  </a:extLst>
                </p:cNvPr>
                <p:cNvSpPr>
                  <a:spLocks/>
                </p:cNvSpPr>
                <p:nvPr/>
              </p:nvSpPr>
              <p:spPr bwMode="auto">
                <a:xfrm>
                  <a:off x="1046" y="1849"/>
                  <a:ext cx="51" cy="26"/>
                </a:xfrm>
                <a:custGeom>
                  <a:avLst/>
                  <a:gdLst>
                    <a:gd name="T0" fmla="*/ 1 w 75"/>
                    <a:gd name="T1" fmla="*/ 16 h 38"/>
                    <a:gd name="T2" fmla="*/ 2 w 75"/>
                    <a:gd name="T3" fmla="*/ 15 h 38"/>
                    <a:gd name="T4" fmla="*/ 3 w 75"/>
                    <a:gd name="T5" fmla="*/ 14 h 38"/>
                    <a:gd name="T6" fmla="*/ 5 w 75"/>
                    <a:gd name="T7" fmla="*/ 12 h 38"/>
                    <a:gd name="T8" fmla="*/ 7 w 75"/>
                    <a:gd name="T9" fmla="*/ 11 h 38"/>
                    <a:gd name="T10" fmla="*/ 10 w 75"/>
                    <a:gd name="T11" fmla="*/ 10 h 38"/>
                    <a:gd name="T12" fmla="*/ 12 w 75"/>
                    <a:gd name="T13" fmla="*/ 9 h 38"/>
                    <a:gd name="T14" fmla="*/ 15 w 75"/>
                    <a:gd name="T15" fmla="*/ 8 h 38"/>
                    <a:gd name="T16" fmla="*/ 18 w 75"/>
                    <a:gd name="T17" fmla="*/ 7 h 38"/>
                    <a:gd name="T18" fmla="*/ 21 w 75"/>
                    <a:gd name="T19" fmla="*/ 6 h 38"/>
                    <a:gd name="T20" fmla="*/ 24 w 75"/>
                    <a:gd name="T21" fmla="*/ 5 h 38"/>
                    <a:gd name="T22" fmla="*/ 27 w 75"/>
                    <a:gd name="T23" fmla="*/ 5 h 38"/>
                    <a:gd name="T24" fmla="*/ 30 w 75"/>
                    <a:gd name="T25" fmla="*/ 4 h 38"/>
                    <a:gd name="T26" fmla="*/ 31 w 75"/>
                    <a:gd name="T27" fmla="*/ 3 h 38"/>
                    <a:gd name="T28" fmla="*/ 33 w 75"/>
                    <a:gd name="T29" fmla="*/ 2 h 38"/>
                    <a:gd name="T30" fmla="*/ 34 w 75"/>
                    <a:gd name="T31" fmla="*/ 1 h 38"/>
                    <a:gd name="T32" fmla="*/ 33 w 75"/>
                    <a:gd name="T33" fmla="*/ 0 h 38"/>
                    <a:gd name="T34" fmla="*/ 33 w 75"/>
                    <a:gd name="T35" fmla="*/ 1 h 38"/>
                    <a:gd name="T36" fmla="*/ 32 w 75"/>
                    <a:gd name="T37" fmla="*/ 1 h 38"/>
                    <a:gd name="T38" fmla="*/ 30 w 75"/>
                    <a:gd name="T39" fmla="*/ 2 h 38"/>
                    <a:gd name="T40" fmla="*/ 28 w 75"/>
                    <a:gd name="T41" fmla="*/ 3 h 38"/>
                    <a:gd name="T42" fmla="*/ 25 w 75"/>
                    <a:gd name="T43" fmla="*/ 3 h 38"/>
                    <a:gd name="T44" fmla="*/ 22 w 75"/>
                    <a:gd name="T45" fmla="*/ 4 h 38"/>
                    <a:gd name="T46" fmla="*/ 20 w 75"/>
                    <a:gd name="T47" fmla="*/ 5 h 38"/>
                    <a:gd name="T48" fmla="*/ 16 w 75"/>
                    <a:gd name="T49" fmla="*/ 5 h 38"/>
                    <a:gd name="T50" fmla="*/ 14 w 75"/>
                    <a:gd name="T51" fmla="*/ 7 h 38"/>
                    <a:gd name="T52" fmla="*/ 11 w 75"/>
                    <a:gd name="T53" fmla="*/ 8 h 38"/>
                    <a:gd name="T54" fmla="*/ 7 w 75"/>
                    <a:gd name="T55" fmla="*/ 8 h 38"/>
                    <a:gd name="T56" fmla="*/ 5 w 75"/>
                    <a:gd name="T57" fmla="*/ 10 h 38"/>
                    <a:gd name="T58" fmla="*/ 3 w 75"/>
                    <a:gd name="T59" fmla="*/ 11 h 38"/>
                    <a:gd name="T60" fmla="*/ 1 w 75"/>
                    <a:gd name="T61" fmla="*/ 12 h 38"/>
                    <a:gd name="T62" fmla="*/ 0 w 75"/>
                    <a:gd name="T63" fmla="*/ 14 h 38"/>
                    <a:gd name="T64" fmla="*/ 0 w 75"/>
                    <a:gd name="T65" fmla="*/ 17 h 38"/>
                    <a:gd name="T66" fmla="*/ 0 w 75"/>
                    <a:gd name="T67" fmla="*/ 17 h 38"/>
                    <a:gd name="T68" fmla="*/ 0 w 75"/>
                    <a:gd name="T69" fmla="*/ 18 h 38"/>
                    <a:gd name="T70" fmla="*/ 0 w 75"/>
                    <a:gd name="T71" fmla="*/ 18 h 38"/>
                    <a:gd name="T72" fmla="*/ 1 w 75"/>
                    <a:gd name="T73" fmla="*/ 18 h 38"/>
                    <a:gd name="T74" fmla="*/ 1 w 75"/>
                    <a:gd name="T75" fmla="*/ 18 h 38"/>
                    <a:gd name="T76" fmla="*/ 1 w 75"/>
                    <a:gd name="T77" fmla="*/ 18 h 38"/>
                    <a:gd name="T78" fmla="*/ 1 w 75"/>
                    <a:gd name="T79" fmla="*/ 18 h 38"/>
                    <a:gd name="T80" fmla="*/ 1 w 75"/>
                    <a:gd name="T81" fmla="*/ 17 h 38"/>
                    <a:gd name="T82" fmla="*/ 1 w 75"/>
                    <a:gd name="T83" fmla="*/ 17 h 3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5" h="38">
                      <a:moveTo>
                        <a:pt x="3" y="36"/>
                      </a:moveTo>
                      <a:lnTo>
                        <a:pt x="3" y="35"/>
                      </a:lnTo>
                      <a:lnTo>
                        <a:pt x="3" y="33"/>
                      </a:lnTo>
                      <a:lnTo>
                        <a:pt x="4" y="32"/>
                      </a:lnTo>
                      <a:lnTo>
                        <a:pt x="5" y="30"/>
                      </a:lnTo>
                      <a:lnTo>
                        <a:pt x="7" y="29"/>
                      </a:lnTo>
                      <a:lnTo>
                        <a:pt x="8" y="27"/>
                      </a:lnTo>
                      <a:lnTo>
                        <a:pt x="10" y="26"/>
                      </a:lnTo>
                      <a:lnTo>
                        <a:pt x="12" y="25"/>
                      </a:lnTo>
                      <a:lnTo>
                        <a:pt x="15" y="23"/>
                      </a:lnTo>
                      <a:lnTo>
                        <a:pt x="18" y="22"/>
                      </a:lnTo>
                      <a:lnTo>
                        <a:pt x="21" y="21"/>
                      </a:lnTo>
                      <a:lnTo>
                        <a:pt x="23" y="20"/>
                      </a:lnTo>
                      <a:lnTo>
                        <a:pt x="26" y="19"/>
                      </a:lnTo>
                      <a:lnTo>
                        <a:pt x="29" y="18"/>
                      </a:lnTo>
                      <a:lnTo>
                        <a:pt x="33" y="17"/>
                      </a:lnTo>
                      <a:lnTo>
                        <a:pt x="36" y="17"/>
                      </a:lnTo>
                      <a:lnTo>
                        <a:pt x="40" y="15"/>
                      </a:lnTo>
                      <a:lnTo>
                        <a:pt x="43" y="15"/>
                      </a:lnTo>
                      <a:lnTo>
                        <a:pt x="46" y="13"/>
                      </a:lnTo>
                      <a:lnTo>
                        <a:pt x="49" y="13"/>
                      </a:lnTo>
                      <a:lnTo>
                        <a:pt x="53" y="12"/>
                      </a:lnTo>
                      <a:lnTo>
                        <a:pt x="55" y="11"/>
                      </a:lnTo>
                      <a:lnTo>
                        <a:pt x="58" y="11"/>
                      </a:lnTo>
                      <a:lnTo>
                        <a:pt x="61" y="10"/>
                      </a:lnTo>
                      <a:lnTo>
                        <a:pt x="64" y="9"/>
                      </a:lnTo>
                      <a:lnTo>
                        <a:pt x="66" y="8"/>
                      </a:lnTo>
                      <a:lnTo>
                        <a:pt x="68" y="7"/>
                      </a:lnTo>
                      <a:lnTo>
                        <a:pt x="70" y="6"/>
                      </a:lnTo>
                      <a:lnTo>
                        <a:pt x="72" y="5"/>
                      </a:lnTo>
                      <a:lnTo>
                        <a:pt x="73" y="4"/>
                      </a:lnTo>
                      <a:lnTo>
                        <a:pt x="74" y="3"/>
                      </a:lnTo>
                      <a:lnTo>
                        <a:pt x="75" y="1"/>
                      </a:lnTo>
                      <a:lnTo>
                        <a:pt x="72" y="0"/>
                      </a:lnTo>
                      <a:lnTo>
                        <a:pt x="71" y="1"/>
                      </a:lnTo>
                      <a:lnTo>
                        <a:pt x="70" y="1"/>
                      </a:lnTo>
                      <a:lnTo>
                        <a:pt x="69" y="3"/>
                      </a:lnTo>
                      <a:lnTo>
                        <a:pt x="67" y="3"/>
                      </a:lnTo>
                      <a:lnTo>
                        <a:pt x="65" y="4"/>
                      </a:lnTo>
                      <a:lnTo>
                        <a:pt x="63" y="5"/>
                      </a:lnTo>
                      <a:lnTo>
                        <a:pt x="60" y="6"/>
                      </a:lnTo>
                      <a:lnTo>
                        <a:pt x="58" y="7"/>
                      </a:lnTo>
                      <a:lnTo>
                        <a:pt x="54" y="7"/>
                      </a:lnTo>
                      <a:lnTo>
                        <a:pt x="52" y="8"/>
                      </a:lnTo>
                      <a:lnTo>
                        <a:pt x="48" y="9"/>
                      </a:lnTo>
                      <a:lnTo>
                        <a:pt x="45" y="10"/>
                      </a:lnTo>
                      <a:lnTo>
                        <a:pt x="42" y="11"/>
                      </a:lnTo>
                      <a:lnTo>
                        <a:pt x="39" y="12"/>
                      </a:lnTo>
                      <a:lnTo>
                        <a:pt x="35" y="12"/>
                      </a:lnTo>
                      <a:lnTo>
                        <a:pt x="32" y="13"/>
                      </a:lnTo>
                      <a:lnTo>
                        <a:pt x="29" y="14"/>
                      </a:lnTo>
                      <a:lnTo>
                        <a:pt x="26" y="15"/>
                      </a:lnTo>
                      <a:lnTo>
                        <a:pt x="23" y="16"/>
                      </a:lnTo>
                      <a:lnTo>
                        <a:pt x="19" y="17"/>
                      </a:lnTo>
                      <a:lnTo>
                        <a:pt x="16" y="18"/>
                      </a:lnTo>
                      <a:lnTo>
                        <a:pt x="14" y="19"/>
                      </a:lnTo>
                      <a:lnTo>
                        <a:pt x="11" y="21"/>
                      </a:lnTo>
                      <a:lnTo>
                        <a:pt x="9" y="22"/>
                      </a:lnTo>
                      <a:lnTo>
                        <a:pt x="7" y="24"/>
                      </a:lnTo>
                      <a:lnTo>
                        <a:pt x="5" y="25"/>
                      </a:lnTo>
                      <a:lnTo>
                        <a:pt x="3" y="27"/>
                      </a:lnTo>
                      <a:lnTo>
                        <a:pt x="2" y="29"/>
                      </a:lnTo>
                      <a:lnTo>
                        <a:pt x="0" y="31"/>
                      </a:lnTo>
                      <a:lnTo>
                        <a:pt x="0" y="34"/>
                      </a:lnTo>
                      <a:lnTo>
                        <a:pt x="0" y="36"/>
                      </a:lnTo>
                      <a:lnTo>
                        <a:pt x="0" y="37"/>
                      </a:lnTo>
                      <a:lnTo>
                        <a:pt x="0" y="38"/>
                      </a:lnTo>
                      <a:lnTo>
                        <a:pt x="1" y="38"/>
                      </a:lnTo>
                      <a:lnTo>
                        <a:pt x="2" y="38"/>
                      </a:lnTo>
                      <a:lnTo>
                        <a:pt x="2" y="37"/>
                      </a:lnTo>
                      <a:lnTo>
                        <a:pt x="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19" name="Freeform 811">
                  <a:extLst>
                    <a:ext uri="{FF2B5EF4-FFF2-40B4-BE49-F238E27FC236}">
                      <a16:creationId xmlns:a16="http://schemas.microsoft.com/office/drawing/2014/main" id="{6AC61AB9-D70C-B3FC-FB21-FA9339EDC79D}"/>
                    </a:ext>
                  </a:extLst>
                </p:cNvPr>
                <p:cNvSpPr>
                  <a:spLocks/>
                </p:cNvSpPr>
                <p:nvPr/>
              </p:nvSpPr>
              <p:spPr bwMode="auto">
                <a:xfrm>
                  <a:off x="1046" y="1865"/>
                  <a:ext cx="64" cy="16"/>
                </a:xfrm>
                <a:custGeom>
                  <a:avLst/>
                  <a:gdLst>
                    <a:gd name="T0" fmla="*/ 43 w 94"/>
                    <a:gd name="T1" fmla="*/ 5 h 22"/>
                    <a:gd name="T2" fmla="*/ 42 w 94"/>
                    <a:gd name="T3" fmla="*/ 2 h 22"/>
                    <a:gd name="T4" fmla="*/ 39 w 94"/>
                    <a:gd name="T5" fmla="*/ 1 h 22"/>
                    <a:gd name="T6" fmla="*/ 35 w 94"/>
                    <a:gd name="T7" fmla="*/ 0 h 22"/>
                    <a:gd name="T8" fmla="*/ 33 w 94"/>
                    <a:gd name="T9" fmla="*/ 1 h 22"/>
                    <a:gd name="T10" fmla="*/ 29 w 94"/>
                    <a:gd name="T11" fmla="*/ 1 h 22"/>
                    <a:gd name="T12" fmla="*/ 25 w 94"/>
                    <a:gd name="T13" fmla="*/ 2 h 22"/>
                    <a:gd name="T14" fmla="*/ 21 w 94"/>
                    <a:gd name="T15" fmla="*/ 4 h 22"/>
                    <a:gd name="T16" fmla="*/ 18 w 94"/>
                    <a:gd name="T17" fmla="*/ 5 h 22"/>
                    <a:gd name="T18" fmla="*/ 14 w 94"/>
                    <a:gd name="T19" fmla="*/ 7 h 22"/>
                    <a:gd name="T20" fmla="*/ 11 w 94"/>
                    <a:gd name="T21" fmla="*/ 8 h 22"/>
                    <a:gd name="T22" fmla="*/ 8 w 94"/>
                    <a:gd name="T23" fmla="*/ 9 h 22"/>
                    <a:gd name="T24" fmla="*/ 5 w 94"/>
                    <a:gd name="T25" fmla="*/ 9 h 22"/>
                    <a:gd name="T26" fmla="*/ 3 w 94"/>
                    <a:gd name="T27" fmla="*/ 9 h 22"/>
                    <a:gd name="T28" fmla="*/ 2 w 94"/>
                    <a:gd name="T29" fmla="*/ 9 h 22"/>
                    <a:gd name="T30" fmla="*/ 1 w 94"/>
                    <a:gd name="T31" fmla="*/ 8 h 22"/>
                    <a:gd name="T32" fmla="*/ 0 w 94"/>
                    <a:gd name="T33" fmla="*/ 7 h 22"/>
                    <a:gd name="T34" fmla="*/ 1 w 94"/>
                    <a:gd name="T35" fmla="*/ 10 h 22"/>
                    <a:gd name="T36" fmla="*/ 2 w 94"/>
                    <a:gd name="T37" fmla="*/ 11 h 22"/>
                    <a:gd name="T38" fmla="*/ 4 w 94"/>
                    <a:gd name="T39" fmla="*/ 12 h 22"/>
                    <a:gd name="T40" fmla="*/ 7 w 94"/>
                    <a:gd name="T41" fmla="*/ 11 h 22"/>
                    <a:gd name="T42" fmla="*/ 10 w 94"/>
                    <a:gd name="T43" fmla="*/ 11 h 22"/>
                    <a:gd name="T44" fmla="*/ 13 w 94"/>
                    <a:gd name="T45" fmla="*/ 9 h 22"/>
                    <a:gd name="T46" fmla="*/ 17 w 94"/>
                    <a:gd name="T47" fmla="*/ 8 h 22"/>
                    <a:gd name="T48" fmla="*/ 20 w 94"/>
                    <a:gd name="T49" fmla="*/ 7 h 22"/>
                    <a:gd name="T50" fmla="*/ 24 w 94"/>
                    <a:gd name="T51" fmla="*/ 5 h 22"/>
                    <a:gd name="T52" fmla="*/ 27 w 94"/>
                    <a:gd name="T53" fmla="*/ 4 h 22"/>
                    <a:gd name="T54" fmla="*/ 31 w 94"/>
                    <a:gd name="T55" fmla="*/ 3 h 22"/>
                    <a:gd name="T56" fmla="*/ 34 w 94"/>
                    <a:gd name="T57" fmla="*/ 2 h 22"/>
                    <a:gd name="T58" fmla="*/ 37 w 94"/>
                    <a:gd name="T59" fmla="*/ 3 h 22"/>
                    <a:gd name="T60" fmla="*/ 39 w 94"/>
                    <a:gd name="T61" fmla="*/ 3 h 22"/>
                    <a:gd name="T62" fmla="*/ 41 w 94"/>
                    <a:gd name="T63" fmla="*/ 5 h 22"/>
                    <a:gd name="T64" fmla="*/ 42 w 94"/>
                    <a:gd name="T65" fmla="*/ 7 h 22"/>
                    <a:gd name="T66" fmla="*/ 42 w 94"/>
                    <a:gd name="T67" fmla="*/ 8 h 22"/>
                    <a:gd name="T68" fmla="*/ 42 w 94"/>
                    <a:gd name="T69" fmla="*/ 8 h 22"/>
                    <a:gd name="T70" fmla="*/ 43 w 94"/>
                    <a:gd name="T71" fmla="*/ 9 h 22"/>
                    <a:gd name="T72" fmla="*/ 43 w 94"/>
                    <a:gd name="T73" fmla="*/ 8 h 22"/>
                    <a:gd name="T74" fmla="*/ 43 w 94"/>
                    <a:gd name="T75" fmla="*/ 8 h 22"/>
                    <a:gd name="T76" fmla="*/ 43 w 94"/>
                    <a:gd name="T77" fmla="*/ 7 h 22"/>
                    <a:gd name="T78" fmla="*/ 43 w 94"/>
                    <a:gd name="T79" fmla="*/ 7 h 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4" h="22">
                      <a:moveTo>
                        <a:pt x="93" y="13"/>
                      </a:moveTo>
                      <a:lnTo>
                        <a:pt x="92" y="10"/>
                      </a:lnTo>
                      <a:lnTo>
                        <a:pt x="90" y="6"/>
                      </a:lnTo>
                      <a:lnTo>
                        <a:pt x="89" y="4"/>
                      </a:lnTo>
                      <a:lnTo>
                        <a:pt x="86" y="3"/>
                      </a:lnTo>
                      <a:lnTo>
                        <a:pt x="83" y="2"/>
                      </a:lnTo>
                      <a:lnTo>
                        <a:pt x="80" y="1"/>
                      </a:lnTo>
                      <a:lnTo>
                        <a:pt x="77" y="0"/>
                      </a:lnTo>
                      <a:lnTo>
                        <a:pt x="74" y="0"/>
                      </a:lnTo>
                      <a:lnTo>
                        <a:pt x="70" y="1"/>
                      </a:lnTo>
                      <a:lnTo>
                        <a:pt x="66" y="1"/>
                      </a:lnTo>
                      <a:lnTo>
                        <a:pt x="63" y="2"/>
                      </a:lnTo>
                      <a:lnTo>
                        <a:pt x="59" y="3"/>
                      </a:lnTo>
                      <a:lnTo>
                        <a:pt x="55" y="4"/>
                      </a:lnTo>
                      <a:lnTo>
                        <a:pt x="51" y="5"/>
                      </a:lnTo>
                      <a:lnTo>
                        <a:pt x="46" y="7"/>
                      </a:lnTo>
                      <a:lnTo>
                        <a:pt x="43" y="8"/>
                      </a:lnTo>
                      <a:lnTo>
                        <a:pt x="39" y="10"/>
                      </a:lnTo>
                      <a:lnTo>
                        <a:pt x="34" y="11"/>
                      </a:lnTo>
                      <a:lnTo>
                        <a:pt x="31" y="13"/>
                      </a:lnTo>
                      <a:lnTo>
                        <a:pt x="27" y="14"/>
                      </a:lnTo>
                      <a:lnTo>
                        <a:pt x="23" y="15"/>
                      </a:lnTo>
                      <a:lnTo>
                        <a:pt x="20" y="16"/>
                      </a:lnTo>
                      <a:lnTo>
                        <a:pt x="17" y="17"/>
                      </a:lnTo>
                      <a:lnTo>
                        <a:pt x="14" y="17"/>
                      </a:lnTo>
                      <a:lnTo>
                        <a:pt x="11" y="18"/>
                      </a:lnTo>
                      <a:lnTo>
                        <a:pt x="9" y="18"/>
                      </a:lnTo>
                      <a:lnTo>
                        <a:pt x="7" y="18"/>
                      </a:lnTo>
                      <a:lnTo>
                        <a:pt x="5" y="18"/>
                      </a:lnTo>
                      <a:lnTo>
                        <a:pt x="4" y="17"/>
                      </a:lnTo>
                      <a:lnTo>
                        <a:pt x="3" y="16"/>
                      </a:lnTo>
                      <a:lnTo>
                        <a:pt x="3" y="15"/>
                      </a:lnTo>
                      <a:lnTo>
                        <a:pt x="3" y="13"/>
                      </a:lnTo>
                      <a:lnTo>
                        <a:pt x="0" y="13"/>
                      </a:lnTo>
                      <a:lnTo>
                        <a:pt x="0" y="16"/>
                      </a:lnTo>
                      <a:lnTo>
                        <a:pt x="1" y="19"/>
                      </a:lnTo>
                      <a:lnTo>
                        <a:pt x="2" y="21"/>
                      </a:lnTo>
                      <a:lnTo>
                        <a:pt x="4" y="21"/>
                      </a:lnTo>
                      <a:lnTo>
                        <a:pt x="7" y="22"/>
                      </a:lnTo>
                      <a:lnTo>
                        <a:pt x="9" y="22"/>
                      </a:lnTo>
                      <a:lnTo>
                        <a:pt x="11" y="22"/>
                      </a:lnTo>
                      <a:lnTo>
                        <a:pt x="14" y="21"/>
                      </a:lnTo>
                      <a:lnTo>
                        <a:pt x="18" y="21"/>
                      </a:lnTo>
                      <a:lnTo>
                        <a:pt x="21" y="20"/>
                      </a:lnTo>
                      <a:lnTo>
                        <a:pt x="24" y="19"/>
                      </a:lnTo>
                      <a:lnTo>
                        <a:pt x="28" y="18"/>
                      </a:lnTo>
                      <a:lnTo>
                        <a:pt x="31" y="16"/>
                      </a:lnTo>
                      <a:lnTo>
                        <a:pt x="36" y="15"/>
                      </a:lnTo>
                      <a:lnTo>
                        <a:pt x="39" y="13"/>
                      </a:lnTo>
                      <a:lnTo>
                        <a:pt x="44" y="12"/>
                      </a:lnTo>
                      <a:lnTo>
                        <a:pt x="48" y="11"/>
                      </a:lnTo>
                      <a:lnTo>
                        <a:pt x="52" y="9"/>
                      </a:lnTo>
                      <a:lnTo>
                        <a:pt x="56" y="8"/>
                      </a:lnTo>
                      <a:lnTo>
                        <a:pt x="59" y="7"/>
                      </a:lnTo>
                      <a:lnTo>
                        <a:pt x="63" y="6"/>
                      </a:lnTo>
                      <a:lnTo>
                        <a:pt x="67" y="5"/>
                      </a:lnTo>
                      <a:lnTo>
                        <a:pt x="71" y="4"/>
                      </a:lnTo>
                      <a:lnTo>
                        <a:pt x="74" y="4"/>
                      </a:lnTo>
                      <a:lnTo>
                        <a:pt x="77" y="4"/>
                      </a:lnTo>
                      <a:lnTo>
                        <a:pt x="80" y="5"/>
                      </a:lnTo>
                      <a:lnTo>
                        <a:pt x="82" y="5"/>
                      </a:lnTo>
                      <a:lnTo>
                        <a:pt x="85" y="6"/>
                      </a:lnTo>
                      <a:lnTo>
                        <a:pt x="87" y="8"/>
                      </a:lnTo>
                      <a:lnTo>
                        <a:pt x="88" y="9"/>
                      </a:lnTo>
                      <a:lnTo>
                        <a:pt x="90" y="12"/>
                      </a:lnTo>
                      <a:lnTo>
                        <a:pt x="90" y="14"/>
                      </a:lnTo>
                      <a:lnTo>
                        <a:pt x="90" y="15"/>
                      </a:lnTo>
                      <a:lnTo>
                        <a:pt x="91" y="15"/>
                      </a:lnTo>
                      <a:lnTo>
                        <a:pt x="92" y="15"/>
                      </a:lnTo>
                      <a:lnTo>
                        <a:pt x="92" y="16"/>
                      </a:lnTo>
                      <a:lnTo>
                        <a:pt x="92" y="15"/>
                      </a:lnTo>
                      <a:lnTo>
                        <a:pt x="93" y="15"/>
                      </a:lnTo>
                      <a:lnTo>
                        <a:pt x="93" y="14"/>
                      </a:lnTo>
                      <a:lnTo>
                        <a:pt x="94" y="14"/>
                      </a:lnTo>
                      <a:lnTo>
                        <a:pt x="9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0" name="Freeform 812">
                  <a:extLst>
                    <a:ext uri="{FF2B5EF4-FFF2-40B4-BE49-F238E27FC236}">
                      <a16:creationId xmlns:a16="http://schemas.microsoft.com/office/drawing/2014/main" id="{8887BB06-7A19-7E5A-98B1-58045328DFE4}"/>
                    </a:ext>
                  </a:extLst>
                </p:cNvPr>
                <p:cNvSpPr>
                  <a:spLocks/>
                </p:cNvSpPr>
                <p:nvPr/>
              </p:nvSpPr>
              <p:spPr bwMode="auto">
                <a:xfrm>
                  <a:off x="1077" y="1875"/>
                  <a:ext cx="33" cy="12"/>
                </a:xfrm>
                <a:custGeom>
                  <a:avLst/>
                  <a:gdLst>
                    <a:gd name="T0" fmla="*/ 2 w 49"/>
                    <a:gd name="T1" fmla="*/ 6 h 18"/>
                    <a:gd name="T2" fmla="*/ 3 w 49"/>
                    <a:gd name="T3" fmla="*/ 6 h 18"/>
                    <a:gd name="T4" fmla="*/ 5 w 49"/>
                    <a:gd name="T5" fmla="*/ 6 h 18"/>
                    <a:gd name="T6" fmla="*/ 6 w 49"/>
                    <a:gd name="T7" fmla="*/ 6 h 18"/>
                    <a:gd name="T8" fmla="*/ 8 w 49"/>
                    <a:gd name="T9" fmla="*/ 6 h 18"/>
                    <a:gd name="T10" fmla="*/ 10 w 49"/>
                    <a:gd name="T11" fmla="*/ 7 h 18"/>
                    <a:gd name="T12" fmla="*/ 12 w 49"/>
                    <a:gd name="T13" fmla="*/ 7 h 18"/>
                    <a:gd name="T14" fmla="*/ 13 w 49"/>
                    <a:gd name="T15" fmla="*/ 7 h 18"/>
                    <a:gd name="T16" fmla="*/ 15 w 49"/>
                    <a:gd name="T17" fmla="*/ 8 h 18"/>
                    <a:gd name="T18" fmla="*/ 18 w 49"/>
                    <a:gd name="T19" fmla="*/ 8 h 18"/>
                    <a:gd name="T20" fmla="*/ 19 w 49"/>
                    <a:gd name="T21" fmla="*/ 8 h 18"/>
                    <a:gd name="T22" fmla="*/ 20 w 49"/>
                    <a:gd name="T23" fmla="*/ 7 h 18"/>
                    <a:gd name="T24" fmla="*/ 22 w 49"/>
                    <a:gd name="T25" fmla="*/ 7 h 18"/>
                    <a:gd name="T26" fmla="*/ 22 w 49"/>
                    <a:gd name="T27" fmla="*/ 5 h 18"/>
                    <a:gd name="T28" fmla="*/ 22 w 49"/>
                    <a:gd name="T29" fmla="*/ 3 h 18"/>
                    <a:gd name="T30" fmla="*/ 22 w 49"/>
                    <a:gd name="T31" fmla="*/ 1 h 18"/>
                    <a:gd name="T32" fmla="*/ 20 w 49"/>
                    <a:gd name="T33" fmla="*/ 1 h 18"/>
                    <a:gd name="T34" fmla="*/ 21 w 49"/>
                    <a:gd name="T35" fmla="*/ 3 h 18"/>
                    <a:gd name="T36" fmla="*/ 21 w 49"/>
                    <a:gd name="T37" fmla="*/ 4 h 18"/>
                    <a:gd name="T38" fmla="*/ 20 w 49"/>
                    <a:gd name="T39" fmla="*/ 5 h 18"/>
                    <a:gd name="T40" fmla="*/ 20 w 49"/>
                    <a:gd name="T41" fmla="*/ 6 h 18"/>
                    <a:gd name="T42" fmla="*/ 19 w 49"/>
                    <a:gd name="T43" fmla="*/ 6 h 18"/>
                    <a:gd name="T44" fmla="*/ 18 w 49"/>
                    <a:gd name="T45" fmla="*/ 6 h 18"/>
                    <a:gd name="T46" fmla="*/ 16 w 49"/>
                    <a:gd name="T47" fmla="*/ 6 h 18"/>
                    <a:gd name="T48" fmla="*/ 15 w 49"/>
                    <a:gd name="T49" fmla="*/ 6 h 18"/>
                    <a:gd name="T50" fmla="*/ 13 w 49"/>
                    <a:gd name="T51" fmla="*/ 6 h 18"/>
                    <a:gd name="T52" fmla="*/ 11 w 49"/>
                    <a:gd name="T53" fmla="*/ 5 h 18"/>
                    <a:gd name="T54" fmla="*/ 9 w 49"/>
                    <a:gd name="T55" fmla="*/ 5 h 18"/>
                    <a:gd name="T56" fmla="*/ 7 w 49"/>
                    <a:gd name="T57" fmla="*/ 5 h 18"/>
                    <a:gd name="T58" fmla="*/ 5 w 49"/>
                    <a:gd name="T59" fmla="*/ 4 h 18"/>
                    <a:gd name="T60" fmla="*/ 3 w 49"/>
                    <a:gd name="T61" fmla="*/ 4 h 18"/>
                    <a:gd name="T62" fmla="*/ 2 w 49"/>
                    <a:gd name="T63" fmla="*/ 5 h 18"/>
                    <a:gd name="T64" fmla="*/ 1 w 49"/>
                    <a:gd name="T65" fmla="*/ 5 h 18"/>
                    <a:gd name="T66" fmla="*/ 0 w 49"/>
                    <a:gd name="T67" fmla="*/ 6 h 18"/>
                    <a:gd name="T68" fmla="*/ 0 w 49"/>
                    <a:gd name="T69" fmla="*/ 6 h 18"/>
                    <a:gd name="T70" fmla="*/ 0 w 49"/>
                    <a:gd name="T71" fmla="*/ 6 h 18"/>
                    <a:gd name="T72" fmla="*/ 0 w 49"/>
                    <a:gd name="T73" fmla="*/ 6 h 18"/>
                    <a:gd name="T74" fmla="*/ 1 w 49"/>
                    <a:gd name="T75" fmla="*/ 7 h 18"/>
                    <a:gd name="T76" fmla="*/ 1 w 49"/>
                    <a:gd name="T77" fmla="*/ 7 h 18"/>
                    <a:gd name="T78" fmla="*/ 1 w 49"/>
                    <a:gd name="T79" fmla="*/ 7 h 18"/>
                    <a:gd name="T80" fmla="*/ 1 w 49"/>
                    <a:gd name="T81" fmla="*/ 7 h 18"/>
                    <a:gd name="T82" fmla="*/ 1 w 49"/>
                    <a:gd name="T83" fmla="*/ 7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9" h="18">
                      <a:moveTo>
                        <a:pt x="3" y="16"/>
                      </a:moveTo>
                      <a:lnTo>
                        <a:pt x="4" y="14"/>
                      </a:lnTo>
                      <a:lnTo>
                        <a:pt x="5" y="14"/>
                      </a:lnTo>
                      <a:lnTo>
                        <a:pt x="7" y="14"/>
                      </a:lnTo>
                      <a:lnTo>
                        <a:pt x="8" y="14"/>
                      </a:lnTo>
                      <a:lnTo>
                        <a:pt x="10" y="13"/>
                      </a:lnTo>
                      <a:lnTo>
                        <a:pt x="12" y="14"/>
                      </a:lnTo>
                      <a:lnTo>
                        <a:pt x="14" y="14"/>
                      </a:lnTo>
                      <a:lnTo>
                        <a:pt x="16" y="14"/>
                      </a:lnTo>
                      <a:lnTo>
                        <a:pt x="18" y="14"/>
                      </a:lnTo>
                      <a:lnTo>
                        <a:pt x="20" y="14"/>
                      </a:lnTo>
                      <a:lnTo>
                        <a:pt x="22" y="15"/>
                      </a:lnTo>
                      <a:lnTo>
                        <a:pt x="24" y="16"/>
                      </a:lnTo>
                      <a:lnTo>
                        <a:pt x="26" y="16"/>
                      </a:lnTo>
                      <a:lnTo>
                        <a:pt x="29" y="17"/>
                      </a:lnTo>
                      <a:lnTo>
                        <a:pt x="30" y="17"/>
                      </a:lnTo>
                      <a:lnTo>
                        <a:pt x="32" y="18"/>
                      </a:lnTo>
                      <a:lnTo>
                        <a:pt x="34" y="18"/>
                      </a:lnTo>
                      <a:lnTo>
                        <a:pt x="36" y="18"/>
                      </a:lnTo>
                      <a:lnTo>
                        <a:pt x="38" y="18"/>
                      </a:lnTo>
                      <a:lnTo>
                        <a:pt x="40" y="18"/>
                      </a:lnTo>
                      <a:lnTo>
                        <a:pt x="41" y="18"/>
                      </a:lnTo>
                      <a:lnTo>
                        <a:pt x="43" y="18"/>
                      </a:lnTo>
                      <a:lnTo>
                        <a:pt x="45" y="17"/>
                      </a:lnTo>
                      <a:lnTo>
                        <a:pt x="46" y="17"/>
                      </a:lnTo>
                      <a:lnTo>
                        <a:pt x="47" y="16"/>
                      </a:lnTo>
                      <a:lnTo>
                        <a:pt x="48" y="14"/>
                      </a:lnTo>
                      <a:lnTo>
                        <a:pt x="49" y="12"/>
                      </a:lnTo>
                      <a:lnTo>
                        <a:pt x="49" y="10"/>
                      </a:lnTo>
                      <a:lnTo>
                        <a:pt x="49" y="8"/>
                      </a:lnTo>
                      <a:lnTo>
                        <a:pt x="49" y="6"/>
                      </a:lnTo>
                      <a:lnTo>
                        <a:pt x="48" y="3"/>
                      </a:lnTo>
                      <a:lnTo>
                        <a:pt x="48" y="0"/>
                      </a:lnTo>
                      <a:lnTo>
                        <a:pt x="45" y="2"/>
                      </a:lnTo>
                      <a:lnTo>
                        <a:pt x="46" y="4"/>
                      </a:lnTo>
                      <a:lnTo>
                        <a:pt x="46" y="6"/>
                      </a:lnTo>
                      <a:lnTo>
                        <a:pt x="46" y="8"/>
                      </a:lnTo>
                      <a:lnTo>
                        <a:pt x="46" y="9"/>
                      </a:lnTo>
                      <a:lnTo>
                        <a:pt x="46" y="11"/>
                      </a:lnTo>
                      <a:lnTo>
                        <a:pt x="45" y="11"/>
                      </a:lnTo>
                      <a:lnTo>
                        <a:pt x="45" y="12"/>
                      </a:lnTo>
                      <a:lnTo>
                        <a:pt x="44" y="13"/>
                      </a:lnTo>
                      <a:lnTo>
                        <a:pt x="43" y="13"/>
                      </a:lnTo>
                      <a:lnTo>
                        <a:pt x="42" y="14"/>
                      </a:lnTo>
                      <a:lnTo>
                        <a:pt x="41" y="14"/>
                      </a:lnTo>
                      <a:lnTo>
                        <a:pt x="40" y="14"/>
                      </a:lnTo>
                      <a:lnTo>
                        <a:pt x="38" y="14"/>
                      </a:lnTo>
                      <a:lnTo>
                        <a:pt x="36" y="14"/>
                      </a:lnTo>
                      <a:lnTo>
                        <a:pt x="35" y="14"/>
                      </a:lnTo>
                      <a:lnTo>
                        <a:pt x="33" y="13"/>
                      </a:lnTo>
                      <a:lnTo>
                        <a:pt x="31" y="13"/>
                      </a:lnTo>
                      <a:lnTo>
                        <a:pt x="29" y="13"/>
                      </a:lnTo>
                      <a:lnTo>
                        <a:pt x="27" y="12"/>
                      </a:lnTo>
                      <a:lnTo>
                        <a:pt x="25" y="11"/>
                      </a:lnTo>
                      <a:lnTo>
                        <a:pt x="23" y="11"/>
                      </a:lnTo>
                      <a:lnTo>
                        <a:pt x="21" y="10"/>
                      </a:lnTo>
                      <a:lnTo>
                        <a:pt x="18" y="10"/>
                      </a:lnTo>
                      <a:lnTo>
                        <a:pt x="16" y="10"/>
                      </a:lnTo>
                      <a:lnTo>
                        <a:pt x="14" y="9"/>
                      </a:lnTo>
                      <a:lnTo>
                        <a:pt x="12" y="9"/>
                      </a:lnTo>
                      <a:lnTo>
                        <a:pt x="10" y="9"/>
                      </a:lnTo>
                      <a:lnTo>
                        <a:pt x="8" y="9"/>
                      </a:lnTo>
                      <a:lnTo>
                        <a:pt x="6" y="9"/>
                      </a:lnTo>
                      <a:lnTo>
                        <a:pt x="4" y="10"/>
                      </a:lnTo>
                      <a:lnTo>
                        <a:pt x="3" y="11"/>
                      </a:lnTo>
                      <a:lnTo>
                        <a:pt x="1" y="11"/>
                      </a:lnTo>
                      <a:lnTo>
                        <a:pt x="1" y="12"/>
                      </a:lnTo>
                      <a:lnTo>
                        <a:pt x="0" y="13"/>
                      </a:lnTo>
                      <a:lnTo>
                        <a:pt x="0" y="14"/>
                      </a:lnTo>
                      <a:lnTo>
                        <a:pt x="1" y="15"/>
                      </a:lnTo>
                      <a:lnTo>
                        <a:pt x="1" y="16"/>
                      </a:lnTo>
                      <a:lnTo>
                        <a:pt x="2" y="16"/>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1" name="Freeform 813">
                  <a:extLst>
                    <a:ext uri="{FF2B5EF4-FFF2-40B4-BE49-F238E27FC236}">
                      <a16:creationId xmlns:a16="http://schemas.microsoft.com/office/drawing/2014/main" id="{350AEFE4-F379-F98B-80E1-3B7CF622D401}"/>
                    </a:ext>
                  </a:extLst>
                </p:cNvPr>
                <p:cNvSpPr>
                  <a:spLocks/>
                </p:cNvSpPr>
                <p:nvPr/>
              </p:nvSpPr>
              <p:spPr bwMode="auto">
                <a:xfrm>
                  <a:off x="1069" y="1883"/>
                  <a:ext cx="10" cy="28"/>
                </a:xfrm>
                <a:custGeom>
                  <a:avLst/>
                  <a:gdLst>
                    <a:gd name="T0" fmla="*/ 2 w 14"/>
                    <a:gd name="T1" fmla="*/ 18 h 39"/>
                    <a:gd name="T2" fmla="*/ 1 w 14"/>
                    <a:gd name="T3" fmla="*/ 17 h 39"/>
                    <a:gd name="T4" fmla="*/ 1 w 14"/>
                    <a:gd name="T5" fmla="*/ 16 h 39"/>
                    <a:gd name="T6" fmla="*/ 1 w 14"/>
                    <a:gd name="T7" fmla="*/ 15 h 39"/>
                    <a:gd name="T8" fmla="*/ 1 w 14"/>
                    <a:gd name="T9" fmla="*/ 14 h 39"/>
                    <a:gd name="T10" fmla="*/ 1 w 14"/>
                    <a:gd name="T11" fmla="*/ 13 h 39"/>
                    <a:gd name="T12" fmla="*/ 1 w 14"/>
                    <a:gd name="T13" fmla="*/ 12 h 39"/>
                    <a:gd name="T14" fmla="*/ 2 w 14"/>
                    <a:gd name="T15" fmla="*/ 10 h 39"/>
                    <a:gd name="T16" fmla="*/ 3 w 14"/>
                    <a:gd name="T17" fmla="*/ 9 h 39"/>
                    <a:gd name="T18" fmla="*/ 3 w 14"/>
                    <a:gd name="T19" fmla="*/ 8 h 39"/>
                    <a:gd name="T20" fmla="*/ 4 w 14"/>
                    <a:gd name="T21" fmla="*/ 6 h 39"/>
                    <a:gd name="T22" fmla="*/ 4 w 14"/>
                    <a:gd name="T23" fmla="*/ 5 h 39"/>
                    <a:gd name="T24" fmla="*/ 4 w 14"/>
                    <a:gd name="T25" fmla="*/ 4 h 39"/>
                    <a:gd name="T26" fmla="*/ 5 w 14"/>
                    <a:gd name="T27" fmla="*/ 4 h 39"/>
                    <a:gd name="T28" fmla="*/ 6 w 14"/>
                    <a:gd name="T29" fmla="*/ 3 h 39"/>
                    <a:gd name="T30" fmla="*/ 6 w 14"/>
                    <a:gd name="T31" fmla="*/ 2 h 39"/>
                    <a:gd name="T32" fmla="*/ 6 w 14"/>
                    <a:gd name="T33" fmla="*/ 0 h 39"/>
                    <a:gd name="T34" fmla="*/ 5 w 14"/>
                    <a:gd name="T35" fmla="*/ 1 h 39"/>
                    <a:gd name="T36" fmla="*/ 4 w 14"/>
                    <a:gd name="T37" fmla="*/ 1 h 39"/>
                    <a:gd name="T38" fmla="*/ 4 w 14"/>
                    <a:gd name="T39" fmla="*/ 2 h 39"/>
                    <a:gd name="T40" fmla="*/ 3 w 14"/>
                    <a:gd name="T41" fmla="*/ 4 h 39"/>
                    <a:gd name="T42" fmla="*/ 3 w 14"/>
                    <a:gd name="T43" fmla="*/ 4 h 39"/>
                    <a:gd name="T44" fmla="*/ 2 w 14"/>
                    <a:gd name="T45" fmla="*/ 6 h 39"/>
                    <a:gd name="T46" fmla="*/ 1 w 14"/>
                    <a:gd name="T47" fmla="*/ 7 h 39"/>
                    <a:gd name="T48" fmla="*/ 1 w 14"/>
                    <a:gd name="T49" fmla="*/ 9 h 39"/>
                    <a:gd name="T50" fmla="*/ 1 w 14"/>
                    <a:gd name="T51" fmla="*/ 10 h 39"/>
                    <a:gd name="T52" fmla="*/ 0 w 14"/>
                    <a:gd name="T53" fmla="*/ 12 h 39"/>
                    <a:gd name="T54" fmla="*/ 0 w 14"/>
                    <a:gd name="T55" fmla="*/ 14 h 39"/>
                    <a:gd name="T56" fmla="*/ 0 w 14"/>
                    <a:gd name="T57" fmla="*/ 15 h 39"/>
                    <a:gd name="T58" fmla="*/ 0 w 14"/>
                    <a:gd name="T59" fmla="*/ 16 h 39"/>
                    <a:gd name="T60" fmla="*/ 0 w 14"/>
                    <a:gd name="T61" fmla="*/ 17 h 39"/>
                    <a:gd name="T62" fmla="*/ 1 w 14"/>
                    <a:gd name="T63" fmla="*/ 19 h 39"/>
                    <a:gd name="T64" fmla="*/ 1 w 14"/>
                    <a:gd name="T65" fmla="*/ 20 h 39"/>
                    <a:gd name="T66" fmla="*/ 1 w 14"/>
                    <a:gd name="T67" fmla="*/ 20 h 39"/>
                    <a:gd name="T68" fmla="*/ 2 w 14"/>
                    <a:gd name="T69" fmla="*/ 20 h 39"/>
                    <a:gd name="T70" fmla="*/ 2 w 14"/>
                    <a:gd name="T71" fmla="*/ 20 h 39"/>
                    <a:gd name="T72" fmla="*/ 3 w 14"/>
                    <a:gd name="T73" fmla="*/ 19 h 39"/>
                    <a:gd name="T74" fmla="*/ 3 w 14"/>
                    <a:gd name="T75" fmla="*/ 19 h 39"/>
                    <a:gd name="T76" fmla="*/ 3 w 14"/>
                    <a:gd name="T77" fmla="*/ 19 h 39"/>
                    <a:gd name="T78" fmla="*/ 3 w 14"/>
                    <a:gd name="T79" fmla="*/ 19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 h="39">
                      <a:moveTo>
                        <a:pt x="5" y="36"/>
                      </a:moveTo>
                      <a:lnTo>
                        <a:pt x="4" y="35"/>
                      </a:lnTo>
                      <a:lnTo>
                        <a:pt x="3" y="34"/>
                      </a:lnTo>
                      <a:lnTo>
                        <a:pt x="3" y="33"/>
                      </a:lnTo>
                      <a:lnTo>
                        <a:pt x="3" y="31"/>
                      </a:lnTo>
                      <a:lnTo>
                        <a:pt x="2" y="31"/>
                      </a:lnTo>
                      <a:lnTo>
                        <a:pt x="2" y="29"/>
                      </a:lnTo>
                      <a:lnTo>
                        <a:pt x="2" y="28"/>
                      </a:lnTo>
                      <a:lnTo>
                        <a:pt x="2" y="26"/>
                      </a:lnTo>
                      <a:lnTo>
                        <a:pt x="3" y="25"/>
                      </a:lnTo>
                      <a:lnTo>
                        <a:pt x="3" y="24"/>
                      </a:lnTo>
                      <a:lnTo>
                        <a:pt x="3" y="23"/>
                      </a:lnTo>
                      <a:lnTo>
                        <a:pt x="4" y="21"/>
                      </a:lnTo>
                      <a:lnTo>
                        <a:pt x="4" y="20"/>
                      </a:lnTo>
                      <a:lnTo>
                        <a:pt x="5" y="19"/>
                      </a:lnTo>
                      <a:lnTo>
                        <a:pt x="5" y="18"/>
                      </a:lnTo>
                      <a:lnTo>
                        <a:pt x="5" y="16"/>
                      </a:lnTo>
                      <a:lnTo>
                        <a:pt x="6" y="15"/>
                      </a:lnTo>
                      <a:lnTo>
                        <a:pt x="6" y="14"/>
                      </a:lnTo>
                      <a:lnTo>
                        <a:pt x="7" y="13"/>
                      </a:lnTo>
                      <a:lnTo>
                        <a:pt x="7" y="11"/>
                      </a:lnTo>
                      <a:lnTo>
                        <a:pt x="8" y="10"/>
                      </a:lnTo>
                      <a:lnTo>
                        <a:pt x="9" y="9"/>
                      </a:lnTo>
                      <a:lnTo>
                        <a:pt x="9" y="8"/>
                      </a:lnTo>
                      <a:lnTo>
                        <a:pt x="10" y="7"/>
                      </a:lnTo>
                      <a:lnTo>
                        <a:pt x="11" y="6"/>
                      </a:lnTo>
                      <a:lnTo>
                        <a:pt x="12" y="5"/>
                      </a:lnTo>
                      <a:lnTo>
                        <a:pt x="12" y="4"/>
                      </a:lnTo>
                      <a:lnTo>
                        <a:pt x="13" y="4"/>
                      </a:lnTo>
                      <a:lnTo>
                        <a:pt x="14" y="4"/>
                      </a:lnTo>
                      <a:lnTo>
                        <a:pt x="12" y="0"/>
                      </a:lnTo>
                      <a:lnTo>
                        <a:pt x="12" y="1"/>
                      </a:lnTo>
                      <a:lnTo>
                        <a:pt x="10" y="1"/>
                      </a:lnTo>
                      <a:lnTo>
                        <a:pt x="10" y="2"/>
                      </a:lnTo>
                      <a:lnTo>
                        <a:pt x="9" y="2"/>
                      </a:lnTo>
                      <a:lnTo>
                        <a:pt x="8" y="4"/>
                      </a:lnTo>
                      <a:lnTo>
                        <a:pt x="7" y="6"/>
                      </a:lnTo>
                      <a:lnTo>
                        <a:pt x="6" y="7"/>
                      </a:lnTo>
                      <a:lnTo>
                        <a:pt x="5" y="8"/>
                      </a:lnTo>
                      <a:lnTo>
                        <a:pt x="5" y="9"/>
                      </a:lnTo>
                      <a:lnTo>
                        <a:pt x="4" y="11"/>
                      </a:lnTo>
                      <a:lnTo>
                        <a:pt x="4" y="12"/>
                      </a:lnTo>
                      <a:lnTo>
                        <a:pt x="3" y="13"/>
                      </a:lnTo>
                      <a:lnTo>
                        <a:pt x="2" y="14"/>
                      </a:lnTo>
                      <a:lnTo>
                        <a:pt x="2" y="16"/>
                      </a:lnTo>
                      <a:lnTo>
                        <a:pt x="1" y="17"/>
                      </a:lnTo>
                      <a:lnTo>
                        <a:pt x="1" y="19"/>
                      </a:lnTo>
                      <a:lnTo>
                        <a:pt x="1" y="20"/>
                      </a:lnTo>
                      <a:lnTo>
                        <a:pt x="0" y="21"/>
                      </a:lnTo>
                      <a:lnTo>
                        <a:pt x="0" y="23"/>
                      </a:lnTo>
                      <a:lnTo>
                        <a:pt x="0" y="24"/>
                      </a:lnTo>
                      <a:lnTo>
                        <a:pt x="0" y="26"/>
                      </a:lnTo>
                      <a:lnTo>
                        <a:pt x="0" y="27"/>
                      </a:lnTo>
                      <a:lnTo>
                        <a:pt x="0" y="29"/>
                      </a:lnTo>
                      <a:lnTo>
                        <a:pt x="0" y="30"/>
                      </a:lnTo>
                      <a:lnTo>
                        <a:pt x="0" y="31"/>
                      </a:lnTo>
                      <a:lnTo>
                        <a:pt x="0" y="33"/>
                      </a:lnTo>
                      <a:lnTo>
                        <a:pt x="0" y="34"/>
                      </a:lnTo>
                      <a:lnTo>
                        <a:pt x="0" y="35"/>
                      </a:lnTo>
                      <a:lnTo>
                        <a:pt x="1" y="37"/>
                      </a:lnTo>
                      <a:lnTo>
                        <a:pt x="2" y="37"/>
                      </a:lnTo>
                      <a:lnTo>
                        <a:pt x="2" y="39"/>
                      </a:lnTo>
                      <a:lnTo>
                        <a:pt x="3" y="39"/>
                      </a:lnTo>
                      <a:lnTo>
                        <a:pt x="4" y="39"/>
                      </a:lnTo>
                      <a:lnTo>
                        <a:pt x="5" y="39"/>
                      </a:lnTo>
                      <a:lnTo>
                        <a:pt x="5" y="38"/>
                      </a:lnTo>
                      <a:lnTo>
                        <a:pt x="5" y="37"/>
                      </a:lnTo>
                      <a:lnTo>
                        <a:pt x="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2" name="Freeform 814">
                  <a:extLst>
                    <a:ext uri="{FF2B5EF4-FFF2-40B4-BE49-F238E27FC236}">
                      <a16:creationId xmlns:a16="http://schemas.microsoft.com/office/drawing/2014/main" id="{D5A5673C-5B2D-AE4D-4DD9-782F7FF1CB7C}"/>
                    </a:ext>
                  </a:extLst>
                </p:cNvPr>
                <p:cNvSpPr>
                  <a:spLocks/>
                </p:cNvSpPr>
                <p:nvPr/>
              </p:nvSpPr>
              <p:spPr bwMode="auto">
                <a:xfrm>
                  <a:off x="1070" y="1887"/>
                  <a:ext cx="27" cy="24"/>
                </a:xfrm>
                <a:custGeom>
                  <a:avLst/>
                  <a:gdLst>
                    <a:gd name="T0" fmla="*/ 18 w 39"/>
                    <a:gd name="T1" fmla="*/ 1 h 34"/>
                    <a:gd name="T2" fmla="*/ 17 w 39"/>
                    <a:gd name="T3" fmla="*/ 1 h 34"/>
                    <a:gd name="T4" fmla="*/ 15 w 39"/>
                    <a:gd name="T5" fmla="*/ 0 h 34"/>
                    <a:gd name="T6" fmla="*/ 13 w 39"/>
                    <a:gd name="T7" fmla="*/ 1 h 34"/>
                    <a:gd name="T8" fmla="*/ 12 w 39"/>
                    <a:gd name="T9" fmla="*/ 1 h 34"/>
                    <a:gd name="T10" fmla="*/ 10 w 39"/>
                    <a:gd name="T11" fmla="*/ 3 h 34"/>
                    <a:gd name="T12" fmla="*/ 9 w 39"/>
                    <a:gd name="T13" fmla="*/ 4 h 34"/>
                    <a:gd name="T14" fmla="*/ 8 w 39"/>
                    <a:gd name="T15" fmla="*/ 6 h 34"/>
                    <a:gd name="T16" fmla="*/ 7 w 39"/>
                    <a:gd name="T17" fmla="*/ 8 h 34"/>
                    <a:gd name="T18" fmla="*/ 6 w 39"/>
                    <a:gd name="T19" fmla="*/ 9 h 34"/>
                    <a:gd name="T20" fmla="*/ 5 w 39"/>
                    <a:gd name="T21" fmla="*/ 11 h 34"/>
                    <a:gd name="T22" fmla="*/ 4 w 39"/>
                    <a:gd name="T23" fmla="*/ 13 h 34"/>
                    <a:gd name="T24" fmla="*/ 3 w 39"/>
                    <a:gd name="T25" fmla="*/ 14 h 34"/>
                    <a:gd name="T26" fmla="*/ 2 w 39"/>
                    <a:gd name="T27" fmla="*/ 14 h 34"/>
                    <a:gd name="T28" fmla="*/ 1 w 39"/>
                    <a:gd name="T29" fmla="*/ 15 h 34"/>
                    <a:gd name="T30" fmla="*/ 1 w 39"/>
                    <a:gd name="T31" fmla="*/ 15 h 34"/>
                    <a:gd name="T32" fmla="*/ 1 w 39"/>
                    <a:gd name="T33" fmla="*/ 16 h 34"/>
                    <a:gd name="T34" fmla="*/ 2 w 39"/>
                    <a:gd name="T35" fmla="*/ 17 h 34"/>
                    <a:gd name="T36" fmla="*/ 3 w 39"/>
                    <a:gd name="T37" fmla="*/ 16 h 34"/>
                    <a:gd name="T38" fmla="*/ 4 w 39"/>
                    <a:gd name="T39" fmla="*/ 16 h 34"/>
                    <a:gd name="T40" fmla="*/ 5 w 39"/>
                    <a:gd name="T41" fmla="*/ 14 h 34"/>
                    <a:gd name="T42" fmla="*/ 6 w 39"/>
                    <a:gd name="T43" fmla="*/ 13 h 34"/>
                    <a:gd name="T44" fmla="*/ 7 w 39"/>
                    <a:gd name="T45" fmla="*/ 11 h 34"/>
                    <a:gd name="T46" fmla="*/ 8 w 39"/>
                    <a:gd name="T47" fmla="*/ 9 h 34"/>
                    <a:gd name="T48" fmla="*/ 9 w 39"/>
                    <a:gd name="T49" fmla="*/ 8 h 34"/>
                    <a:gd name="T50" fmla="*/ 10 w 39"/>
                    <a:gd name="T51" fmla="*/ 6 h 34"/>
                    <a:gd name="T52" fmla="*/ 12 w 39"/>
                    <a:gd name="T53" fmla="*/ 4 h 34"/>
                    <a:gd name="T54" fmla="*/ 12 w 39"/>
                    <a:gd name="T55" fmla="*/ 3 h 34"/>
                    <a:gd name="T56" fmla="*/ 13 w 39"/>
                    <a:gd name="T57" fmla="*/ 3 h 34"/>
                    <a:gd name="T58" fmla="*/ 15 w 39"/>
                    <a:gd name="T59" fmla="*/ 2 h 34"/>
                    <a:gd name="T60" fmla="*/ 16 w 39"/>
                    <a:gd name="T61" fmla="*/ 3 h 34"/>
                    <a:gd name="T62" fmla="*/ 17 w 39"/>
                    <a:gd name="T63" fmla="*/ 4 h 34"/>
                    <a:gd name="T64" fmla="*/ 17 w 39"/>
                    <a:gd name="T65" fmla="*/ 4 h 34"/>
                    <a:gd name="T66" fmla="*/ 18 w 39"/>
                    <a:gd name="T67" fmla="*/ 4 h 34"/>
                    <a:gd name="T68" fmla="*/ 18 w 39"/>
                    <a:gd name="T69" fmla="*/ 4 h 34"/>
                    <a:gd name="T70" fmla="*/ 18 w 39"/>
                    <a:gd name="T71" fmla="*/ 4 h 34"/>
                    <a:gd name="T72" fmla="*/ 18 w 39"/>
                    <a:gd name="T73" fmla="*/ 4 h 34"/>
                    <a:gd name="T74" fmla="*/ 18 w 39"/>
                    <a:gd name="T75" fmla="*/ 4 h 34"/>
                    <a:gd name="T76" fmla="*/ 19 w 39"/>
                    <a:gd name="T77" fmla="*/ 4 h 34"/>
                    <a:gd name="T78" fmla="*/ 18 w 39"/>
                    <a:gd name="T79" fmla="*/ 3 h 34"/>
                    <a:gd name="T80" fmla="*/ 18 w 39"/>
                    <a:gd name="T81" fmla="*/ 3 h 3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9" h="34">
                      <a:moveTo>
                        <a:pt x="38" y="5"/>
                      </a:moveTo>
                      <a:lnTo>
                        <a:pt x="37" y="3"/>
                      </a:lnTo>
                      <a:lnTo>
                        <a:pt x="35" y="2"/>
                      </a:lnTo>
                      <a:lnTo>
                        <a:pt x="34" y="1"/>
                      </a:lnTo>
                      <a:lnTo>
                        <a:pt x="32" y="0"/>
                      </a:lnTo>
                      <a:lnTo>
                        <a:pt x="31" y="0"/>
                      </a:lnTo>
                      <a:lnTo>
                        <a:pt x="29" y="0"/>
                      </a:lnTo>
                      <a:lnTo>
                        <a:pt x="27" y="1"/>
                      </a:lnTo>
                      <a:lnTo>
                        <a:pt x="26" y="2"/>
                      </a:lnTo>
                      <a:lnTo>
                        <a:pt x="25" y="3"/>
                      </a:lnTo>
                      <a:lnTo>
                        <a:pt x="23" y="4"/>
                      </a:lnTo>
                      <a:lnTo>
                        <a:pt x="22" y="5"/>
                      </a:lnTo>
                      <a:lnTo>
                        <a:pt x="20" y="7"/>
                      </a:lnTo>
                      <a:lnTo>
                        <a:pt x="19" y="8"/>
                      </a:lnTo>
                      <a:lnTo>
                        <a:pt x="18" y="10"/>
                      </a:lnTo>
                      <a:lnTo>
                        <a:pt x="17" y="12"/>
                      </a:lnTo>
                      <a:lnTo>
                        <a:pt x="15" y="13"/>
                      </a:lnTo>
                      <a:lnTo>
                        <a:pt x="14" y="15"/>
                      </a:lnTo>
                      <a:lnTo>
                        <a:pt x="13" y="17"/>
                      </a:lnTo>
                      <a:lnTo>
                        <a:pt x="12" y="19"/>
                      </a:lnTo>
                      <a:lnTo>
                        <a:pt x="11" y="20"/>
                      </a:lnTo>
                      <a:lnTo>
                        <a:pt x="10" y="22"/>
                      </a:lnTo>
                      <a:lnTo>
                        <a:pt x="9" y="24"/>
                      </a:lnTo>
                      <a:lnTo>
                        <a:pt x="8" y="25"/>
                      </a:lnTo>
                      <a:lnTo>
                        <a:pt x="7" y="27"/>
                      </a:lnTo>
                      <a:lnTo>
                        <a:pt x="6" y="28"/>
                      </a:lnTo>
                      <a:lnTo>
                        <a:pt x="5" y="29"/>
                      </a:lnTo>
                      <a:lnTo>
                        <a:pt x="4" y="29"/>
                      </a:lnTo>
                      <a:lnTo>
                        <a:pt x="4" y="30"/>
                      </a:lnTo>
                      <a:lnTo>
                        <a:pt x="3" y="30"/>
                      </a:lnTo>
                      <a:lnTo>
                        <a:pt x="0" y="32"/>
                      </a:lnTo>
                      <a:lnTo>
                        <a:pt x="1" y="33"/>
                      </a:lnTo>
                      <a:lnTo>
                        <a:pt x="3" y="34"/>
                      </a:lnTo>
                      <a:lnTo>
                        <a:pt x="4" y="34"/>
                      </a:lnTo>
                      <a:lnTo>
                        <a:pt x="5" y="34"/>
                      </a:lnTo>
                      <a:lnTo>
                        <a:pt x="6" y="33"/>
                      </a:lnTo>
                      <a:lnTo>
                        <a:pt x="7" y="32"/>
                      </a:lnTo>
                      <a:lnTo>
                        <a:pt x="8" y="31"/>
                      </a:lnTo>
                      <a:lnTo>
                        <a:pt x="9" y="30"/>
                      </a:lnTo>
                      <a:lnTo>
                        <a:pt x="10" y="28"/>
                      </a:lnTo>
                      <a:lnTo>
                        <a:pt x="11" y="27"/>
                      </a:lnTo>
                      <a:lnTo>
                        <a:pt x="12" y="25"/>
                      </a:lnTo>
                      <a:lnTo>
                        <a:pt x="13" y="23"/>
                      </a:lnTo>
                      <a:lnTo>
                        <a:pt x="14" y="22"/>
                      </a:lnTo>
                      <a:lnTo>
                        <a:pt x="16" y="20"/>
                      </a:lnTo>
                      <a:lnTo>
                        <a:pt x="17" y="18"/>
                      </a:lnTo>
                      <a:lnTo>
                        <a:pt x="18" y="16"/>
                      </a:lnTo>
                      <a:lnTo>
                        <a:pt x="19" y="15"/>
                      </a:lnTo>
                      <a:lnTo>
                        <a:pt x="20" y="13"/>
                      </a:lnTo>
                      <a:lnTo>
                        <a:pt x="22" y="11"/>
                      </a:lnTo>
                      <a:lnTo>
                        <a:pt x="23" y="10"/>
                      </a:lnTo>
                      <a:lnTo>
                        <a:pt x="24" y="8"/>
                      </a:lnTo>
                      <a:lnTo>
                        <a:pt x="25" y="7"/>
                      </a:lnTo>
                      <a:lnTo>
                        <a:pt x="26" y="6"/>
                      </a:lnTo>
                      <a:lnTo>
                        <a:pt x="27" y="5"/>
                      </a:lnTo>
                      <a:lnTo>
                        <a:pt x="28" y="5"/>
                      </a:lnTo>
                      <a:lnTo>
                        <a:pt x="30" y="4"/>
                      </a:lnTo>
                      <a:lnTo>
                        <a:pt x="31" y="4"/>
                      </a:lnTo>
                      <a:lnTo>
                        <a:pt x="32" y="4"/>
                      </a:lnTo>
                      <a:lnTo>
                        <a:pt x="33" y="5"/>
                      </a:lnTo>
                      <a:lnTo>
                        <a:pt x="34" y="5"/>
                      </a:lnTo>
                      <a:lnTo>
                        <a:pt x="35" y="7"/>
                      </a:lnTo>
                      <a:lnTo>
                        <a:pt x="36" y="8"/>
                      </a:lnTo>
                      <a:lnTo>
                        <a:pt x="37" y="8"/>
                      </a:lnTo>
                      <a:lnTo>
                        <a:pt x="38" y="8"/>
                      </a:lnTo>
                      <a:lnTo>
                        <a:pt x="38" y="7"/>
                      </a:lnTo>
                      <a:lnTo>
                        <a:pt x="39" y="7"/>
                      </a:lnTo>
                      <a:lnTo>
                        <a:pt x="39" y="6"/>
                      </a:lnTo>
                      <a:lnTo>
                        <a:pt x="38" y="6"/>
                      </a:lnTo>
                      <a:lnTo>
                        <a:pt x="3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3" name="Freeform 815">
                  <a:extLst>
                    <a:ext uri="{FF2B5EF4-FFF2-40B4-BE49-F238E27FC236}">
                      <a16:creationId xmlns:a16="http://schemas.microsoft.com/office/drawing/2014/main" id="{2E11531F-CDA9-284C-F98A-BBBB6365E892}"/>
                    </a:ext>
                  </a:extLst>
                </p:cNvPr>
                <p:cNvSpPr>
                  <a:spLocks/>
                </p:cNvSpPr>
                <p:nvPr/>
              </p:nvSpPr>
              <p:spPr bwMode="auto">
                <a:xfrm>
                  <a:off x="1089" y="1890"/>
                  <a:ext cx="23" cy="37"/>
                </a:xfrm>
                <a:custGeom>
                  <a:avLst/>
                  <a:gdLst>
                    <a:gd name="T0" fmla="*/ 1 w 35"/>
                    <a:gd name="T1" fmla="*/ 27 h 51"/>
                    <a:gd name="T2" fmla="*/ 5 w 35"/>
                    <a:gd name="T3" fmla="*/ 25 h 51"/>
                    <a:gd name="T4" fmla="*/ 7 w 35"/>
                    <a:gd name="T5" fmla="*/ 23 h 51"/>
                    <a:gd name="T6" fmla="*/ 9 w 35"/>
                    <a:gd name="T7" fmla="*/ 22 h 51"/>
                    <a:gd name="T8" fmla="*/ 11 w 35"/>
                    <a:gd name="T9" fmla="*/ 21 h 51"/>
                    <a:gd name="T10" fmla="*/ 13 w 35"/>
                    <a:gd name="T11" fmla="*/ 20 h 51"/>
                    <a:gd name="T12" fmla="*/ 14 w 35"/>
                    <a:gd name="T13" fmla="*/ 19 h 51"/>
                    <a:gd name="T14" fmla="*/ 14 w 35"/>
                    <a:gd name="T15" fmla="*/ 18 h 51"/>
                    <a:gd name="T16" fmla="*/ 15 w 35"/>
                    <a:gd name="T17" fmla="*/ 16 h 51"/>
                    <a:gd name="T18" fmla="*/ 15 w 35"/>
                    <a:gd name="T19" fmla="*/ 15 h 51"/>
                    <a:gd name="T20" fmla="*/ 14 w 35"/>
                    <a:gd name="T21" fmla="*/ 14 h 51"/>
                    <a:gd name="T22" fmla="*/ 13 w 35"/>
                    <a:gd name="T23" fmla="*/ 12 h 51"/>
                    <a:gd name="T24" fmla="*/ 12 w 35"/>
                    <a:gd name="T25" fmla="*/ 11 h 51"/>
                    <a:gd name="T26" fmla="*/ 11 w 35"/>
                    <a:gd name="T27" fmla="*/ 9 h 51"/>
                    <a:gd name="T28" fmla="*/ 9 w 35"/>
                    <a:gd name="T29" fmla="*/ 6 h 51"/>
                    <a:gd name="T30" fmla="*/ 7 w 35"/>
                    <a:gd name="T31" fmla="*/ 3 h 51"/>
                    <a:gd name="T32" fmla="*/ 5 w 35"/>
                    <a:gd name="T33" fmla="*/ 0 h 51"/>
                    <a:gd name="T34" fmla="*/ 6 w 35"/>
                    <a:gd name="T35" fmla="*/ 3 h 51"/>
                    <a:gd name="T36" fmla="*/ 7 w 35"/>
                    <a:gd name="T37" fmla="*/ 7 h 51"/>
                    <a:gd name="T38" fmla="*/ 9 w 35"/>
                    <a:gd name="T39" fmla="*/ 9 h 51"/>
                    <a:gd name="T40" fmla="*/ 11 w 35"/>
                    <a:gd name="T41" fmla="*/ 11 h 51"/>
                    <a:gd name="T42" fmla="*/ 12 w 35"/>
                    <a:gd name="T43" fmla="*/ 13 h 51"/>
                    <a:gd name="T44" fmla="*/ 13 w 35"/>
                    <a:gd name="T45" fmla="*/ 15 h 51"/>
                    <a:gd name="T46" fmla="*/ 13 w 35"/>
                    <a:gd name="T47" fmla="*/ 16 h 51"/>
                    <a:gd name="T48" fmla="*/ 14 w 35"/>
                    <a:gd name="T49" fmla="*/ 16 h 51"/>
                    <a:gd name="T50" fmla="*/ 14 w 35"/>
                    <a:gd name="T51" fmla="*/ 17 h 51"/>
                    <a:gd name="T52" fmla="*/ 13 w 35"/>
                    <a:gd name="T53" fmla="*/ 17 h 51"/>
                    <a:gd name="T54" fmla="*/ 12 w 35"/>
                    <a:gd name="T55" fmla="*/ 18 h 51"/>
                    <a:gd name="T56" fmla="*/ 11 w 35"/>
                    <a:gd name="T57" fmla="*/ 19 h 51"/>
                    <a:gd name="T58" fmla="*/ 9 w 35"/>
                    <a:gd name="T59" fmla="*/ 20 h 51"/>
                    <a:gd name="T60" fmla="*/ 7 w 35"/>
                    <a:gd name="T61" fmla="*/ 22 h 51"/>
                    <a:gd name="T62" fmla="*/ 4 w 35"/>
                    <a:gd name="T63" fmla="*/ 23 h 51"/>
                    <a:gd name="T64" fmla="*/ 1 w 35"/>
                    <a:gd name="T65" fmla="*/ 25 h 51"/>
                    <a:gd name="T66" fmla="*/ 1 w 35"/>
                    <a:gd name="T67" fmla="*/ 25 h 51"/>
                    <a:gd name="T68" fmla="*/ 1 w 35"/>
                    <a:gd name="T69" fmla="*/ 25 h 51"/>
                    <a:gd name="T70" fmla="*/ 1 w 35"/>
                    <a:gd name="T71" fmla="*/ 25 h 51"/>
                    <a:gd name="T72" fmla="*/ 0 w 35"/>
                    <a:gd name="T73" fmla="*/ 25 h 51"/>
                    <a:gd name="T74" fmla="*/ 1 w 35"/>
                    <a:gd name="T75" fmla="*/ 26 h 51"/>
                    <a:gd name="T76" fmla="*/ 1 w 35"/>
                    <a:gd name="T77" fmla="*/ 26 h 51"/>
                    <a:gd name="T78" fmla="*/ 1 w 35"/>
                    <a:gd name="T79" fmla="*/ 27 h 51"/>
                    <a:gd name="T80" fmla="*/ 1 w 35"/>
                    <a:gd name="T81" fmla="*/ 27 h 51"/>
                    <a:gd name="T82" fmla="*/ 1 w 35"/>
                    <a:gd name="T83" fmla="*/ 27 h 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5" h="51">
                      <a:moveTo>
                        <a:pt x="3" y="48"/>
                      </a:moveTo>
                      <a:lnTo>
                        <a:pt x="2" y="51"/>
                      </a:lnTo>
                      <a:lnTo>
                        <a:pt x="7" y="49"/>
                      </a:lnTo>
                      <a:lnTo>
                        <a:pt x="10" y="47"/>
                      </a:lnTo>
                      <a:lnTo>
                        <a:pt x="14" y="46"/>
                      </a:lnTo>
                      <a:lnTo>
                        <a:pt x="17" y="44"/>
                      </a:lnTo>
                      <a:lnTo>
                        <a:pt x="19" y="43"/>
                      </a:lnTo>
                      <a:lnTo>
                        <a:pt x="22" y="42"/>
                      </a:lnTo>
                      <a:lnTo>
                        <a:pt x="24" y="41"/>
                      </a:lnTo>
                      <a:lnTo>
                        <a:pt x="26" y="40"/>
                      </a:lnTo>
                      <a:lnTo>
                        <a:pt x="28" y="39"/>
                      </a:lnTo>
                      <a:lnTo>
                        <a:pt x="30" y="38"/>
                      </a:lnTo>
                      <a:lnTo>
                        <a:pt x="31" y="38"/>
                      </a:lnTo>
                      <a:lnTo>
                        <a:pt x="33" y="36"/>
                      </a:lnTo>
                      <a:lnTo>
                        <a:pt x="34" y="35"/>
                      </a:lnTo>
                      <a:lnTo>
                        <a:pt x="34" y="34"/>
                      </a:lnTo>
                      <a:lnTo>
                        <a:pt x="35" y="33"/>
                      </a:lnTo>
                      <a:lnTo>
                        <a:pt x="35" y="31"/>
                      </a:lnTo>
                      <a:lnTo>
                        <a:pt x="35" y="30"/>
                      </a:lnTo>
                      <a:lnTo>
                        <a:pt x="35" y="29"/>
                      </a:lnTo>
                      <a:lnTo>
                        <a:pt x="34" y="27"/>
                      </a:lnTo>
                      <a:lnTo>
                        <a:pt x="34" y="26"/>
                      </a:lnTo>
                      <a:lnTo>
                        <a:pt x="33" y="25"/>
                      </a:lnTo>
                      <a:lnTo>
                        <a:pt x="31" y="24"/>
                      </a:lnTo>
                      <a:lnTo>
                        <a:pt x="30" y="22"/>
                      </a:lnTo>
                      <a:lnTo>
                        <a:pt x="29" y="20"/>
                      </a:lnTo>
                      <a:lnTo>
                        <a:pt x="28" y="18"/>
                      </a:lnTo>
                      <a:lnTo>
                        <a:pt x="26" y="16"/>
                      </a:lnTo>
                      <a:lnTo>
                        <a:pt x="23" y="13"/>
                      </a:lnTo>
                      <a:lnTo>
                        <a:pt x="22" y="11"/>
                      </a:lnTo>
                      <a:lnTo>
                        <a:pt x="19" y="9"/>
                      </a:lnTo>
                      <a:lnTo>
                        <a:pt x="17" y="6"/>
                      </a:lnTo>
                      <a:lnTo>
                        <a:pt x="15" y="3"/>
                      </a:lnTo>
                      <a:lnTo>
                        <a:pt x="12" y="0"/>
                      </a:lnTo>
                      <a:lnTo>
                        <a:pt x="10" y="3"/>
                      </a:lnTo>
                      <a:lnTo>
                        <a:pt x="13" y="5"/>
                      </a:lnTo>
                      <a:lnTo>
                        <a:pt x="15" y="9"/>
                      </a:lnTo>
                      <a:lnTo>
                        <a:pt x="17" y="12"/>
                      </a:lnTo>
                      <a:lnTo>
                        <a:pt x="19" y="15"/>
                      </a:lnTo>
                      <a:lnTo>
                        <a:pt x="21" y="17"/>
                      </a:lnTo>
                      <a:lnTo>
                        <a:pt x="23" y="19"/>
                      </a:lnTo>
                      <a:lnTo>
                        <a:pt x="25" y="21"/>
                      </a:lnTo>
                      <a:lnTo>
                        <a:pt x="26" y="23"/>
                      </a:lnTo>
                      <a:lnTo>
                        <a:pt x="28" y="25"/>
                      </a:lnTo>
                      <a:lnTo>
                        <a:pt x="29" y="25"/>
                      </a:lnTo>
                      <a:lnTo>
                        <a:pt x="30" y="27"/>
                      </a:lnTo>
                      <a:lnTo>
                        <a:pt x="31" y="29"/>
                      </a:lnTo>
                      <a:lnTo>
                        <a:pt x="31" y="30"/>
                      </a:lnTo>
                      <a:lnTo>
                        <a:pt x="32" y="30"/>
                      </a:lnTo>
                      <a:lnTo>
                        <a:pt x="32" y="31"/>
                      </a:lnTo>
                      <a:lnTo>
                        <a:pt x="32" y="32"/>
                      </a:lnTo>
                      <a:lnTo>
                        <a:pt x="31" y="33"/>
                      </a:lnTo>
                      <a:lnTo>
                        <a:pt x="30" y="34"/>
                      </a:lnTo>
                      <a:lnTo>
                        <a:pt x="29" y="35"/>
                      </a:lnTo>
                      <a:lnTo>
                        <a:pt x="28" y="35"/>
                      </a:lnTo>
                      <a:lnTo>
                        <a:pt x="26" y="36"/>
                      </a:lnTo>
                      <a:lnTo>
                        <a:pt x="23" y="37"/>
                      </a:lnTo>
                      <a:lnTo>
                        <a:pt x="21" y="38"/>
                      </a:lnTo>
                      <a:lnTo>
                        <a:pt x="18" y="39"/>
                      </a:lnTo>
                      <a:lnTo>
                        <a:pt x="16" y="41"/>
                      </a:lnTo>
                      <a:lnTo>
                        <a:pt x="12" y="42"/>
                      </a:lnTo>
                      <a:lnTo>
                        <a:pt x="9" y="44"/>
                      </a:lnTo>
                      <a:lnTo>
                        <a:pt x="6" y="45"/>
                      </a:lnTo>
                      <a:lnTo>
                        <a:pt x="1" y="47"/>
                      </a:lnTo>
                      <a:lnTo>
                        <a:pt x="1" y="50"/>
                      </a:lnTo>
                      <a:lnTo>
                        <a:pt x="1" y="47"/>
                      </a:lnTo>
                      <a:lnTo>
                        <a:pt x="1" y="48"/>
                      </a:lnTo>
                      <a:lnTo>
                        <a:pt x="0" y="48"/>
                      </a:lnTo>
                      <a:lnTo>
                        <a:pt x="0" y="49"/>
                      </a:lnTo>
                      <a:lnTo>
                        <a:pt x="1" y="49"/>
                      </a:lnTo>
                      <a:lnTo>
                        <a:pt x="1" y="50"/>
                      </a:lnTo>
                      <a:lnTo>
                        <a:pt x="1" y="51"/>
                      </a:lnTo>
                      <a:lnTo>
                        <a:pt x="2" y="51"/>
                      </a:lnTo>
                      <a:lnTo>
                        <a:pt x="3"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4" name="Freeform 816">
                  <a:extLst>
                    <a:ext uri="{FF2B5EF4-FFF2-40B4-BE49-F238E27FC236}">
                      <a16:creationId xmlns:a16="http://schemas.microsoft.com/office/drawing/2014/main" id="{F81C3D5B-46B6-1990-A614-78DD20078A6A}"/>
                    </a:ext>
                  </a:extLst>
                </p:cNvPr>
                <p:cNvSpPr>
                  <a:spLocks/>
                </p:cNvSpPr>
                <p:nvPr/>
              </p:nvSpPr>
              <p:spPr bwMode="auto">
                <a:xfrm>
                  <a:off x="1078" y="1925"/>
                  <a:ext cx="16" cy="28"/>
                </a:xfrm>
                <a:custGeom>
                  <a:avLst/>
                  <a:gdLst>
                    <a:gd name="T0" fmla="*/ 2 w 24"/>
                    <a:gd name="T1" fmla="*/ 19 h 39"/>
                    <a:gd name="T2" fmla="*/ 3 w 24"/>
                    <a:gd name="T3" fmla="*/ 17 h 39"/>
                    <a:gd name="T4" fmla="*/ 5 w 24"/>
                    <a:gd name="T5" fmla="*/ 15 h 39"/>
                    <a:gd name="T6" fmla="*/ 6 w 24"/>
                    <a:gd name="T7" fmla="*/ 14 h 39"/>
                    <a:gd name="T8" fmla="*/ 7 w 24"/>
                    <a:gd name="T9" fmla="*/ 13 h 39"/>
                    <a:gd name="T10" fmla="*/ 7 w 24"/>
                    <a:gd name="T11" fmla="*/ 12 h 39"/>
                    <a:gd name="T12" fmla="*/ 9 w 24"/>
                    <a:gd name="T13" fmla="*/ 12 h 39"/>
                    <a:gd name="T14" fmla="*/ 9 w 24"/>
                    <a:gd name="T15" fmla="*/ 11 h 39"/>
                    <a:gd name="T16" fmla="*/ 10 w 24"/>
                    <a:gd name="T17" fmla="*/ 10 h 39"/>
                    <a:gd name="T18" fmla="*/ 10 w 24"/>
                    <a:gd name="T19" fmla="*/ 9 h 39"/>
                    <a:gd name="T20" fmla="*/ 10 w 24"/>
                    <a:gd name="T21" fmla="*/ 9 h 39"/>
                    <a:gd name="T22" fmla="*/ 11 w 24"/>
                    <a:gd name="T23" fmla="*/ 8 h 39"/>
                    <a:gd name="T24" fmla="*/ 10 w 24"/>
                    <a:gd name="T25" fmla="*/ 6 h 39"/>
                    <a:gd name="T26" fmla="*/ 10 w 24"/>
                    <a:gd name="T27" fmla="*/ 4 h 39"/>
                    <a:gd name="T28" fmla="*/ 10 w 24"/>
                    <a:gd name="T29" fmla="*/ 3 h 39"/>
                    <a:gd name="T30" fmla="*/ 9 w 24"/>
                    <a:gd name="T31" fmla="*/ 1 h 39"/>
                    <a:gd name="T32" fmla="*/ 7 w 24"/>
                    <a:gd name="T33" fmla="*/ 1 h 39"/>
                    <a:gd name="T34" fmla="*/ 8 w 24"/>
                    <a:gd name="T35" fmla="*/ 3 h 39"/>
                    <a:gd name="T36" fmla="*/ 9 w 24"/>
                    <a:gd name="T37" fmla="*/ 4 h 39"/>
                    <a:gd name="T38" fmla="*/ 9 w 24"/>
                    <a:gd name="T39" fmla="*/ 6 h 39"/>
                    <a:gd name="T40" fmla="*/ 9 w 24"/>
                    <a:gd name="T41" fmla="*/ 7 h 39"/>
                    <a:gd name="T42" fmla="*/ 9 w 24"/>
                    <a:gd name="T43" fmla="*/ 8 h 39"/>
                    <a:gd name="T44" fmla="*/ 9 w 24"/>
                    <a:gd name="T45" fmla="*/ 8 h 39"/>
                    <a:gd name="T46" fmla="*/ 9 w 24"/>
                    <a:gd name="T47" fmla="*/ 9 h 39"/>
                    <a:gd name="T48" fmla="*/ 9 w 24"/>
                    <a:gd name="T49" fmla="*/ 9 h 39"/>
                    <a:gd name="T50" fmla="*/ 8 w 24"/>
                    <a:gd name="T51" fmla="*/ 9 h 39"/>
                    <a:gd name="T52" fmla="*/ 7 w 24"/>
                    <a:gd name="T53" fmla="*/ 10 h 39"/>
                    <a:gd name="T54" fmla="*/ 7 w 24"/>
                    <a:gd name="T55" fmla="*/ 11 h 39"/>
                    <a:gd name="T56" fmla="*/ 5 w 24"/>
                    <a:gd name="T57" fmla="*/ 12 h 39"/>
                    <a:gd name="T58" fmla="*/ 5 w 24"/>
                    <a:gd name="T59" fmla="*/ 13 h 39"/>
                    <a:gd name="T60" fmla="*/ 3 w 24"/>
                    <a:gd name="T61" fmla="*/ 14 h 39"/>
                    <a:gd name="T62" fmla="*/ 2 w 24"/>
                    <a:gd name="T63" fmla="*/ 16 h 39"/>
                    <a:gd name="T64" fmla="*/ 0 w 24"/>
                    <a:gd name="T65" fmla="*/ 18 h 39"/>
                    <a:gd name="T66" fmla="*/ 0 w 24"/>
                    <a:gd name="T67" fmla="*/ 19 h 39"/>
                    <a:gd name="T68" fmla="*/ 0 w 24"/>
                    <a:gd name="T69" fmla="*/ 19 h 39"/>
                    <a:gd name="T70" fmla="*/ 0 w 24"/>
                    <a:gd name="T71" fmla="*/ 19 h 39"/>
                    <a:gd name="T72" fmla="*/ 0 w 24"/>
                    <a:gd name="T73" fmla="*/ 20 h 39"/>
                    <a:gd name="T74" fmla="*/ 1 w 24"/>
                    <a:gd name="T75" fmla="*/ 20 h 39"/>
                    <a:gd name="T76" fmla="*/ 1 w 24"/>
                    <a:gd name="T77" fmla="*/ 20 h 39"/>
                    <a:gd name="T78" fmla="*/ 1 w 24"/>
                    <a:gd name="T79" fmla="*/ 19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 h="39">
                      <a:moveTo>
                        <a:pt x="3" y="38"/>
                      </a:moveTo>
                      <a:lnTo>
                        <a:pt x="4" y="36"/>
                      </a:lnTo>
                      <a:lnTo>
                        <a:pt x="6" y="34"/>
                      </a:lnTo>
                      <a:lnTo>
                        <a:pt x="8" y="32"/>
                      </a:lnTo>
                      <a:lnTo>
                        <a:pt x="9" y="31"/>
                      </a:lnTo>
                      <a:lnTo>
                        <a:pt x="10" y="29"/>
                      </a:lnTo>
                      <a:lnTo>
                        <a:pt x="12" y="28"/>
                      </a:lnTo>
                      <a:lnTo>
                        <a:pt x="13" y="27"/>
                      </a:lnTo>
                      <a:lnTo>
                        <a:pt x="14" y="26"/>
                      </a:lnTo>
                      <a:lnTo>
                        <a:pt x="15" y="25"/>
                      </a:lnTo>
                      <a:lnTo>
                        <a:pt x="17" y="24"/>
                      </a:lnTo>
                      <a:lnTo>
                        <a:pt x="18" y="23"/>
                      </a:lnTo>
                      <a:lnTo>
                        <a:pt x="19" y="23"/>
                      </a:lnTo>
                      <a:lnTo>
                        <a:pt x="20" y="22"/>
                      </a:lnTo>
                      <a:lnTo>
                        <a:pt x="20" y="21"/>
                      </a:lnTo>
                      <a:lnTo>
                        <a:pt x="21" y="21"/>
                      </a:lnTo>
                      <a:lnTo>
                        <a:pt x="22" y="20"/>
                      </a:lnTo>
                      <a:lnTo>
                        <a:pt x="23" y="19"/>
                      </a:lnTo>
                      <a:lnTo>
                        <a:pt x="23" y="18"/>
                      </a:lnTo>
                      <a:lnTo>
                        <a:pt x="23" y="17"/>
                      </a:lnTo>
                      <a:lnTo>
                        <a:pt x="24" y="16"/>
                      </a:lnTo>
                      <a:lnTo>
                        <a:pt x="24" y="15"/>
                      </a:lnTo>
                      <a:lnTo>
                        <a:pt x="23" y="14"/>
                      </a:lnTo>
                      <a:lnTo>
                        <a:pt x="23" y="13"/>
                      </a:lnTo>
                      <a:lnTo>
                        <a:pt x="23" y="11"/>
                      </a:lnTo>
                      <a:lnTo>
                        <a:pt x="23" y="9"/>
                      </a:lnTo>
                      <a:lnTo>
                        <a:pt x="22" y="8"/>
                      </a:lnTo>
                      <a:lnTo>
                        <a:pt x="22" y="6"/>
                      </a:lnTo>
                      <a:lnTo>
                        <a:pt x="21" y="5"/>
                      </a:lnTo>
                      <a:lnTo>
                        <a:pt x="20" y="3"/>
                      </a:lnTo>
                      <a:lnTo>
                        <a:pt x="19" y="0"/>
                      </a:lnTo>
                      <a:lnTo>
                        <a:pt x="17" y="2"/>
                      </a:lnTo>
                      <a:lnTo>
                        <a:pt x="17" y="4"/>
                      </a:lnTo>
                      <a:lnTo>
                        <a:pt x="18" y="6"/>
                      </a:lnTo>
                      <a:lnTo>
                        <a:pt x="19" y="8"/>
                      </a:lnTo>
                      <a:lnTo>
                        <a:pt x="19" y="9"/>
                      </a:lnTo>
                      <a:lnTo>
                        <a:pt x="20" y="11"/>
                      </a:lnTo>
                      <a:lnTo>
                        <a:pt x="20" y="13"/>
                      </a:lnTo>
                      <a:lnTo>
                        <a:pt x="20" y="14"/>
                      </a:lnTo>
                      <a:lnTo>
                        <a:pt x="20" y="15"/>
                      </a:lnTo>
                      <a:lnTo>
                        <a:pt x="20" y="16"/>
                      </a:lnTo>
                      <a:lnTo>
                        <a:pt x="20" y="17"/>
                      </a:lnTo>
                      <a:lnTo>
                        <a:pt x="19" y="17"/>
                      </a:lnTo>
                      <a:lnTo>
                        <a:pt x="19" y="18"/>
                      </a:lnTo>
                      <a:lnTo>
                        <a:pt x="18" y="18"/>
                      </a:lnTo>
                      <a:lnTo>
                        <a:pt x="17" y="19"/>
                      </a:lnTo>
                      <a:lnTo>
                        <a:pt x="16" y="20"/>
                      </a:lnTo>
                      <a:lnTo>
                        <a:pt x="15" y="21"/>
                      </a:lnTo>
                      <a:lnTo>
                        <a:pt x="13" y="22"/>
                      </a:lnTo>
                      <a:lnTo>
                        <a:pt x="12" y="23"/>
                      </a:lnTo>
                      <a:lnTo>
                        <a:pt x="12" y="24"/>
                      </a:lnTo>
                      <a:lnTo>
                        <a:pt x="10" y="25"/>
                      </a:lnTo>
                      <a:lnTo>
                        <a:pt x="8" y="26"/>
                      </a:lnTo>
                      <a:lnTo>
                        <a:pt x="7" y="28"/>
                      </a:lnTo>
                      <a:lnTo>
                        <a:pt x="5" y="29"/>
                      </a:lnTo>
                      <a:lnTo>
                        <a:pt x="4" y="31"/>
                      </a:lnTo>
                      <a:lnTo>
                        <a:pt x="2" y="33"/>
                      </a:lnTo>
                      <a:lnTo>
                        <a:pt x="0" y="35"/>
                      </a:lnTo>
                      <a:lnTo>
                        <a:pt x="0" y="36"/>
                      </a:lnTo>
                      <a:lnTo>
                        <a:pt x="0" y="37"/>
                      </a:lnTo>
                      <a:lnTo>
                        <a:pt x="0" y="38"/>
                      </a:lnTo>
                      <a:lnTo>
                        <a:pt x="0" y="39"/>
                      </a:lnTo>
                      <a:lnTo>
                        <a:pt x="1" y="39"/>
                      </a:lnTo>
                      <a:lnTo>
                        <a:pt x="2" y="39"/>
                      </a:lnTo>
                      <a:lnTo>
                        <a:pt x="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5" name="Freeform 817">
                  <a:extLst>
                    <a:ext uri="{FF2B5EF4-FFF2-40B4-BE49-F238E27FC236}">
                      <a16:creationId xmlns:a16="http://schemas.microsoft.com/office/drawing/2014/main" id="{6ECE0E46-E649-6627-7FB5-8C763FD0AD64}"/>
                    </a:ext>
                  </a:extLst>
                </p:cNvPr>
                <p:cNvSpPr>
                  <a:spLocks/>
                </p:cNvSpPr>
                <p:nvPr/>
              </p:nvSpPr>
              <p:spPr bwMode="auto">
                <a:xfrm>
                  <a:off x="1074" y="1949"/>
                  <a:ext cx="11" cy="88"/>
                </a:xfrm>
                <a:custGeom>
                  <a:avLst/>
                  <a:gdLst>
                    <a:gd name="T0" fmla="*/ 3 w 16"/>
                    <a:gd name="T1" fmla="*/ 63 h 123"/>
                    <a:gd name="T2" fmla="*/ 6 w 16"/>
                    <a:gd name="T3" fmla="*/ 62 h 123"/>
                    <a:gd name="T4" fmla="*/ 7 w 16"/>
                    <a:gd name="T5" fmla="*/ 60 h 123"/>
                    <a:gd name="T6" fmla="*/ 7 w 16"/>
                    <a:gd name="T7" fmla="*/ 57 h 123"/>
                    <a:gd name="T8" fmla="*/ 8 w 16"/>
                    <a:gd name="T9" fmla="*/ 54 h 123"/>
                    <a:gd name="T10" fmla="*/ 7 w 16"/>
                    <a:gd name="T11" fmla="*/ 50 h 123"/>
                    <a:gd name="T12" fmla="*/ 7 w 16"/>
                    <a:gd name="T13" fmla="*/ 46 h 123"/>
                    <a:gd name="T14" fmla="*/ 6 w 16"/>
                    <a:gd name="T15" fmla="*/ 41 h 123"/>
                    <a:gd name="T16" fmla="*/ 6 w 16"/>
                    <a:gd name="T17" fmla="*/ 36 h 123"/>
                    <a:gd name="T18" fmla="*/ 4 w 16"/>
                    <a:gd name="T19" fmla="*/ 30 h 123"/>
                    <a:gd name="T20" fmla="*/ 3 w 16"/>
                    <a:gd name="T21" fmla="*/ 25 h 123"/>
                    <a:gd name="T22" fmla="*/ 2 w 16"/>
                    <a:gd name="T23" fmla="*/ 21 h 123"/>
                    <a:gd name="T24" fmla="*/ 2 w 16"/>
                    <a:gd name="T25" fmla="*/ 15 h 123"/>
                    <a:gd name="T26" fmla="*/ 2 w 16"/>
                    <a:gd name="T27" fmla="*/ 11 h 123"/>
                    <a:gd name="T28" fmla="*/ 2 w 16"/>
                    <a:gd name="T29" fmla="*/ 7 h 123"/>
                    <a:gd name="T30" fmla="*/ 2 w 16"/>
                    <a:gd name="T31" fmla="*/ 4 h 123"/>
                    <a:gd name="T32" fmla="*/ 3 w 16"/>
                    <a:gd name="T33" fmla="*/ 1 h 123"/>
                    <a:gd name="T34" fmla="*/ 2 w 16"/>
                    <a:gd name="T35" fmla="*/ 1 h 123"/>
                    <a:gd name="T36" fmla="*/ 1 w 16"/>
                    <a:gd name="T37" fmla="*/ 4 h 123"/>
                    <a:gd name="T38" fmla="*/ 0 w 16"/>
                    <a:gd name="T39" fmla="*/ 9 h 123"/>
                    <a:gd name="T40" fmla="*/ 0 w 16"/>
                    <a:gd name="T41" fmla="*/ 14 h 123"/>
                    <a:gd name="T42" fmla="*/ 1 w 16"/>
                    <a:gd name="T43" fmla="*/ 18 h 123"/>
                    <a:gd name="T44" fmla="*/ 1 w 16"/>
                    <a:gd name="T45" fmla="*/ 23 h 123"/>
                    <a:gd name="T46" fmla="*/ 2 w 16"/>
                    <a:gd name="T47" fmla="*/ 28 h 123"/>
                    <a:gd name="T48" fmla="*/ 3 w 16"/>
                    <a:gd name="T49" fmla="*/ 34 h 123"/>
                    <a:gd name="T50" fmla="*/ 4 w 16"/>
                    <a:gd name="T51" fmla="*/ 39 h 123"/>
                    <a:gd name="T52" fmla="*/ 5 w 16"/>
                    <a:gd name="T53" fmla="*/ 44 h 123"/>
                    <a:gd name="T54" fmla="*/ 6 w 16"/>
                    <a:gd name="T55" fmla="*/ 49 h 123"/>
                    <a:gd name="T56" fmla="*/ 6 w 16"/>
                    <a:gd name="T57" fmla="*/ 52 h 123"/>
                    <a:gd name="T58" fmla="*/ 6 w 16"/>
                    <a:gd name="T59" fmla="*/ 56 h 123"/>
                    <a:gd name="T60" fmla="*/ 6 w 16"/>
                    <a:gd name="T61" fmla="*/ 59 h 123"/>
                    <a:gd name="T62" fmla="*/ 5 w 16"/>
                    <a:gd name="T63" fmla="*/ 60 h 123"/>
                    <a:gd name="T64" fmla="*/ 4 w 16"/>
                    <a:gd name="T65" fmla="*/ 61 h 123"/>
                    <a:gd name="T66" fmla="*/ 4 w 16"/>
                    <a:gd name="T67" fmla="*/ 62 h 123"/>
                    <a:gd name="T68" fmla="*/ 3 w 16"/>
                    <a:gd name="T69" fmla="*/ 62 h 123"/>
                    <a:gd name="T70" fmla="*/ 2 w 16"/>
                    <a:gd name="T71" fmla="*/ 62 h 123"/>
                    <a:gd name="T72" fmla="*/ 2 w 16"/>
                    <a:gd name="T73" fmla="*/ 62 h 123"/>
                    <a:gd name="T74" fmla="*/ 2 w 16"/>
                    <a:gd name="T75" fmla="*/ 62 h 123"/>
                    <a:gd name="T76" fmla="*/ 2 w 16"/>
                    <a:gd name="T77" fmla="*/ 62 h 123"/>
                    <a:gd name="T78" fmla="*/ 2 w 16"/>
                    <a:gd name="T79" fmla="*/ 62 h 123"/>
                    <a:gd name="T80" fmla="*/ 2 w 16"/>
                    <a:gd name="T81" fmla="*/ 63 h 123"/>
                    <a:gd name="T82" fmla="*/ 2 w 16"/>
                    <a:gd name="T83" fmla="*/ 63 h 123"/>
                    <a:gd name="T84" fmla="*/ 3 w 16"/>
                    <a:gd name="T85" fmla="*/ 63 h 123"/>
                    <a:gd name="T86" fmla="*/ 3 w 16"/>
                    <a:gd name="T87" fmla="*/ 63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6" h="123">
                      <a:moveTo>
                        <a:pt x="5" y="122"/>
                      </a:moveTo>
                      <a:lnTo>
                        <a:pt x="7" y="123"/>
                      </a:lnTo>
                      <a:lnTo>
                        <a:pt x="9" y="123"/>
                      </a:lnTo>
                      <a:lnTo>
                        <a:pt x="11" y="122"/>
                      </a:lnTo>
                      <a:lnTo>
                        <a:pt x="12" y="120"/>
                      </a:lnTo>
                      <a:lnTo>
                        <a:pt x="14" y="118"/>
                      </a:lnTo>
                      <a:lnTo>
                        <a:pt x="15" y="116"/>
                      </a:lnTo>
                      <a:lnTo>
                        <a:pt x="15" y="112"/>
                      </a:lnTo>
                      <a:lnTo>
                        <a:pt x="16" y="109"/>
                      </a:lnTo>
                      <a:lnTo>
                        <a:pt x="16" y="106"/>
                      </a:lnTo>
                      <a:lnTo>
                        <a:pt x="16" y="102"/>
                      </a:lnTo>
                      <a:lnTo>
                        <a:pt x="15" y="98"/>
                      </a:lnTo>
                      <a:lnTo>
                        <a:pt x="15" y="94"/>
                      </a:lnTo>
                      <a:lnTo>
                        <a:pt x="14" y="89"/>
                      </a:lnTo>
                      <a:lnTo>
                        <a:pt x="13" y="85"/>
                      </a:lnTo>
                      <a:lnTo>
                        <a:pt x="12" y="80"/>
                      </a:lnTo>
                      <a:lnTo>
                        <a:pt x="12" y="75"/>
                      </a:lnTo>
                      <a:lnTo>
                        <a:pt x="11" y="70"/>
                      </a:lnTo>
                      <a:lnTo>
                        <a:pt x="9" y="65"/>
                      </a:lnTo>
                      <a:lnTo>
                        <a:pt x="8" y="59"/>
                      </a:lnTo>
                      <a:lnTo>
                        <a:pt x="7" y="55"/>
                      </a:lnTo>
                      <a:lnTo>
                        <a:pt x="7" y="49"/>
                      </a:lnTo>
                      <a:lnTo>
                        <a:pt x="6" y="44"/>
                      </a:lnTo>
                      <a:lnTo>
                        <a:pt x="5" y="40"/>
                      </a:lnTo>
                      <a:lnTo>
                        <a:pt x="4" y="35"/>
                      </a:lnTo>
                      <a:lnTo>
                        <a:pt x="4" y="30"/>
                      </a:lnTo>
                      <a:lnTo>
                        <a:pt x="4" y="26"/>
                      </a:lnTo>
                      <a:lnTo>
                        <a:pt x="4" y="21"/>
                      </a:lnTo>
                      <a:lnTo>
                        <a:pt x="4" y="18"/>
                      </a:lnTo>
                      <a:lnTo>
                        <a:pt x="4" y="14"/>
                      </a:lnTo>
                      <a:lnTo>
                        <a:pt x="4" y="10"/>
                      </a:lnTo>
                      <a:lnTo>
                        <a:pt x="5" y="7"/>
                      </a:lnTo>
                      <a:lnTo>
                        <a:pt x="6" y="5"/>
                      </a:lnTo>
                      <a:lnTo>
                        <a:pt x="7" y="3"/>
                      </a:lnTo>
                      <a:lnTo>
                        <a:pt x="5" y="0"/>
                      </a:lnTo>
                      <a:lnTo>
                        <a:pt x="4" y="3"/>
                      </a:lnTo>
                      <a:lnTo>
                        <a:pt x="3" y="6"/>
                      </a:lnTo>
                      <a:lnTo>
                        <a:pt x="2" y="9"/>
                      </a:lnTo>
                      <a:lnTo>
                        <a:pt x="1" y="13"/>
                      </a:lnTo>
                      <a:lnTo>
                        <a:pt x="0" y="17"/>
                      </a:lnTo>
                      <a:lnTo>
                        <a:pt x="0" y="21"/>
                      </a:lnTo>
                      <a:lnTo>
                        <a:pt x="0" y="26"/>
                      </a:lnTo>
                      <a:lnTo>
                        <a:pt x="1" y="30"/>
                      </a:lnTo>
                      <a:lnTo>
                        <a:pt x="2" y="35"/>
                      </a:lnTo>
                      <a:lnTo>
                        <a:pt x="2" y="40"/>
                      </a:lnTo>
                      <a:lnTo>
                        <a:pt x="3" y="45"/>
                      </a:lnTo>
                      <a:lnTo>
                        <a:pt x="4" y="50"/>
                      </a:lnTo>
                      <a:lnTo>
                        <a:pt x="4" y="55"/>
                      </a:lnTo>
                      <a:lnTo>
                        <a:pt x="5" y="61"/>
                      </a:lnTo>
                      <a:lnTo>
                        <a:pt x="7" y="65"/>
                      </a:lnTo>
                      <a:lnTo>
                        <a:pt x="7" y="71"/>
                      </a:lnTo>
                      <a:lnTo>
                        <a:pt x="8" y="76"/>
                      </a:lnTo>
                      <a:lnTo>
                        <a:pt x="9" y="81"/>
                      </a:lnTo>
                      <a:lnTo>
                        <a:pt x="10" y="86"/>
                      </a:lnTo>
                      <a:lnTo>
                        <a:pt x="11" y="90"/>
                      </a:lnTo>
                      <a:lnTo>
                        <a:pt x="12" y="95"/>
                      </a:lnTo>
                      <a:lnTo>
                        <a:pt x="12" y="99"/>
                      </a:lnTo>
                      <a:lnTo>
                        <a:pt x="12" y="102"/>
                      </a:lnTo>
                      <a:lnTo>
                        <a:pt x="12" y="106"/>
                      </a:lnTo>
                      <a:lnTo>
                        <a:pt x="12" y="109"/>
                      </a:lnTo>
                      <a:lnTo>
                        <a:pt x="12" y="112"/>
                      </a:lnTo>
                      <a:lnTo>
                        <a:pt x="12" y="114"/>
                      </a:lnTo>
                      <a:lnTo>
                        <a:pt x="11" y="116"/>
                      </a:lnTo>
                      <a:lnTo>
                        <a:pt x="10" y="118"/>
                      </a:lnTo>
                      <a:lnTo>
                        <a:pt x="9" y="118"/>
                      </a:lnTo>
                      <a:lnTo>
                        <a:pt x="8" y="119"/>
                      </a:lnTo>
                      <a:lnTo>
                        <a:pt x="7" y="119"/>
                      </a:lnTo>
                      <a:lnTo>
                        <a:pt x="8" y="121"/>
                      </a:lnTo>
                      <a:lnTo>
                        <a:pt x="7" y="119"/>
                      </a:lnTo>
                      <a:lnTo>
                        <a:pt x="6" y="120"/>
                      </a:lnTo>
                      <a:lnTo>
                        <a:pt x="5" y="120"/>
                      </a:lnTo>
                      <a:lnTo>
                        <a:pt x="5" y="121"/>
                      </a:lnTo>
                      <a:lnTo>
                        <a:pt x="5" y="122"/>
                      </a:lnTo>
                      <a:lnTo>
                        <a:pt x="5" y="123"/>
                      </a:lnTo>
                      <a:lnTo>
                        <a:pt x="6" y="123"/>
                      </a:lnTo>
                      <a:lnTo>
                        <a:pt x="7" y="123"/>
                      </a:lnTo>
                      <a:lnTo>
                        <a:pt x="5" y="1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6" name="Freeform 818">
                  <a:extLst>
                    <a:ext uri="{FF2B5EF4-FFF2-40B4-BE49-F238E27FC236}">
                      <a16:creationId xmlns:a16="http://schemas.microsoft.com/office/drawing/2014/main" id="{FC1472F8-19DB-FA22-E31F-4FD344F0A63D}"/>
                    </a:ext>
                  </a:extLst>
                </p:cNvPr>
                <p:cNvSpPr>
                  <a:spLocks/>
                </p:cNvSpPr>
                <p:nvPr/>
              </p:nvSpPr>
              <p:spPr bwMode="auto">
                <a:xfrm>
                  <a:off x="1063" y="2015"/>
                  <a:ext cx="16" cy="22"/>
                </a:xfrm>
                <a:custGeom>
                  <a:avLst/>
                  <a:gdLst>
                    <a:gd name="T0" fmla="*/ 2 w 23"/>
                    <a:gd name="T1" fmla="*/ 14 h 32"/>
                    <a:gd name="T2" fmla="*/ 2 w 23"/>
                    <a:gd name="T3" fmla="*/ 11 h 32"/>
                    <a:gd name="T4" fmla="*/ 1 w 23"/>
                    <a:gd name="T5" fmla="*/ 8 h 32"/>
                    <a:gd name="T6" fmla="*/ 1 w 23"/>
                    <a:gd name="T7" fmla="*/ 7 h 32"/>
                    <a:gd name="T8" fmla="*/ 1 w 23"/>
                    <a:gd name="T9" fmla="*/ 5 h 32"/>
                    <a:gd name="T10" fmla="*/ 1 w 23"/>
                    <a:gd name="T11" fmla="*/ 3 h 32"/>
                    <a:gd name="T12" fmla="*/ 2 w 23"/>
                    <a:gd name="T13" fmla="*/ 2 h 32"/>
                    <a:gd name="T14" fmla="*/ 2 w 23"/>
                    <a:gd name="T15" fmla="*/ 2 h 32"/>
                    <a:gd name="T16" fmla="*/ 3 w 23"/>
                    <a:gd name="T17" fmla="*/ 2 h 32"/>
                    <a:gd name="T18" fmla="*/ 3 w 23"/>
                    <a:gd name="T19" fmla="*/ 2 h 32"/>
                    <a:gd name="T20" fmla="*/ 4 w 23"/>
                    <a:gd name="T21" fmla="*/ 2 h 32"/>
                    <a:gd name="T22" fmla="*/ 5 w 23"/>
                    <a:gd name="T23" fmla="*/ 3 h 32"/>
                    <a:gd name="T24" fmla="*/ 6 w 23"/>
                    <a:gd name="T25" fmla="*/ 5 h 32"/>
                    <a:gd name="T26" fmla="*/ 7 w 23"/>
                    <a:gd name="T27" fmla="*/ 6 h 32"/>
                    <a:gd name="T28" fmla="*/ 8 w 23"/>
                    <a:gd name="T29" fmla="*/ 8 h 32"/>
                    <a:gd name="T30" fmla="*/ 9 w 23"/>
                    <a:gd name="T31" fmla="*/ 12 h 32"/>
                    <a:gd name="T32" fmla="*/ 10 w 23"/>
                    <a:gd name="T33" fmla="*/ 14 h 32"/>
                    <a:gd name="T34" fmla="*/ 10 w 23"/>
                    <a:gd name="T35" fmla="*/ 12 h 32"/>
                    <a:gd name="T36" fmla="*/ 10 w 23"/>
                    <a:gd name="T37" fmla="*/ 9 h 32"/>
                    <a:gd name="T38" fmla="*/ 9 w 23"/>
                    <a:gd name="T39" fmla="*/ 7 h 32"/>
                    <a:gd name="T40" fmla="*/ 7 w 23"/>
                    <a:gd name="T41" fmla="*/ 4 h 32"/>
                    <a:gd name="T42" fmla="*/ 6 w 23"/>
                    <a:gd name="T43" fmla="*/ 2 h 32"/>
                    <a:gd name="T44" fmla="*/ 6 w 23"/>
                    <a:gd name="T45" fmla="*/ 1 h 32"/>
                    <a:gd name="T46" fmla="*/ 4 w 23"/>
                    <a:gd name="T47" fmla="*/ 1 h 32"/>
                    <a:gd name="T48" fmla="*/ 3 w 23"/>
                    <a:gd name="T49" fmla="*/ 0 h 32"/>
                    <a:gd name="T50" fmla="*/ 2 w 23"/>
                    <a:gd name="T51" fmla="*/ 0 h 32"/>
                    <a:gd name="T52" fmla="*/ 1 w 23"/>
                    <a:gd name="T53" fmla="*/ 1 h 32"/>
                    <a:gd name="T54" fmla="*/ 1 w 23"/>
                    <a:gd name="T55" fmla="*/ 2 h 32"/>
                    <a:gd name="T56" fmla="*/ 0 w 23"/>
                    <a:gd name="T57" fmla="*/ 4 h 32"/>
                    <a:gd name="T58" fmla="*/ 0 w 23"/>
                    <a:gd name="T59" fmla="*/ 6 h 32"/>
                    <a:gd name="T60" fmla="*/ 0 w 23"/>
                    <a:gd name="T61" fmla="*/ 8 h 32"/>
                    <a:gd name="T62" fmla="*/ 0 w 23"/>
                    <a:gd name="T63" fmla="*/ 10 h 32"/>
                    <a:gd name="T64" fmla="*/ 1 w 23"/>
                    <a:gd name="T65" fmla="*/ 13 h 32"/>
                    <a:gd name="T66" fmla="*/ 1 w 23"/>
                    <a:gd name="T67" fmla="*/ 14 h 32"/>
                    <a:gd name="T68" fmla="*/ 1 w 23"/>
                    <a:gd name="T69" fmla="*/ 14 h 32"/>
                    <a:gd name="T70" fmla="*/ 1 w 23"/>
                    <a:gd name="T71" fmla="*/ 15 h 32"/>
                    <a:gd name="T72" fmla="*/ 1 w 23"/>
                    <a:gd name="T73" fmla="*/ 15 h 32"/>
                    <a:gd name="T74" fmla="*/ 1 w 23"/>
                    <a:gd name="T75" fmla="*/ 15 h 32"/>
                    <a:gd name="T76" fmla="*/ 2 w 23"/>
                    <a:gd name="T77" fmla="*/ 15 h 32"/>
                    <a:gd name="T78" fmla="*/ 2 w 23"/>
                    <a:gd name="T79" fmla="*/ 15 h 32"/>
                    <a:gd name="T80" fmla="*/ 2 w 23"/>
                    <a:gd name="T81" fmla="*/ 14 h 32"/>
                    <a:gd name="T82" fmla="*/ 2 w 23"/>
                    <a:gd name="T83" fmla="*/ 14 h 32"/>
                    <a:gd name="T84" fmla="*/ 2 w 23"/>
                    <a:gd name="T85" fmla="*/ 14 h 32"/>
                    <a:gd name="T86" fmla="*/ 2 w 23"/>
                    <a:gd name="T87" fmla="*/ 14 h 32"/>
                    <a:gd name="T88" fmla="*/ 2 w 23"/>
                    <a:gd name="T89" fmla="*/ 14 h 3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 h="32">
                      <a:moveTo>
                        <a:pt x="5" y="30"/>
                      </a:moveTo>
                      <a:lnTo>
                        <a:pt x="5" y="29"/>
                      </a:lnTo>
                      <a:lnTo>
                        <a:pt x="4" y="26"/>
                      </a:lnTo>
                      <a:lnTo>
                        <a:pt x="4" y="23"/>
                      </a:lnTo>
                      <a:lnTo>
                        <a:pt x="3" y="20"/>
                      </a:lnTo>
                      <a:lnTo>
                        <a:pt x="3" y="18"/>
                      </a:lnTo>
                      <a:lnTo>
                        <a:pt x="3" y="16"/>
                      </a:lnTo>
                      <a:lnTo>
                        <a:pt x="3" y="14"/>
                      </a:lnTo>
                      <a:lnTo>
                        <a:pt x="3" y="12"/>
                      </a:lnTo>
                      <a:lnTo>
                        <a:pt x="3" y="10"/>
                      </a:lnTo>
                      <a:lnTo>
                        <a:pt x="3" y="8"/>
                      </a:lnTo>
                      <a:lnTo>
                        <a:pt x="3" y="7"/>
                      </a:lnTo>
                      <a:lnTo>
                        <a:pt x="4" y="6"/>
                      </a:lnTo>
                      <a:lnTo>
                        <a:pt x="5" y="5"/>
                      </a:lnTo>
                      <a:lnTo>
                        <a:pt x="5" y="4"/>
                      </a:lnTo>
                      <a:lnTo>
                        <a:pt x="6" y="4"/>
                      </a:lnTo>
                      <a:lnTo>
                        <a:pt x="7" y="4"/>
                      </a:lnTo>
                      <a:lnTo>
                        <a:pt x="8" y="5"/>
                      </a:lnTo>
                      <a:lnTo>
                        <a:pt x="9" y="6"/>
                      </a:lnTo>
                      <a:lnTo>
                        <a:pt x="10" y="7"/>
                      </a:lnTo>
                      <a:lnTo>
                        <a:pt x="11" y="8"/>
                      </a:lnTo>
                      <a:lnTo>
                        <a:pt x="12" y="10"/>
                      </a:lnTo>
                      <a:lnTo>
                        <a:pt x="13" y="11"/>
                      </a:lnTo>
                      <a:lnTo>
                        <a:pt x="14" y="13"/>
                      </a:lnTo>
                      <a:lnTo>
                        <a:pt x="15" y="16"/>
                      </a:lnTo>
                      <a:lnTo>
                        <a:pt x="16" y="18"/>
                      </a:lnTo>
                      <a:lnTo>
                        <a:pt x="17" y="20"/>
                      </a:lnTo>
                      <a:lnTo>
                        <a:pt x="18" y="24"/>
                      </a:lnTo>
                      <a:lnTo>
                        <a:pt x="19" y="27"/>
                      </a:lnTo>
                      <a:lnTo>
                        <a:pt x="20" y="30"/>
                      </a:lnTo>
                      <a:lnTo>
                        <a:pt x="23" y="29"/>
                      </a:lnTo>
                      <a:lnTo>
                        <a:pt x="22" y="25"/>
                      </a:lnTo>
                      <a:lnTo>
                        <a:pt x="21" y="22"/>
                      </a:lnTo>
                      <a:lnTo>
                        <a:pt x="20" y="19"/>
                      </a:lnTo>
                      <a:lnTo>
                        <a:pt x="19" y="16"/>
                      </a:lnTo>
                      <a:lnTo>
                        <a:pt x="18" y="14"/>
                      </a:lnTo>
                      <a:lnTo>
                        <a:pt x="17" y="11"/>
                      </a:lnTo>
                      <a:lnTo>
                        <a:pt x="15" y="9"/>
                      </a:lnTo>
                      <a:lnTo>
                        <a:pt x="14" y="7"/>
                      </a:lnTo>
                      <a:lnTo>
                        <a:pt x="13" y="5"/>
                      </a:lnTo>
                      <a:lnTo>
                        <a:pt x="12" y="4"/>
                      </a:lnTo>
                      <a:lnTo>
                        <a:pt x="11" y="2"/>
                      </a:lnTo>
                      <a:lnTo>
                        <a:pt x="10" y="2"/>
                      </a:lnTo>
                      <a:lnTo>
                        <a:pt x="8" y="1"/>
                      </a:lnTo>
                      <a:lnTo>
                        <a:pt x="8" y="0"/>
                      </a:lnTo>
                      <a:lnTo>
                        <a:pt x="7" y="0"/>
                      </a:lnTo>
                      <a:lnTo>
                        <a:pt x="5" y="0"/>
                      </a:lnTo>
                      <a:lnTo>
                        <a:pt x="3" y="1"/>
                      </a:lnTo>
                      <a:lnTo>
                        <a:pt x="2" y="2"/>
                      </a:lnTo>
                      <a:lnTo>
                        <a:pt x="2" y="3"/>
                      </a:lnTo>
                      <a:lnTo>
                        <a:pt x="1" y="4"/>
                      </a:lnTo>
                      <a:lnTo>
                        <a:pt x="0" y="6"/>
                      </a:lnTo>
                      <a:lnTo>
                        <a:pt x="0" y="8"/>
                      </a:lnTo>
                      <a:lnTo>
                        <a:pt x="0" y="9"/>
                      </a:lnTo>
                      <a:lnTo>
                        <a:pt x="0" y="11"/>
                      </a:lnTo>
                      <a:lnTo>
                        <a:pt x="0" y="14"/>
                      </a:lnTo>
                      <a:lnTo>
                        <a:pt x="0" y="16"/>
                      </a:lnTo>
                      <a:lnTo>
                        <a:pt x="0" y="19"/>
                      </a:lnTo>
                      <a:lnTo>
                        <a:pt x="0" y="20"/>
                      </a:lnTo>
                      <a:lnTo>
                        <a:pt x="0" y="24"/>
                      </a:lnTo>
                      <a:lnTo>
                        <a:pt x="1" y="27"/>
                      </a:lnTo>
                      <a:lnTo>
                        <a:pt x="2" y="30"/>
                      </a:lnTo>
                      <a:lnTo>
                        <a:pt x="2" y="29"/>
                      </a:lnTo>
                      <a:lnTo>
                        <a:pt x="2" y="30"/>
                      </a:lnTo>
                      <a:lnTo>
                        <a:pt x="2" y="31"/>
                      </a:lnTo>
                      <a:lnTo>
                        <a:pt x="2" y="32"/>
                      </a:lnTo>
                      <a:lnTo>
                        <a:pt x="3" y="32"/>
                      </a:lnTo>
                      <a:lnTo>
                        <a:pt x="4" y="32"/>
                      </a:lnTo>
                      <a:lnTo>
                        <a:pt x="5" y="32"/>
                      </a:lnTo>
                      <a:lnTo>
                        <a:pt x="5" y="31"/>
                      </a:lnTo>
                      <a:lnTo>
                        <a:pt x="5" y="30"/>
                      </a:lnTo>
                      <a:lnTo>
                        <a:pt x="5" y="29"/>
                      </a:lnTo>
                      <a:lnTo>
                        <a:pt x="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7" name="Freeform 819">
                  <a:extLst>
                    <a:ext uri="{FF2B5EF4-FFF2-40B4-BE49-F238E27FC236}">
                      <a16:creationId xmlns:a16="http://schemas.microsoft.com/office/drawing/2014/main" id="{3E2A1237-C031-08C1-76B9-4EF111095127}"/>
                    </a:ext>
                  </a:extLst>
                </p:cNvPr>
                <p:cNvSpPr>
                  <a:spLocks/>
                </p:cNvSpPr>
                <p:nvPr/>
              </p:nvSpPr>
              <p:spPr bwMode="auto">
                <a:xfrm>
                  <a:off x="1038" y="2034"/>
                  <a:ext cx="28" cy="13"/>
                </a:xfrm>
                <a:custGeom>
                  <a:avLst/>
                  <a:gdLst>
                    <a:gd name="T0" fmla="*/ 1 w 41"/>
                    <a:gd name="T1" fmla="*/ 9 h 18"/>
                    <a:gd name="T2" fmla="*/ 1 w 41"/>
                    <a:gd name="T3" fmla="*/ 9 h 18"/>
                    <a:gd name="T4" fmla="*/ 3 w 41"/>
                    <a:gd name="T5" fmla="*/ 9 h 18"/>
                    <a:gd name="T6" fmla="*/ 3 w 41"/>
                    <a:gd name="T7" fmla="*/ 9 h 18"/>
                    <a:gd name="T8" fmla="*/ 5 w 41"/>
                    <a:gd name="T9" fmla="*/ 9 h 18"/>
                    <a:gd name="T10" fmla="*/ 7 w 41"/>
                    <a:gd name="T11" fmla="*/ 9 h 18"/>
                    <a:gd name="T12" fmla="*/ 8 w 41"/>
                    <a:gd name="T13" fmla="*/ 9 h 18"/>
                    <a:gd name="T14" fmla="*/ 10 w 41"/>
                    <a:gd name="T15" fmla="*/ 9 h 18"/>
                    <a:gd name="T16" fmla="*/ 11 w 41"/>
                    <a:gd name="T17" fmla="*/ 9 h 18"/>
                    <a:gd name="T18" fmla="*/ 12 w 41"/>
                    <a:gd name="T19" fmla="*/ 8 h 18"/>
                    <a:gd name="T20" fmla="*/ 14 w 41"/>
                    <a:gd name="T21" fmla="*/ 7 h 18"/>
                    <a:gd name="T22" fmla="*/ 15 w 41"/>
                    <a:gd name="T23" fmla="*/ 7 h 18"/>
                    <a:gd name="T24" fmla="*/ 16 w 41"/>
                    <a:gd name="T25" fmla="*/ 6 h 18"/>
                    <a:gd name="T26" fmla="*/ 17 w 41"/>
                    <a:gd name="T27" fmla="*/ 5 h 18"/>
                    <a:gd name="T28" fmla="*/ 18 w 41"/>
                    <a:gd name="T29" fmla="*/ 4 h 18"/>
                    <a:gd name="T30" fmla="*/ 18 w 41"/>
                    <a:gd name="T31" fmla="*/ 2 h 18"/>
                    <a:gd name="T32" fmla="*/ 19 w 41"/>
                    <a:gd name="T33" fmla="*/ 1 h 18"/>
                    <a:gd name="T34" fmla="*/ 18 w 41"/>
                    <a:gd name="T35" fmla="*/ 1 h 18"/>
                    <a:gd name="T36" fmla="*/ 17 w 41"/>
                    <a:gd name="T37" fmla="*/ 1 h 18"/>
                    <a:gd name="T38" fmla="*/ 16 w 41"/>
                    <a:gd name="T39" fmla="*/ 2 h 18"/>
                    <a:gd name="T40" fmla="*/ 16 w 41"/>
                    <a:gd name="T41" fmla="*/ 3 h 18"/>
                    <a:gd name="T42" fmla="*/ 15 w 41"/>
                    <a:gd name="T43" fmla="*/ 4 h 18"/>
                    <a:gd name="T44" fmla="*/ 14 w 41"/>
                    <a:gd name="T45" fmla="*/ 5 h 18"/>
                    <a:gd name="T46" fmla="*/ 12 w 41"/>
                    <a:gd name="T47" fmla="*/ 5 h 18"/>
                    <a:gd name="T48" fmla="*/ 11 w 41"/>
                    <a:gd name="T49" fmla="*/ 6 h 18"/>
                    <a:gd name="T50" fmla="*/ 10 w 41"/>
                    <a:gd name="T51" fmla="*/ 7 h 18"/>
                    <a:gd name="T52" fmla="*/ 8 w 41"/>
                    <a:gd name="T53" fmla="*/ 7 h 18"/>
                    <a:gd name="T54" fmla="*/ 7 w 41"/>
                    <a:gd name="T55" fmla="*/ 7 h 18"/>
                    <a:gd name="T56" fmla="*/ 6 w 41"/>
                    <a:gd name="T57" fmla="*/ 7 h 18"/>
                    <a:gd name="T58" fmla="*/ 5 w 41"/>
                    <a:gd name="T59" fmla="*/ 7 h 18"/>
                    <a:gd name="T60" fmla="*/ 3 w 41"/>
                    <a:gd name="T61" fmla="*/ 7 h 18"/>
                    <a:gd name="T62" fmla="*/ 2 w 41"/>
                    <a:gd name="T63" fmla="*/ 7 h 18"/>
                    <a:gd name="T64" fmla="*/ 1 w 41"/>
                    <a:gd name="T65" fmla="*/ 7 h 18"/>
                    <a:gd name="T66" fmla="*/ 0 w 41"/>
                    <a:gd name="T67" fmla="*/ 8 h 18"/>
                    <a:gd name="T68" fmla="*/ 1 w 41"/>
                    <a:gd name="T69" fmla="*/ 7 h 18"/>
                    <a:gd name="T70" fmla="*/ 1 w 41"/>
                    <a:gd name="T71" fmla="*/ 7 h 18"/>
                    <a:gd name="T72" fmla="*/ 1 w 41"/>
                    <a:gd name="T73" fmla="*/ 7 h 18"/>
                    <a:gd name="T74" fmla="*/ 1 w 41"/>
                    <a:gd name="T75" fmla="*/ 7 h 18"/>
                    <a:gd name="T76" fmla="*/ 0 w 41"/>
                    <a:gd name="T77" fmla="*/ 7 h 18"/>
                    <a:gd name="T78" fmla="*/ 0 w 41"/>
                    <a:gd name="T79" fmla="*/ 7 h 18"/>
                    <a:gd name="T80" fmla="*/ 0 w 41"/>
                    <a:gd name="T81" fmla="*/ 8 h 18"/>
                    <a:gd name="T82" fmla="*/ 1 w 41"/>
                    <a:gd name="T83" fmla="*/ 9 h 18"/>
                    <a:gd name="T84" fmla="*/ 1 w 41"/>
                    <a:gd name="T85" fmla="*/ 7 h 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 h="18">
                      <a:moveTo>
                        <a:pt x="3" y="13"/>
                      </a:moveTo>
                      <a:lnTo>
                        <a:pt x="1" y="16"/>
                      </a:lnTo>
                      <a:lnTo>
                        <a:pt x="2" y="16"/>
                      </a:lnTo>
                      <a:lnTo>
                        <a:pt x="3" y="16"/>
                      </a:lnTo>
                      <a:lnTo>
                        <a:pt x="5" y="17"/>
                      </a:lnTo>
                      <a:lnTo>
                        <a:pt x="6" y="18"/>
                      </a:lnTo>
                      <a:lnTo>
                        <a:pt x="7" y="18"/>
                      </a:lnTo>
                      <a:lnTo>
                        <a:pt x="8" y="18"/>
                      </a:lnTo>
                      <a:lnTo>
                        <a:pt x="10" y="18"/>
                      </a:lnTo>
                      <a:lnTo>
                        <a:pt x="11" y="18"/>
                      </a:lnTo>
                      <a:lnTo>
                        <a:pt x="13" y="18"/>
                      </a:lnTo>
                      <a:lnTo>
                        <a:pt x="14" y="18"/>
                      </a:lnTo>
                      <a:lnTo>
                        <a:pt x="15" y="18"/>
                      </a:lnTo>
                      <a:lnTo>
                        <a:pt x="17" y="17"/>
                      </a:lnTo>
                      <a:lnTo>
                        <a:pt x="19" y="16"/>
                      </a:lnTo>
                      <a:lnTo>
                        <a:pt x="20" y="16"/>
                      </a:lnTo>
                      <a:lnTo>
                        <a:pt x="21" y="16"/>
                      </a:lnTo>
                      <a:lnTo>
                        <a:pt x="23" y="16"/>
                      </a:lnTo>
                      <a:lnTo>
                        <a:pt x="24" y="15"/>
                      </a:lnTo>
                      <a:lnTo>
                        <a:pt x="25" y="15"/>
                      </a:lnTo>
                      <a:lnTo>
                        <a:pt x="27" y="14"/>
                      </a:lnTo>
                      <a:lnTo>
                        <a:pt x="29" y="14"/>
                      </a:lnTo>
                      <a:lnTo>
                        <a:pt x="30" y="13"/>
                      </a:lnTo>
                      <a:lnTo>
                        <a:pt x="32" y="12"/>
                      </a:lnTo>
                      <a:lnTo>
                        <a:pt x="33" y="11"/>
                      </a:lnTo>
                      <a:lnTo>
                        <a:pt x="34" y="11"/>
                      </a:lnTo>
                      <a:lnTo>
                        <a:pt x="35" y="9"/>
                      </a:lnTo>
                      <a:lnTo>
                        <a:pt x="36" y="9"/>
                      </a:lnTo>
                      <a:lnTo>
                        <a:pt x="37" y="8"/>
                      </a:lnTo>
                      <a:lnTo>
                        <a:pt x="38" y="7"/>
                      </a:lnTo>
                      <a:lnTo>
                        <a:pt x="39" y="6"/>
                      </a:lnTo>
                      <a:lnTo>
                        <a:pt x="40" y="4"/>
                      </a:lnTo>
                      <a:lnTo>
                        <a:pt x="41" y="2"/>
                      </a:lnTo>
                      <a:lnTo>
                        <a:pt x="38" y="0"/>
                      </a:lnTo>
                      <a:lnTo>
                        <a:pt x="38" y="1"/>
                      </a:lnTo>
                      <a:lnTo>
                        <a:pt x="37" y="2"/>
                      </a:lnTo>
                      <a:lnTo>
                        <a:pt x="37" y="3"/>
                      </a:lnTo>
                      <a:lnTo>
                        <a:pt x="36" y="4"/>
                      </a:lnTo>
                      <a:lnTo>
                        <a:pt x="35" y="4"/>
                      </a:lnTo>
                      <a:lnTo>
                        <a:pt x="34" y="6"/>
                      </a:lnTo>
                      <a:lnTo>
                        <a:pt x="33" y="6"/>
                      </a:lnTo>
                      <a:lnTo>
                        <a:pt x="32" y="7"/>
                      </a:lnTo>
                      <a:lnTo>
                        <a:pt x="32" y="8"/>
                      </a:lnTo>
                      <a:lnTo>
                        <a:pt x="30" y="8"/>
                      </a:lnTo>
                      <a:lnTo>
                        <a:pt x="29" y="9"/>
                      </a:lnTo>
                      <a:lnTo>
                        <a:pt x="27" y="9"/>
                      </a:lnTo>
                      <a:lnTo>
                        <a:pt x="26" y="10"/>
                      </a:lnTo>
                      <a:lnTo>
                        <a:pt x="25" y="11"/>
                      </a:lnTo>
                      <a:lnTo>
                        <a:pt x="23" y="11"/>
                      </a:lnTo>
                      <a:lnTo>
                        <a:pt x="22" y="12"/>
                      </a:lnTo>
                      <a:lnTo>
                        <a:pt x="21" y="12"/>
                      </a:lnTo>
                      <a:lnTo>
                        <a:pt x="19" y="13"/>
                      </a:lnTo>
                      <a:lnTo>
                        <a:pt x="18" y="13"/>
                      </a:lnTo>
                      <a:lnTo>
                        <a:pt x="17" y="13"/>
                      </a:lnTo>
                      <a:lnTo>
                        <a:pt x="15" y="14"/>
                      </a:lnTo>
                      <a:lnTo>
                        <a:pt x="14" y="14"/>
                      </a:lnTo>
                      <a:lnTo>
                        <a:pt x="13" y="14"/>
                      </a:lnTo>
                      <a:lnTo>
                        <a:pt x="11" y="14"/>
                      </a:lnTo>
                      <a:lnTo>
                        <a:pt x="10" y="14"/>
                      </a:lnTo>
                      <a:lnTo>
                        <a:pt x="8" y="14"/>
                      </a:lnTo>
                      <a:lnTo>
                        <a:pt x="7" y="14"/>
                      </a:lnTo>
                      <a:lnTo>
                        <a:pt x="6" y="14"/>
                      </a:lnTo>
                      <a:lnTo>
                        <a:pt x="5" y="13"/>
                      </a:lnTo>
                      <a:lnTo>
                        <a:pt x="4" y="13"/>
                      </a:lnTo>
                      <a:lnTo>
                        <a:pt x="3" y="13"/>
                      </a:lnTo>
                      <a:lnTo>
                        <a:pt x="3" y="12"/>
                      </a:lnTo>
                      <a:lnTo>
                        <a:pt x="0" y="15"/>
                      </a:lnTo>
                      <a:lnTo>
                        <a:pt x="3" y="12"/>
                      </a:lnTo>
                      <a:lnTo>
                        <a:pt x="2" y="12"/>
                      </a:lnTo>
                      <a:lnTo>
                        <a:pt x="1" y="12"/>
                      </a:lnTo>
                      <a:lnTo>
                        <a:pt x="1" y="13"/>
                      </a:lnTo>
                      <a:lnTo>
                        <a:pt x="0" y="13"/>
                      </a:lnTo>
                      <a:lnTo>
                        <a:pt x="0" y="14"/>
                      </a:lnTo>
                      <a:lnTo>
                        <a:pt x="0" y="15"/>
                      </a:lnTo>
                      <a:lnTo>
                        <a:pt x="1" y="16"/>
                      </a:lnTo>
                      <a:lnTo>
                        <a:pt x="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8" name="Freeform 820">
                  <a:extLst>
                    <a:ext uri="{FF2B5EF4-FFF2-40B4-BE49-F238E27FC236}">
                      <a16:creationId xmlns:a16="http://schemas.microsoft.com/office/drawing/2014/main" id="{F39218E4-C30F-6E7B-E032-C836AFAD0731}"/>
                    </a:ext>
                  </a:extLst>
                </p:cNvPr>
                <p:cNvSpPr>
                  <a:spLocks/>
                </p:cNvSpPr>
                <p:nvPr/>
              </p:nvSpPr>
              <p:spPr bwMode="auto">
                <a:xfrm>
                  <a:off x="1038" y="2044"/>
                  <a:ext cx="18" cy="28"/>
                </a:xfrm>
                <a:custGeom>
                  <a:avLst/>
                  <a:gdLst>
                    <a:gd name="T0" fmla="*/ 10 w 26"/>
                    <a:gd name="T1" fmla="*/ 18 h 38"/>
                    <a:gd name="T2" fmla="*/ 12 w 26"/>
                    <a:gd name="T3" fmla="*/ 15 h 38"/>
                    <a:gd name="T4" fmla="*/ 12 w 26"/>
                    <a:gd name="T5" fmla="*/ 13 h 38"/>
                    <a:gd name="T6" fmla="*/ 12 w 26"/>
                    <a:gd name="T7" fmla="*/ 11 h 38"/>
                    <a:gd name="T8" fmla="*/ 12 w 26"/>
                    <a:gd name="T9" fmla="*/ 10 h 38"/>
                    <a:gd name="T10" fmla="*/ 12 w 26"/>
                    <a:gd name="T11" fmla="*/ 10 h 38"/>
                    <a:gd name="T12" fmla="*/ 11 w 26"/>
                    <a:gd name="T13" fmla="*/ 8 h 38"/>
                    <a:gd name="T14" fmla="*/ 10 w 26"/>
                    <a:gd name="T15" fmla="*/ 7 h 38"/>
                    <a:gd name="T16" fmla="*/ 9 w 26"/>
                    <a:gd name="T17" fmla="*/ 7 h 38"/>
                    <a:gd name="T18" fmla="*/ 8 w 26"/>
                    <a:gd name="T19" fmla="*/ 6 h 38"/>
                    <a:gd name="T20" fmla="*/ 7 w 26"/>
                    <a:gd name="T21" fmla="*/ 5 h 38"/>
                    <a:gd name="T22" fmla="*/ 6 w 26"/>
                    <a:gd name="T23" fmla="*/ 5 h 38"/>
                    <a:gd name="T24" fmla="*/ 5 w 26"/>
                    <a:gd name="T25" fmla="*/ 4 h 38"/>
                    <a:gd name="T26" fmla="*/ 4 w 26"/>
                    <a:gd name="T27" fmla="*/ 3 h 38"/>
                    <a:gd name="T28" fmla="*/ 3 w 26"/>
                    <a:gd name="T29" fmla="*/ 2 h 38"/>
                    <a:gd name="T30" fmla="*/ 2 w 26"/>
                    <a:gd name="T31" fmla="*/ 1 h 38"/>
                    <a:gd name="T32" fmla="*/ 0 w 26"/>
                    <a:gd name="T33" fmla="*/ 1 h 38"/>
                    <a:gd name="T34" fmla="*/ 1 w 26"/>
                    <a:gd name="T35" fmla="*/ 3 h 38"/>
                    <a:gd name="T36" fmla="*/ 2 w 26"/>
                    <a:gd name="T37" fmla="*/ 4 h 38"/>
                    <a:gd name="T38" fmla="*/ 3 w 26"/>
                    <a:gd name="T39" fmla="*/ 5 h 38"/>
                    <a:gd name="T40" fmla="*/ 4 w 26"/>
                    <a:gd name="T41" fmla="*/ 7 h 38"/>
                    <a:gd name="T42" fmla="*/ 6 w 26"/>
                    <a:gd name="T43" fmla="*/ 7 h 38"/>
                    <a:gd name="T44" fmla="*/ 7 w 26"/>
                    <a:gd name="T45" fmla="*/ 8 h 38"/>
                    <a:gd name="T46" fmla="*/ 8 w 26"/>
                    <a:gd name="T47" fmla="*/ 8 h 38"/>
                    <a:gd name="T48" fmla="*/ 9 w 26"/>
                    <a:gd name="T49" fmla="*/ 10 h 38"/>
                    <a:gd name="T50" fmla="*/ 10 w 26"/>
                    <a:gd name="T51" fmla="*/ 10 h 38"/>
                    <a:gd name="T52" fmla="*/ 10 w 26"/>
                    <a:gd name="T53" fmla="*/ 10 h 38"/>
                    <a:gd name="T54" fmla="*/ 10 w 26"/>
                    <a:gd name="T55" fmla="*/ 10 h 38"/>
                    <a:gd name="T56" fmla="*/ 11 w 26"/>
                    <a:gd name="T57" fmla="*/ 11 h 38"/>
                    <a:gd name="T58" fmla="*/ 11 w 26"/>
                    <a:gd name="T59" fmla="*/ 13 h 38"/>
                    <a:gd name="T60" fmla="*/ 10 w 26"/>
                    <a:gd name="T61" fmla="*/ 14 h 38"/>
                    <a:gd name="T62" fmla="*/ 10 w 26"/>
                    <a:gd name="T63" fmla="*/ 16 h 38"/>
                    <a:gd name="T64" fmla="*/ 8 w 26"/>
                    <a:gd name="T65" fmla="*/ 19 h 38"/>
                    <a:gd name="T66" fmla="*/ 8 w 26"/>
                    <a:gd name="T67" fmla="*/ 20 h 38"/>
                    <a:gd name="T68" fmla="*/ 8 w 26"/>
                    <a:gd name="T69" fmla="*/ 20 h 38"/>
                    <a:gd name="T70" fmla="*/ 9 w 26"/>
                    <a:gd name="T71" fmla="*/ 20 h 38"/>
                    <a:gd name="T72" fmla="*/ 9 w 26"/>
                    <a:gd name="T73" fmla="*/ 20 h 38"/>
                    <a:gd name="T74" fmla="*/ 10 w 26"/>
                    <a:gd name="T75" fmla="*/ 21 h 38"/>
                    <a:gd name="T76" fmla="*/ 10 w 26"/>
                    <a:gd name="T77" fmla="*/ 20 h 38"/>
                    <a:gd name="T78" fmla="*/ 10 w 26"/>
                    <a:gd name="T79" fmla="*/ 2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 h="38">
                      <a:moveTo>
                        <a:pt x="21" y="37"/>
                      </a:moveTo>
                      <a:lnTo>
                        <a:pt x="22" y="34"/>
                      </a:lnTo>
                      <a:lnTo>
                        <a:pt x="23" y="31"/>
                      </a:lnTo>
                      <a:lnTo>
                        <a:pt x="25" y="29"/>
                      </a:lnTo>
                      <a:lnTo>
                        <a:pt x="25" y="27"/>
                      </a:lnTo>
                      <a:lnTo>
                        <a:pt x="26" y="25"/>
                      </a:lnTo>
                      <a:lnTo>
                        <a:pt x="26" y="23"/>
                      </a:lnTo>
                      <a:lnTo>
                        <a:pt x="26" y="21"/>
                      </a:lnTo>
                      <a:lnTo>
                        <a:pt x="26" y="20"/>
                      </a:lnTo>
                      <a:lnTo>
                        <a:pt x="26" y="19"/>
                      </a:lnTo>
                      <a:lnTo>
                        <a:pt x="25" y="17"/>
                      </a:lnTo>
                      <a:lnTo>
                        <a:pt x="24" y="15"/>
                      </a:lnTo>
                      <a:lnTo>
                        <a:pt x="23" y="15"/>
                      </a:lnTo>
                      <a:lnTo>
                        <a:pt x="22" y="14"/>
                      </a:lnTo>
                      <a:lnTo>
                        <a:pt x="21" y="13"/>
                      </a:lnTo>
                      <a:lnTo>
                        <a:pt x="20" y="13"/>
                      </a:lnTo>
                      <a:lnTo>
                        <a:pt x="19" y="12"/>
                      </a:lnTo>
                      <a:lnTo>
                        <a:pt x="17" y="12"/>
                      </a:lnTo>
                      <a:lnTo>
                        <a:pt x="17" y="11"/>
                      </a:lnTo>
                      <a:lnTo>
                        <a:pt x="15" y="11"/>
                      </a:lnTo>
                      <a:lnTo>
                        <a:pt x="14" y="10"/>
                      </a:lnTo>
                      <a:lnTo>
                        <a:pt x="13" y="9"/>
                      </a:lnTo>
                      <a:lnTo>
                        <a:pt x="12" y="9"/>
                      </a:lnTo>
                      <a:lnTo>
                        <a:pt x="11" y="9"/>
                      </a:lnTo>
                      <a:lnTo>
                        <a:pt x="10" y="8"/>
                      </a:lnTo>
                      <a:lnTo>
                        <a:pt x="8" y="7"/>
                      </a:lnTo>
                      <a:lnTo>
                        <a:pt x="8" y="6"/>
                      </a:lnTo>
                      <a:lnTo>
                        <a:pt x="7" y="5"/>
                      </a:lnTo>
                      <a:lnTo>
                        <a:pt x="6" y="4"/>
                      </a:lnTo>
                      <a:lnTo>
                        <a:pt x="5" y="3"/>
                      </a:lnTo>
                      <a:lnTo>
                        <a:pt x="4" y="1"/>
                      </a:lnTo>
                      <a:lnTo>
                        <a:pt x="3" y="0"/>
                      </a:lnTo>
                      <a:lnTo>
                        <a:pt x="0" y="2"/>
                      </a:lnTo>
                      <a:lnTo>
                        <a:pt x="1" y="4"/>
                      </a:lnTo>
                      <a:lnTo>
                        <a:pt x="2" y="5"/>
                      </a:lnTo>
                      <a:lnTo>
                        <a:pt x="3" y="7"/>
                      </a:lnTo>
                      <a:lnTo>
                        <a:pt x="4" y="8"/>
                      </a:lnTo>
                      <a:lnTo>
                        <a:pt x="6" y="9"/>
                      </a:lnTo>
                      <a:lnTo>
                        <a:pt x="7" y="10"/>
                      </a:lnTo>
                      <a:lnTo>
                        <a:pt x="8" y="11"/>
                      </a:lnTo>
                      <a:lnTo>
                        <a:pt x="9" y="12"/>
                      </a:lnTo>
                      <a:lnTo>
                        <a:pt x="11" y="13"/>
                      </a:lnTo>
                      <a:lnTo>
                        <a:pt x="12" y="14"/>
                      </a:lnTo>
                      <a:lnTo>
                        <a:pt x="13" y="14"/>
                      </a:lnTo>
                      <a:lnTo>
                        <a:pt x="14" y="15"/>
                      </a:lnTo>
                      <a:lnTo>
                        <a:pt x="15" y="15"/>
                      </a:lnTo>
                      <a:lnTo>
                        <a:pt x="17" y="15"/>
                      </a:lnTo>
                      <a:lnTo>
                        <a:pt x="18" y="16"/>
                      </a:lnTo>
                      <a:lnTo>
                        <a:pt x="19" y="17"/>
                      </a:lnTo>
                      <a:lnTo>
                        <a:pt x="20" y="17"/>
                      </a:lnTo>
                      <a:lnTo>
                        <a:pt x="21" y="18"/>
                      </a:lnTo>
                      <a:lnTo>
                        <a:pt x="22" y="19"/>
                      </a:lnTo>
                      <a:lnTo>
                        <a:pt x="22" y="20"/>
                      </a:lnTo>
                      <a:lnTo>
                        <a:pt x="23" y="21"/>
                      </a:lnTo>
                      <a:lnTo>
                        <a:pt x="23" y="23"/>
                      </a:lnTo>
                      <a:lnTo>
                        <a:pt x="22" y="24"/>
                      </a:lnTo>
                      <a:lnTo>
                        <a:pt x="22" y="26"/>
                      </a:lnTo>
                      <a:lnTo>
                        <a:pt x="22" y="27"/>
                      </a:lnTo>
                      <a:lnTo>
                        <a:pt x="21" y="30"/>
                      </a:lnTo>
                      <a:lnTo>
                        <a:pt x="20" y="32"/>
                      </a:lnTo>
                      <a:lnTo>
                        <a:pt x="18" y="35"/>
                      </a:lnTo>
                      <a:lnTo>
                        <a:pt x="18" y="36"/>
                      </a:lnTo>
                      <a:lnTo>
                        <a:pt x="18" y="37"/>
                      </a:lnTo>
                      <a:lnTo>
                        <a:pt x="19" y="37"/>
                      </a:lnTo>
                      <a:lnTo>
                        <a:pt x="20" y="37"/>
                      </a:lnTo>
                      <a:lnTo>
                        <a:pt x="20" y="38"/>
                      </a:lnTo>
                      <a:lnTo>
                        <a:pt x="20" y="37"/>
                      </a:lnTo>
                      <a:lnTo>
                        <a:pt x="21"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29" name="Freeform 821">
                  <a:extLst>
                    <a:ext uri="{FF2B5EF4-FFF2-40B4-BE49-F238E27FC236}">
                      <a16:creationId xmlns:a16="http://schemas.microsoft.com/office/drawing/2014/main" id="{5AC1A1B1-6371-34AF-4DC1-D350D9DE522C}"/>
                    </a:ext>
                  </a:extLst>
                </p:cNvPr>
                <p:cNvSpPr>
                  <a:spLocks/>
                </p:cNvSpPr>
                <p:nvPr/>
              </p:nvSpPr>
              <p:spPr bwMode="auto">
                <a:xfrm>
                  <a:off x="1017" y="2051"/>
                  <a:ext cx="35" cy="27"/>
                </a:xfrm>
                <a:custGeom>
                  <a:avLst/>
                  <a:gdLst>
                    <a:gd name="T0" fmla="*/ 1 w 50"/>
                    <a:gd name="T1" fmla="*/ 2 h 38"/>
                    <a:gd name="T2" fmla="*/ 2 w 50"/>
                    <a:gd name="T3" fmla="*/ 2 h 38"/>
                    <a:gd name="T4" fmla="*/ 3 w 50"/>
                    <a:gd name="T5" fmla="*/ 3 h 38"/>
                    <a:gd name="T6" fmla="*/ 4 w 50"/>
                    <a:gd name="T7" fmla="*/ 4 h 38"/>
                    <a:gd name="T8" fmla="*/ 6 w 50"/>
                    <a:gd name="T9" fmla="*/ 6 h 38"/>
                    <a:gd name="T10" fmla="*/ 7 w 50"/>
                    <a:gd name="T11" fmla="*/ 8 h 38"/>
                    <a:gd name="T12" fmla="*/ 8 w 50"/>
                    <a:gd name="T13" fmla="*/ 9 h 38"/>
                    <a:gd name="T14" fmla="*/ 10 w 50"/>
                    <a:gd name="T15" fmla="*/ 11 h 38"/>
                    <a:gd name="T16" fmla="*/ 11 w 50"/>
                    <a:gd name="T17" fmla="*/ 14 h 38"/>
                    <a:gd name="T18" fmla="*/ 13 w 50"/>
                    <a:gd name="T19" fmla="*/ 16 h 38"/>
                    <a:gd name="T20" fmla="*/ 14 w 50"/>
                    <a:gd name="T21" fmla="*/ 17 h 38"/>
                    <a:gd name="T22" fmla="*/ 15 w 50"/>
                    <a:gd name="T23" fmla="*/ 18 h 38"/>
                    <a:gd name="T24" fmla="*/ 18 w 50"/>
                    <a:gd name="T25" fmla="*/ 19 h 38"/>
                    <a:gd name="T26" fmla="*/ 19 w 50"/>
                    <a:gd name="T27" fmla="*/ 19 h 38"/>
                    <a:gd name="T28" fmla="*/ 20 w 50"/>
                    <a:gd name="T29" fmla="*/ 18 h 38"/>
                    <a:gd name="T30" fmla="*/ 22 w 50"/>
                    <a:gd name="T31" fmla="*/ 16 h 38"/>
                    <a:gd name="T32" fmla="*/ 25 w 50"/>
                    <a:gd name="T33" fmla="*/ 14 h 38"/>
                    <a:gd name="T34" fmla="*/ 22 w 50"/>
                    <a:gd name="T35" fmla="*/ 14 h 38"/>
                    <a:gd name="T36" fmla="*/ 20 w 50"/>
                    <a:gd name="T37" fmla="*/ 16 h 38"/>
                    <a:gd name="T38" fmla="*/ 20 w 50"/>
                    <a:gd name="T39" fmla="*/ 16 h 38"/>
                    <a:gd name="T40" fmla="*/ 18 w 50"/>
                    <a:gd name="T41" fmla="*/ 17 h 38"/>
                    <a:gd name="T42" fmla="*/ 18 w 50"/>
                    <a:gd name="T43" fmla="*/ 16 h 38"/>
                    <a:gd name="T44" fmla="*/ 15 w 50"/>
                    <a:gd name="T45" fmla="*/ 16 h 38"/>
                    <a:gd name="T46" fmla="*/ 14 w 50"/>
                    <a:gd name="T47" fmla="*/ 15 h 38"/>
                    <a:gd name="T48" fmla="*/ 13 w 50"/>
                    <a:gd name="T49" fmla="*/ 13 h 38"/>
                    <a:gd name="T50" fmla="*/ 11 w 50"/>
                    <a:gd name="T51" fmla="*/ 11 h 38"/>
                    <a:gd name="T52" fmla="*/ 10 w 50"/>
                    <a:gd name="T53" fmla="*/ 9 h 38"/>
                    <a:gd name="T54" fmla="*/ 9 w 50"/>
                    <a:gd name="T55" fmla="*/ 7 h 38"/>
                    <a:gd name="T56" fmla="*/ 8 w 50"/>
                    <a:gd name="T57" fmla="*/ 5 h 38"/>
                    <a:gd name="T58" fmla="*/ 6 w 50"/>
                    <a:gd name="T59" fmla="*/ 4 h 38"/>
                    <a:gd name="T60" fmla="*/ 4 w 50"/>
                    <a:gd name="T61" fmla="*/ 2 h 38"/>
                    <a:gd name="T62" fmla="*/ 3 w 50"/>
                    <a:gd name="T63" fmla="*/ 1 h 38"/>
                    <a:gd name="T64" fmla="*/ 1 w 50"/>
                    <a:gd name="T65" fmla="*/ 0 h 38"/>
                    <a:gd name="T66" fmla="*/ 0 w 50"/>
                    <a:gd name="T67" fmla="*/ 1 h 38"/>
                    <a:gd name="T68" fmla="*/ 1 w 50"/>
                    <a:gd name="T69" fmla="*/ 0 h 38"/>
                    <a:gd name="T70" fmla="*/ 1 w 50"/>
                    <a:gd name="T71" fmla="*/ 0 h 38"/>
                    <a:gd name="T72" fmla="*/ 1 w 50"/>
                    <a:gd name="T73" fmla="*/ 0 h 38"/>
                    <a:gd name="T74" fmla="*/ 0 w 50"/>
                    <a:gd name="T75" fmla="*/ 1 h 38"/>
                    <a:gd name="T76" fmla="*/ 0 w 50"/>
                    <a:gd name="T77" fmla="*/ 1 h 38"/>
                    <a:gd name="T78" fmla="*/ 0 w 50"/>
                    <a:gd name="T79" fmla="*/ 1 h 38"/>
                    <a:gd name="T80" fmla="*/ 0 w 50"/>
                    <a:gd name="T81" fmla="*/ 1 h 38"/>
                    <a:gd name="T82" fmla="*/ 1 w 50"/>
                    <a:gd name="T83" fmla="*/ 2 h 38"/>
                    <a:gd name="T84" fmla="*/ 1 w 50"/>
                    <a:gd name="T85" fmla="*/ 2 h 38"/>
                    <a:gd name="T86" fmla="*/ 1 w 50"/>
                    <a:gd name="T87" fmla="*/ 2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 h="38">
                      <a:moveTo>
                        <a:pt x="3" y="1"/>
                      </a:moveTo>
                      <a:lnTo>
                        <a:pt x="2" y="4"/>
                      </a:lnTo>
                      <a:lnTo>
                        <a:pt x="3" y="4"/>
                      </a:lnTo>
                      <a:lnTo>
                        <a:pt x="4" y="4"/>
                      </a:lnTo>
                      <a:lnTo>
                        <a:pt x="5" y="5"/>
                      </a:lnTo>
                      <a:lnTo>
                        <a:pt x="6" y="6"/>
                      </a:lnTo>
                      <a:lnTo>
                        <a:pt x="7" y="7"/>
                      </a:lnTo>
                      <a:lnTo>
                        <a:pt x="9" y="8"/>
                      </a:lnTo>
                      <a:lnTo>
                        <a:pt x="10" y="10"/>
                      </a:lnTo>
                      <a:lnTo>
                        <a:pt x="11" y="11"/>
                      </a:lnTo>
                      <a:lnTo>
                        <a:pt x="13" y="13"/>
                      </a:lnTo>
                      <a:lnTo>
                        <a:pt x="14" y="15"/>
                      </a:lnTo>
                      <a:lnTo>
                        <a:pt x="15" y="17"/>
                      </a:lnTo>
                      <a:lnTo>
                        <a:pt x="17" y="18"/>
                      </a:lnTo>
                      <a:lnTo>
                        <a:pt x="18" y="21"/>
                      </a:lnTo>
                      <a:lnTo>
                        <a:pt x="20" y="23"/>
                      </a:lnTo>
                      <a:lnTo>
                        <a:pt x="21" y="25"/>
                      </a:lnTo>
                      <a:lnTo>
                        <a:pt x="23" y="27"/>
                      </a:lnTo>
                      <a:lnTo>
                        <a:pt x="24" y="28"/>
                      </a:lnTo>
                      <a:lnTo>
                        <a:pt x="26" y="31"/>
                      </a:lnTo>
                      <a:lnTo>
                        <a:pt x="27" y="32"/>
                      </a:lnTo>
                      <a:lnTo>
                        <a:pt x="29" y="34"/>
                      </a:lnTo>
                      <a:lnTo>
                        <a:pt x="30" y="35"/>
                      </a:lnTo>
                      <a:lnTo>
                        <a:pt x="32" y="36"/>
                      </a:lnTo>
                      <a:lnTo>
                        <a:pt x="34" y="37"/>
                      </a:lnTo>
                      <a:lnTo>
                        <a:pt x="36" y="38"/>
                      </a:lnTo>
                      <a:lnTo>
                        <a:pt x="37" y="38"/>
                      </a:lnTo>
                      <a:lnTo>
                        <a:pt x="39" y="38"/>
                      </a:lnTo>
                      <a:lnTo>
                        <a:pt x="41" y="37"/>
                      </a:lnTo>
                      <a:lnTo>
                        <a:pt x="42" y="36"/>
                      </a:lnTo>
                      <a:lnTo>
                        <a:pt x="44" y="34"/>
                      </a:lnTo>
                      <a:lnTo>
                        <a:pt x="46" y="33"/>
                      </a:lnTo>
                      <a:lnTo>
                        <a:pt x="48" y="30"/>
                      </a:lnTo>
                      <a:lnTo>
                        <a:pt x="50" y="28"/>
                      </a:lnTo>
                      <a:lnTo>
                        <a:pt x="47" y="25"/>
                      </a:lnTo>
                      <a:lnTo>
                        <a:pt x="45" y="28"/>
                      </a:lnTo>
                      <a:lnTo>
                        <a:pt x="44" y="30"/>
                      </a:lnTo>
                      <a:lnTo>
                        <a:pt x="42" y="31"/>
                      </a:lnTo>
                      <a:lnTo>
                        <a:pt x="41" y="32"/>
                      </a:lnTo>
                      <a:lnTo>
                        <a:pt x="40" y="33"/>
                      </a:lnTo>
                      <a:lnTo>
                        <a:pt x="38" y="34"/>
                      </a:lnTo>
                      <a:lnTo>
                        <a:pt x="37" y="34"/>
                      </a:lnTo>
                      <a:lnTo>
                        <a:pt x="36" y="34"/>
                      </a:lnTo>
                      <a:lnTo>
                        <a:pt x="35" y="33"/>
                      </a:lnTo>
                      <a:lnTo>
                        <a:pt x="33" y="32"/>
                      </a:lnTo>
                      <a:lnTo>
                        <a:pt x="32" y="32"/>
                      </a:lnTo>
                      <a:lnTo>
                        <a:pt x="31" y="30"/>
                      </a:lnTo>
                      <a:lnTo>
                        <a:pt x="29" y="29"/>
                      </a:lnTo>
                      <a:lnTo>
                        <a:pt x="28" y="28"/>
                      </a:lnTo>
                      <a:lnTo>
                        <a:pt x="26" y="26"/>
                      </a:lnTo>
                      <a:lnTo>
                        <a:pt x="25" y="24"/>
                      </a:lnTo>
                      <a:lnTo>
                        <a:pt x="23" y="22"/>
                      </a:lnTo>
                      <a:lnTo>
                        <a:pt x="22" y="20"/>
                      </a:lnTo>
                      <a:lnTo>
                        <a:pt x="20" y="18"/>
                      </a:lnTo>
                      <a:lnTo>
                        <a:pt x="19" y="16"/>
                      </a:lnTo>
                      <a:lnTo>
                        <a:pt x="18" y="14"/>
                      </a:lnTo>
                      <a:lnTo>
                        <a:pt x="16" y="12"/>
                      </a:lnTo>
                      <a:lnTo>
                        <a:pt x="15" y="10"/>
                      </a:lnTo>
                      <a:lnTo>
                        <a:pt x="13" y="8"/>
                      </a:lnTo>
                      <a:lnTo>
                        <a:pt x="12" y="7"/>
                      </a:lnTo>
                      <a:lnTo>
                        <a:pt x="11" y="5"/>
                      </a:lnTo>
                      <a:lnTo>
                        <a:pt x="9" y="4"/>
                      </a:lnTo>
                      <a:lnTo>
                        <a:pt x="8" y="2"/>
                      </a:lnTo>
                      <a:lnTo>
                        <a:pt x="6" y="1"/>
                      </a:lnTo>
                      <a:lnTo>
                        <a:pt x="5" y="0"/>
                      </a:lnTo>
                      <a:lnTo>
                        <a:pt x="3" y="0"/>
                      </a:lnTo>
                      <a:lnTo>
                        <a:pt x="2" y="0"/>
                      </a:lnTo>
                      <a:lnTo>
                        <a:pt x="0" y="2"/>
                      </a:lnTo>
                      <a:lnTo>
                        <a:pt x="2" y="0"/>
                      </a:lnTo>
                      <a:lnTo>
                        <a:pt x="1" y="0"/>
                      </a:lnTo>
                      <a:lnTo>
                        <a:pt x="0" y="0"/>
                      </a:lnTo>
                      <a:lnTo>
                        <a:pt x="0" y="1"/>
                      </a:lnTo>
                      <a:lnTo>
                        <a:pt x="0" y="2"/>
                      </a:lnTo>
                      <a:lnTo>
                        <a:pt x="0" y="3"/>
                      </a:lnTo>
                      <a:lnTo>
                        <a:pt x="1" y="3"/>
                      </a:lnTo>
                      <a:lnTo>
                        <a:pt x="1" y="4"/>
                      </a:lnTo>
                      <a:lnTo>
                        <a:pt x="2" y="4"/>
                      </a:lnTo>
                      <a:lnTo>
                        <a:pt x="3"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0" name="Freeform 822">
                  <a:extLst>
                    <a:ext uri="{FF2B5EF4-FFF2-40B4-BE49-F238E27FC236}">
                      <a16:creationId xmlns:a16="http://schemas.microsoft.com/office/drawing/2014/main" id="{68524E3D-EB0E-09CE-3051-14AB78FEF5C4}"/>
                    </a:ext>
                  </a:extLst>
                </p:cNvPr>
                <p:cNvSpPr>
                  <a:spLocks/>
                </p:cNvSpPr>
                <p:nvPr/>
              </p:nvSpPr>
              <p:spPr bwMode="auto">
                <a:xfrm>
                  <a:off x="1006" y="2051"/>
                  <a:ext cx="24" cy="34"/>
                </a:xfrm>
                <a:custGeom>
                  <a:avLst/>
                  <a:gdLst>
                    <a:gd name="T0" fmla="*/ 1 w 34"/>
                    <a:gd name="T1" fmla="*/ 20 h 47"/>
                    <a:gd name="T2" fmla="*/ 4 w 34"/>
                    <a:gd name="T3" fmla="*/ 22 h 47"/>
                    <a:gd name="T4" fmla="*/ 8 w 34"/>
                    <a:gd name="T5" fmla="*/ 22 h 47"/>
                    <a:gd name="T6" fmla="*/ 9 w 34"/>
                    <a:gd name="T7" fmla="*/ 24 h 47"/>
                    <a:gd name="T8" fmla="*/ 11 w 34"/>
                    <a:gd name="T9" fmla="*/ 24 h 47"/>
                    <a:gd name="T10" fmla="*/ 13 w 34"/>
                    <a:gd name="T11" fmla="*/ 25 h 47"/>
                    <a:gd name="T12" fmla="*/ 15 w 34"/>
                    <a:gd name="T13" fmla="*/ 25 h 47"/>
                    <a:gd name="T14" fmla="*/ 16 w 34"/>
                    <a:gd name="T15" fmla="*/ 25 h 47"/>
                    <a:gd name="T16" fmla="*/ 16 w 34"/>
                    <a:gd name="T17" fmla="*/ 24 h 47"/>
                    <a:gd name="T18" fmla="*/ 17 w 34"/>
                    <a:gd name="T19" fmla="*/ 22 h 47"/>
                    <a:gd name="T20" fmla="*/ 16 w 34"/>
                    <a:gd name="T21" fmla="*/ 20 h 47"/>
                    <a:gd name="T22" fmla="*/ 16 w 34"/>
                    <a:gd name="T23" fmla="*/ 18 h 47"/>
                    <a:gd name="T24" fmla="*/ 16 w 34"/>
                    <a:gd name="T25" fmla="*/ 16 h 47"/>
                    <a:gd name="T26" fmla="*/ 14 w 34"/>
                    <a:gd name="T27" fmla="*/ 12 h 47"/>
                    <a:gd name="T28" fmla="*/ 13 w 34"/>
                    <a:gd name="T29" fmla="*/ 9 h 47"/>
                    <a:gd name="T30" fmla="*/ 11 w 34"/>
                    <a:gd name="T31" fmla="*/ 5 h 47"/>
                    <a:gd name="T32" fmla="*/ 11 w 34"/>
                    <a:gd name="T33" fmla="*/ 0 h 47"/>
                    <a:gd name="T34" fmla="*/ 9 w 34"/>
                    <a:gd name="T35" fmla="*/ 3 h 47"/>
                    <a:gd name="T36" fmla="*/ 11 w 34"/>
                    <a:gd name="T37" fmla="*/ 9 h 47"/>
                    <a:gd name="T38" fmla="*/ 13 w 34"/>
                    <a:gd name="T39" fmla="*/ 12 h 47"/>
                    <a:gd name="T40" fmla="*/ 13 w 34"/>
                    <a:gd name="T41" fmla="*/ 15 h 47"/>
                    <a:gd name="T42" fmla="*/ 14 w 34"/>
                    <a:gd name="T43" fmla="*/ 18 h 47"/>
                    <a:gd name="T44" fmla="*/ 15 w 34"/>
                    <a:gd name="T45" fmla="*/ 20 h 47"/>
                    <a:gd name="T46" fmla="*/ 16 w 34"/>
                    <a:gd name="T47" fmla="*/ 22 h 47"/>
                    <a:gd name="T48" fmla="*/ 16 w 34"/>
                    <a:gd name="T49" fmla="*/ 22 h 47"/>
                    <a:gd name="T50" fmla="*/ 15 w 34"/>
                    <a:gd name="T51" fmla="*/ 23 h 47"/>
                    <a:gd name="T52" fmla="*/ 14 w 34"/>
                    <a:gd name="T53" fmla="*/ 23 h 47"/>
                    <a:gd name="T54" fmla="*/ 13 w 34"/>
                    <a:gd name="T55" fmla="*/ 22 h 47"/>
                    <a:gd name="T56" fmla="*/ 11 w 34"/>
                    <a:gd name="T57" fmla="*/ 22 h 47"/>
                    <a:gd name="T58" fmla="*/ 9 w 34"/>
                    <a:gd name="T59" fmla="*/ 21 h 47"/>
                    <a:gd name="T60" fmla="*/ 6 w 34"/>
                    <a:gd name="T61" fmla="*/ 20 h 47"/>
                    <a:gd name="T62" fmla="*/ 3 w 34"/>
                    <a:gd name="T63" fmla="*/ 19 h 47"/>
                    <a:gd name="T64" fmla="*/ 0 w 34"/>
                    <a:gd name="T65" fmla="*/ 18 h 47"/>
                    <a:gd name="T66" fmla="*/ 1 w 34"/>
                    <a:gd name="T67" fmla="*/ 18 h 47"/>
                    <a:gd name="T68" fmla="*/ 1 w 34"/>
                    <a:gd name="T69" fmla="*/ 18 h 47"/>
                    <a:gd name="T70" fmla="*/ 0 w 34"/>
                    <a:gd name="T71" fmla="*/ 18 h 47"/>
                    <a:gd name="T72" fmla="*/ 0 w 34"/>
                    <a:gd name="T73" fmla="*/ 18 h 47"/>
                    <a:gd name="T74" fmla="*/ 0 w 34"/>
                    <a:gd name="T75" fmla="*/ 19 h 47"/>
                    <a:gd name="T76" fmla="*/ 0 w 34"/>
                    <a:gd name="T77" fmla="*/ 20 h 47"/>
                    <a:gd name="T78" fmla="*/ 0 w 34"/>
                    <a:gd name="T79" fmla="*/ 20 h 47"/>
                    <a:gd name="T80" fmla="*/ 0 w 34"/>
                    <a:gd name="T81" fmla="*/ 20 h 47"/>
                    <a:gd name="T82" fmla="*/ 1 w 34"/>
                    <a:gd name="T83" fmla="*/ 20 h 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4" h="47">
                      <a:moveTo>
                        <a:pt x="3" y="38"/>
                      </a:moveTo>
                      <a:lnTo>
                        <a:pt x="1" y="38"/>
                      </a:lnTo>
                      <a:lnTo>
                        <a:pt x="5" y="39"/>
                      </a:lnTo>
                      <a:lnTo>
                        <a:pt x="8" y="41"/>
                      </a:lnTo>
                      <a:lnTo>
                        <a:pt x="12" y="42"/>
                      </a:lnTo>
                      <a:lnTo>
                        <a:pt x="15" y="43"/>
                      </a:lnTo>
                      <a:lnTo>
                        <a:pt x="17" y="44"/>
                      </a:lnTo>
                      <a:lnTo>
                        <a:pt x="19" y="45"/>
                      </a:lnTo>
                      <a:lnTo>
                        <a:pt x="22" y="45"/>
                      </a:lnTo>
                      <a:lnTo>
                        <a:pt x="23" y="46"/>
                      </a:lnTo>
                      <a:lnTo>
                        <a:pt x="25" y="46"/>
                      </a:lnTo>
                      <a:lnTo>
                        <a:pt x="27" y="47"/>
                      </a:lnTo>
                      <a:lnTo>
                        <a:pt x="28" y="47"/>
                      </a:lnTo>
                      <a:lnTo>
                        <a:pt x="30" y="47"/>
                      </a:lnTo>
                      <a:lnTo>
                        <a:pt x="31" y="47"/>
                      </a:lnTo>
                      <a:lnTo>
                        <a:pt x="32" y="47"/>
                      </a:lnTo>
                      <a:lnTo>
                        <a:pt x="33" y="46"/>
                      </a:lnTo>
                      <a:lnTo>
                        <a:pt x="33" y="45"/>
                      </a:lnTo>
                      <a:lnTo>
                        <a:pt x="34" y="44"/>
                      </a:lnTo>
                      <a:lnTo>
                        <a:pt x="34" y="42"/>
                      </a:lnTo>
                      <a:lnTo>
                        <a:pt x="33" y="40"/>
                      </a:lnTo>
                      <a:lnTo>
                        <a:pt x="33" y="39"/>
                      </a:lnTo>
                      <a:lnTo>
                        <a:pt x="33" y="37"/>
                      </a:lnTo>
                      <a:lnTo>
                        <a:pt x="32" y="35"/>
                      </a:lnTo>
                      <a:lnTo>
                        <a:pt x="31" y="33"/>
                      </a:lnTo>
                      <a:lnTo>
                        <a:pt x="31" y="30"/>
                      </a:lnTo>
                      <a:lnTo>
                        <a:pt x="30" y="27"/>
                      </a:lnTo>
                      <a:lnTo>
                        <a:pt x="29" y="24"/>
                      </a:lnTo>
                      <a:lnTo>
                        <a:pt x="28" y="21"/>
                      </a:lnTo>
                      <a:lnTo>
                        <a:pt x="26" y="17"/>
                      </a:lnTo>
                      <a:lnTo>
                        <a:pt x="25" y="14"/>
                      </a:lnTo>
                      <a:lnTo>
                        <a:pt x="23" y="9"/>
                      </a:lnTo>
                      <a:lnTo>
                        <a:pt x="22" y="5"/>
                      </a:lnTo>
                      <a:lnTo>
                        <a:pt x="21" y="0"/>
                      </a:lnTo>
                      <a:lnTo>
                        <a:pt x="18" y="1"/>
                      </a:lnTo>
                      <a:lnTo>
                        <a:pt x="19" y="6"/>
                      </a:lnTo>
                      <a:lnTo>
                        <a:pt x="21" y="11"/>
                      </a:lnTo>
                      <a:lnTo>
                        <a:pt x="22" y="16"/>
                      </a:lnTo>
                      <a:lnTo>
                        <a:pt x="23" y="19"/>
                      </a:lnTo>
                      <a:lnTo>
                        <a:pt x="25" y="23"/>
                      </a:lnTo>
                      <a:lnTo>
                        <a:pt x="26" y="26"/>
                      </a:lnTo>
                      <a:lnTo>
                        <a:pt x="27" y="29"/>
                      </a:lnTo>
                      <a:lnTo>
                        <a:pt x="28" y="32"/>
                      </a:lnTo>
                      <a:lnTo>
                        <a:pt x="29" y="34"/>
                      </a:lnTo>
                      <a:lnTo>
                        <a:pt x="30" y="37"/>
                      </a:lnTo>
                      <a:lnTo>
                        <a:pt x="30" y="38"/>
                      </a:lnTo>
                      <a:lnTo>
                        <a:pt x="30" y="40"/>
                      </a:lnTo>
                      <a:lnTo>
                        <a:pt x="31" y="41"/>
                      </a:lnTo>
                      <a:lnTo>
                        <a:pt x="31" y="42"/>
                      </a:lnTo>
                      <a:lnTo>
                        <a:pt x="31" y="43"/>
                      </a:lnTo>
                      <a:lnTo>
                        <a:pt x="31" y="44"/>
                      </a:lnTo>
                      <a:lnTo>
                        <a:pt x="30" y="44"/>
                      </a:lnTo>
                      <a:lnTo>
                        <a:pt x="29" y="44"/>
                      </a:lnTo>
                      <a:lnTo>
                        <a:pt x="27" y="43"/>
                      </a:lnTo>
                      <a:lnTo>
                        <a:pt x="26" y="42"/>
                      </a:lnTo>
                      <a:lnTo>
                        <a:pt x="24" y="42"/>
                      </a:lnTo>
                      <a:lnTo>
                        <a:pt x="22" y="41"/>
                      </a:lnTo>
                      <a:lnTo>
                        <a:pt x="20" y="41"/>
                      </a:lnTo>
                      <a:lnTo>
                        <a:pt x="18" y="40"/>
                      </a:lnTo>
                      <a:lnTo>
                        <a:pt x="15" y="39"/>
                      </a:lnTo>
                      <a:lnTo>
                        <a:pt x="12" y="38"/>
                      </a:lnTo>
                      <a:lnTo>
                        <a:pt x="9" y="37"/>
                      </a:lnTo>
                      <a:lnTo>
                        <a:pt x="5" y="36"/>
                      </a:lnTo>
                      <a:lnTo>
                        <a:pt x="2" y="35"/>
                      </a:lnTo>
                      <a:lnTo>
                        <a:pt x="0" y="35"/>
                      </a:lnTo>
                      <a:lnTo>
                        <a:pt x="2" y="35"/>
                      </a:lnTo>
                      <a:lnTo>
                        <a:pt x="2" y="34"/>
                      </a:lnTo>
                      <a:lnTo>
                        <a:pt x="1" y="34"/>
                      </a:lnTo>
                      <a:lnTo>
                        <a:pt x="1" y="35"/>
                      </a:lnTo>
                      <a:lnTo>
                        <a:pt x="0" y="35"/>
                      </a:lnTo>
                      <a:lnTo>
                        <a:pt x="0" y="36"/>
                      </a:lnTo>
                      <a:lnTo>
                        <a:pt x="0" y="37"/>
                      </a:lnTo>
                      <a:lnTo>
                        <a:pt x="0" y="38"/>
                      </a:lnTo>
                      <a:lnTo>
                        <a:pt x="1" y="38"/>
                      </a:lnTo>
                      <a:lnTo>
                        <a:pt x="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1" name="Freeform 823">
                  <a:extLst>
                    <a:ext uri="{FF2B5EF4-FFF2-40B4-BE49-F238E27FC236}">
                      <a16:creationId xmlns:a16="http://schemas.microsoft.com/office/drawing/2014/main" id="{2F4EFE0B-1B65-6F96-EDD9-35C3267833B7}"/>
                    </a:ext>
                  </a:extLst>
                </p:cNvPr>
                <p:cNvSpPr>
                  <a:spLocks/>
                </p:cNvSpPr>
                <p:nvPr/>
              </p:nvSpPr>
              <p:spPr bwMode="auto">
                <a:xfrm>
                  <a:off x="974" y="2077"/>
                  <a:ext cx="33" cy="22"/>
                </a:xfrm>
                <a:custGeom>
                  <a:avLst/>
                  <a:gdLst>
                    <a:gd name="T0" fmla="*/ 1 w 48"/>
                    <a:gd name="T1" fmla="*/ 11 h 31"/>
                    <a:gd name="T2" fmla="*/ 3 w 48"/>
                    <a:gd name="T3" fmla="*/ 9 h 31"/>
                    <a:gd name="T4" fmla="*/ 6 w 48"/>
                    <a:gd name="T5" fmla="*/ 9 h 31"/>
                    <a:gd name="T6" fmla="*/ 7 w 48"/>
                    <a:gd name="T7" fmla="*/ 9 h 31"/>
                    <a:gd name="T8" fmla="*/ 8 w 48"/>
                    <a:gd name="T9" fmla="*/ 10 h 31"/>
                    <a:gd name="T10" fmla="*/ 10 w 48"/>
                    <a:gd name="T11" fmla="*/ 11 h 31"/>
                    <a:gd name="T12" fmla="*/ 10 w 48"/>
                    <a:gd name="T13" fmla="*/ 11 h 31"/>
                    <a:gd name="T14" fmla="*/ 11 w 48"/>
                    <a:gd name="T15" fmla="*/ 13 h 31"/>
                    <a:gd name="T16" fmla="*/ 12 w 48"/>
                    <a:gd name="T17" fmla="*/ 14 h 31"/>
                    <a:gd name="T18" fmla="*/ 13 w 48"/>
                    <a:gd name="T19" fmla="*/ 15 h 31"/>
                    <a:gd name="T20" fmla="*/ 14 w 48"/>
                    <a:gd name="T21" fmla="*/ 16 h 31"/>
                    <a:gd name="T22" fmla="*/ 15 w 48"/>
                    <a:gd name="T23" fmla="*/ 16 h 31"/>
                    <a:gd name="T24" fmla="*/ 16 w 48"/>
                    <a:gd name="T25" fmla="*/ 15 h 31"/>
                    <a:gd name="T26" fmla="*/ 17 w 48"/>
                    <a:gd name="T27" fmla="*/ 13 h 31"/>
                    <a:gd name="T28" fmla="*/ 19 w 48"/>
                    <a:gd name="T29" fmla="*/ 10 h 31"/>
                    <a:gd name="T30" fmla="*/ 21 w 48"/>
                    <a:gd name="T31" fmla="*/ 6 h 31"/>
                    <a:gd name="T32" fmla="*/ 23 w 48"/>
                    <a:gd name="T33" fmla="*/ 1 h 31"/>
                    <a:gd name="T34" fmla="*/ 21 w 48"/>
                    <a:gd name="T35" fmla="*/ 3 h 31"/>
                    <a:gd name="T36" fmla="*/ 19 w 48"/>
                    <a:gd name="T37" fmla="*/ 8 h 31"/>
                    <a:gd name="T38" fmla="*/ 17 w 48"/>
                    <a:gd name="T39" fmla="*/ 11 h 31"/>
                    <a:gd name="T40" fmla="*/ 16 w 48"/>
                    <a:gd name="T41" fmla="*/ 13 h 31"/>
                    <a:gd name="T42" fmla="*/ 14 w 48"/>
                    <a:gd name="T43" fmla="*/ 13 h 31"/>
                    <a:gd name="T44" fmla="*/ 14 w 48"/>
                    <a:gd name="T45" fmla="*/ 13 h 31"/>
                    <a:gd name="T46" fmla="*/ 14 w 48"/>
                    <a:gd name="T47" fmla="*/ 13 h 31"/>
                    <a:gd name="T48" fmla="*/ 13 w 48"/>
                    <a:gd name="T49" fmla="*/ 13 h 31"/>
                    <a:gd name="T50" fmla="*/ 13 w 48"/>
                    <a:gd name="T51" fmla="*/ 12 h 31"/>
                    <a:gd name="T52" fmla="*/ 12 w 48"/>
                    <a:gd name="T53" fmla="*/ 11 h 31"/>
                    <a:gd name="T54" fmla="*/ 11 w 48"/>
                    <a:gd name="T55" fmla="*/ 9 h 31"/>
                    <a:gd name="T56" fmla="*/ 10 w 48"/>
                    <a:gd name="T57" fmla="*/ 9 h 31"/>
                    <a:gd name="T58" fmla="*/ 8 w 48"/>
                    <a:gd name="T59" fmla="*/ 8 h 31"/>
                    <a:gd name="T60" fmla="*/ 6 w 48"/>
                    <a:gd name="T61" fmla="*/ 8 h 31"/>
                    <a:gd name="T62" fmla="*/ 4 w 48"/>
                    <a:gd name="T63" fmla="*/ 8 h 31"/>
                    <a:gd name="T64" fmla="*/ 2 w 48"/>
                    <a:gd name="T65" fmla="*/ 9 h 31"/>
                    <a:gd name="T66" fmla="*/ 1 w 48"/>
                    <a:gd name="T67" fmla="*/ 10 h 31"/>
                    <a:gd name="T68" fmla="*/ 1 w 48"/>
                    <a:gd name="T69" fmla="*/ 9 h 31"/>
                    <a:gd name="T70" fmla="*/ 1 w 48"/>
                    <a:gd name="T71" fmla="*/ 9 h 31"/>
                    <a:gd name="T72" fmla="*/ 1 w 48"/>
                    <a:gd name="T73" fmla="*/ 10 h 31"/>
                    <a:gd name="T74" fmla="*/ 0 w 48"/>
                    <a:gd name="T75" fmla="*/ 10 h 31"/>
                    <a:gd name="T76" fmla="*/ 1 w 48"/>
                    <a:gd name="T77" fmla="*/ 11 h 31"/>
                    <a:gd name="T78" fmla="*/ 1 w 48"/>
                    <a:gd name="T79" fmla="*/ 11 h 31"/>
                    <a:gd name="T80" fmla="*/ 1 w 48"/>
                    <a:gd name="T81" fmla="*/ 11 h 31"/>
                    <a:gd name="T82" fmla="*/ 1 w 48"/>
                    <a:gd name="T83" fmla="*/ 11 h 31"/>
                    <a:gd name="T84" fmla="*/ 1 w 48"/>
                    <a:gd name="T85" fmla="*/ 11 h 31"/>
                    <a:gd name="T86" fmla="*/ 1 w 48"/>
                    <a:gd name="T87" fmla="*/ 11 h 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 h="31">
                      <a:moveTo>
                        <a:pt x="3" y="21"/>
                      </a:moveTo>
                      <a:lnTo>
                        <a:pt x="3" y="22"/>
                      </a:lnTo>
                      <a:lnTo>
                        <a:pt x="5" y="20"/>
                      </a:lnTo>
                      <a:lnTo>
                        <a:pt x="7" y="19"/>
                      </a:lnTo>
                      <a:lnTo>
                        <a:pt x="10" y="19"/>
                      </a:lnTo>
                      <a:lnTo>
                        <a:pt x="12" y="18"/>
                      </a:lnTo>
                      <a:lnTo>
                        <a:pt x="13" y="18"/>
                      </a:lnTo>
                      <a:lnTo>
                        <a:pt x="15" y="18"/>
                      </a:lnTo>
                      <a:lnTo>
                        <a:pt x="16" y="19"/>
                      </a:lnTo>
                      <a:lnTo>
                        <a:pt x="17" y="20"/>
                      </a:lnTo>
                      <a:lnTo>
                        <a:pt x="19" y="20"/>
                      </a:lnTo>
                      <a:lnTo>
                        <a:pt x="20" y="21"/>
                      </a:lnTo>
                      <a:lnTo>
                        <a:pt x="21" y="22"/>
                      </a:lnTo>
                      <a:lnTo>
                        <a:pt x="22" y="23"/>
                      </a:lnTo>
                      <a:lnTo>
                        <a:pt x="22" y="25"/>
                      </a:lnTo>
                      <a:lnTo>
                        <a:pt x="23" y="26"/>
                      </a:lnTo>
                      <a:lnTo>
                        <a:pt x="24" y="27"/>
                      </a:lnTo>
                      <a:lnTo>
                        <a:pt x="25" y="28"/>
                      </a:lnTo>
                      <a:lnTo>
                        <a:pt x="26" y="29"/>
                      </a:lnTo>
                      <a:lnTo>
                        <a:pt x="27" y="30"/>
                      </a:lnTo>
                      <a:lnTo>
                        <a:pt x="28" y="31"/>
                      </a:lnTo>
                      <a:lnTo>
                        <a:pt x="29" y="31"/>
                      </a:lnTo>
                      <a:lnTo>
                        <a:pt x="30" y="31"/>
                      </a:lnTo>
                      <a:lnTo>
                        <a:pt x="32" y="31"/>
                      </a:lnTo>
                      <a:lnTo>
                        <a:pt x="33" y="30"/>
                      </a:lnTo>
                      <a:lnTo>
                        <a:pt x="34" y="29"/>
                      </a:lnTo>
                      <a:lnTo>
                        <a:pt x="36" y="28"/>
                      </a:lnTo>
                      <a:lnTo>
                        <a:pt x="37" y="26"/>
                      </a:lnTo>
                      <a:lnTo>
                        <a:pt x="38" y="23"/>
                      </a:lnTo>
                      <a:lnTo>
                        <a:pt x="40" y="20"/>
                      </a:lnTo>
                      <a:lnTo>
                        <a:pt x="42" y="17"/>
                      </a:lnTo>
                      <a:lnTo>
                        <a:pt x="44" y="12"/>
                      </a:lnTo>
                      <a:lnTo>
                        <a:pt x="46" y="7"/>
                      </a:lnTo>
                      <a:lnTo>
                        <a:pt x="48" y="2"/>
                      </a:lnTo>
                      <a:lnTo>
                        <a:pt x="45" y="0"/>
                      </a:lnTo>
                      <a:lnTo>
                        <a:pt x="43" y="6"/>
                      </a:lnTo>
                      <a:lnTo>
                        <a:pt x="41" y="10"/>
                      </a:lnTo>
                      <a:lnTo>
                        <a:pt x="39" y="15"/>
                      </a:lnTo>
                      <a:lnTo>
                        <a:pt x="37" y="18"/>
                      </a:lnTo>
                      <a:lnTo>
                        <a:pt x="36" y="21"/>
                      </a:lnTo>
                      <a:lnTo>
                        <a:pt x="35" y="23"/>
                      </a:lnTo>
                      <a:lnTo>
                        <a:pt x="33" y="25"/>
                      </a:lnTo>
                      <a:lnTo>
                        <a:pt x="32" y="26"/>
                      </a:lnTo>
                      <a:lnTo>
                        <a:pt x="31" y="27"/>
                      </a:lnTo>
                      <a:lnTo>
                        <a:pt x="30" y="27"/>
                      </a:lnTo>
                      <a:lnTo>
                        <a:pt x="29" y="27"/>
                      </a:lnTo>
                      <a:lnTo>
                        <a:pt x="28" y="26"/>
                      </a:lnTo>
                      <a:lnTo>
                        <a:pt x="27" y="25"/>
                      </a:lnTo>
                      <a:lnTo>
                        <a:pt x="27" y="24"/>
                      </a:lnTo>
                      <a:lnTo>
                        <a:pt x="26" y="23"/>
                      </a:lnTo>
                      <a:lnTo>
                        <a:pt x="25" y="22"/>
                      </a:lnTo>
                      <a:lnTo>
                        <a:pt x="24" y="20"/>
                      </a:lnTo>
                      <a:lnTo>
                        <a:pt x="23" y="19"/>
                      </a:lnTo>
                      <a:lnTo>
                        <a:pt x="22" y="18"/>
                      </a:lnTo>
                      <a:lnTo>
                        <a:pt x="20" y="17"/>
                      </a:lnTo>
                      <a:lnTo>
                        <a:pt x="19" y="16"/>
                      </a:lnTo>
                      <a:lnTo>
                        <a:pt x="17" y="15"/>
                      </a:lnTo>
                      <a:lnTo>
                        <a:pt x="15" y="15"/>
                      </a:lnTo>
                      <a:lnTo>
                        <a:pt x="13" y="15"/>
                      </a:lnTo>
                      <a:lnTo>
                        <a:pt x="11" y="15"/>
                      </a:lnTo>
                      <a:lnTo>
                        <a:pt x="9" y="15"/>
                      </a:lnTo>
                      <a:lnTo>
                        <a:pt x="6" y="16"/>
                      </a:lnTo>
                      <a:lnTo>
                        <a:pt x="4" y="17"/>
                      </a:lnTo>
                      <a:lnTo>
                        <a:pt x="1" y="18"/>
                      </a:lnTo>
                      <a:lnTo>
                        <a:pt x="1" y="20"/>
                      </a:lnTo>
                      <a:lnTo>
                        <a:pt x="1" y="18"/>
                      </a:lnTo>
                      <a:lnTo>
                        <a:pt x="1" y="19"/>
                      </a:lnTo>
                      <a:lnTo>
                        <a:pt x="1" y="20"/>
                      </a:lnTo>
                      <a:lnTo>
                        <a:pt x="0" y="20"/>
                      </a:lnTo>
                      <a:lnTo>
                        <a:pt x="1" y="20"/>
                      </a:lnTo>
                      <a:lnTo>
                        <a:pt x="1" y="21"/>
                      </a:lnTo>
                      <a:lnTo>
                        <a:pt x="1" y="22"/>
                      </a:lnTo>
                      <a:lnTo>
                        <a:pt x="2" y="22"/>
                      </a:lnTo>
                      <a:lnTo>
                        <a:pt x="3" y="22"/>
                      </a:lnTo>
                      <a:lnTo>
                        <a:pt x="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2" name="Freeform 824">
                  <a:extLst>
                    <a:ext uri="{FF2B5EF4-FFF2-40B4-BE49-F238E27FC236}">
                      <a16:creationId xmlns:a16="http://schemas.microsoft.com/office/drawing/2014/main" id="{37F5FFE2-0BC5-8F4C-DB23-19FE19BA6FA3}"/>
                    </a:ext>
                  </a:extLst>
                </p:cNvPr>
                <p:cNvSpPr>
                  <a:spLocks/>
                </p:cNvSpPr>
                <p:nvPr/>
              </p:nvSpPr>
              <p:spPr bwMode="auto">
                <a:xfrm>
                  <a:off x="974" y="2090"/>
                  <a:ext cx="35" cy="49"/>
                </a:xfrm>
                <a:custGeom>
                  <a:avLst/>
                  <a:gdLst>
                    <a:gd name="T0" fmla="*/ 24 w 50"/>
                    <a:gd name="T1" fmla="*/ 34 h 68"/>
                    <a:gd name="T2" fmla="*/ 25 w 50"/>
                    <a:gd name="T3" fmla="*/ 31 h 68"/>
                    <a:gd name="T4" fmla="*/ 24 w 50"/>
                    <a:gd name="T5" fmla="*/ 29 h 68"/>
                    <a:gd name="T6" fmla="*/ 23 w 50"/>
                    <a:gd name="T7" fmla="*/ 26 h 68"/>
                    <a:gd name="T8" fmla="*/ 22 w 50"/>
                    <a:gd name="T9" fmla="*/ 23 h 68"/>
                    <a:gd name="T10" fmla="*/ 20 w 50"/>
                    <a:gd name="T11" fmla="*/ 22 h 68"/>
                    <a:gd name="T12" fmla="*/ 18 w 50"/>
                    <a:gd name="T13" fmla="*/ 19 h 68"/>
                    <a:gd name="T14" fmla="*/ 15 w 50"/>
                    <a:gd name="T15" fmla="*/ 17 h 68"/>
                    <a:gd name="T16" fmla="*/ 13 w 50"/>
                    <a:gd name="T17" fmla="*/ 14 h 68"/>
                    <a:gd name="T18" fmla="*/ 11 w 50"/>
                    <a:gd name="T19" fmla="*/ 12 h 68"/>
                    <a:gd name="T20" fmla="*/ 8 w 50"/>
                    <a:gd name="T21" fmla="*/ 10 h 68"/>
                    <a:gd name="T22" fmla="*/ 6 w 50"/>
                    <a:gd name="T23" fmla="*/ 8 h 68"/>
                    <a:gd name="T24" fmla="*/ 4 w 50"/>
                    <a:gd name="T25" fmla="*/ 6 h 68"/>
                    <a:gd name="T26" fmla="*/ 3 w 50"/>
                    <a:gd name="T27" fmla="*/ 4 h 68"/>
                    <a:gd name="T28" fmla="*/ 2 w 50"/>
                    <a:gd name="T29" fmla="*/ 2 h 68"/>
                    <a:gd name="T30" fmla="*/ 1 w 50"/>
                    <a:gd name="T31" fmla="*/ 1 h 68"/>
                    <a:gd name="T32" fmla="*/ 1 w 50"/>
                    <a:gd name="T33" fmla="*/ 0 h 68"/>
                    <a:gd name="T34" fmla="*/ 1 w 50"/>
                    <a:gd name="T35" fmla="*/ 2 h 68"/>
                    <a:gd name="T36" fmla="*/ 1 w 50"/>
                    <a:gd name="T37" fmla="*/ 4 h 68"/>
                    <a:gd name="T38" fmla="*/ 3 w 50"/>
                    <a:gd name="T39" fmla="*/ 6 h 68"/>
                    <a:gd name="T40" fmla="*/ 4 w 50"/>
                    <a:gd name="T41" fmla="*/ 9 h 68"/>
                    <a:gd name="T42" fmla="*/ 6 w 50"/>
                    <a:gd name="T43" fmla="*/ 10 h 68"/>
                    <a:gd name="T44" fmla="*/ 8 w 50"/>
                    <a:gd name="T45" fmla="*/ 12 h 68"/>
                    <a:gd name="T46" fmla="*/ 11 w 50"/>
                    <a:gd name="T47" fmla="*/ 14 h 68"/>
                    <a:gd name="T48" fmla="*/ 13 w 50"/>
                    <a:gd name="T49" fmla="*/ 17 h 68"/>
                    <a:gd name="T50" fmla="*/ 15 w 50"/>
                    <a:gd name="T51" fmla="*/ 19 h 68"/>
                    <a:gd name="T52" fmla="*/ 18 w 50"/>
                    <a:gd name="T53" fmla="*/ 22 h 68"/>
                    <a:gd name="T54" fmla="*/ 20 w 50"/>
                    <a:gd name="T55" fmla="*/ 24 h 68"/>
                    <a:gd name="T56" fmla="*/ 21 w 50"/>
                    <a:gd name="T57" fmla="*/ 26 h 68"/>
                    <a:gd name="T58" fmla="*/ 22 w 50"/>
                    <a:gd name="T59" fmla="*/ 28 h 68"/>
                    <a:gd name="T60" fmla="*/ 22 w 50"/>
                    <a:gd name="T61" fmla="*/ 30 h 68"/>
                    <a:gd name="T62" fmla="*/ 22 w 50"/>
                    <a:gd name="T63" fmla="*/ 32 h 68"/>
                    <a:gd name="T64" fmla="*/ 22 w 50"/>
                    <a:gd name="T65" fmla="*/ 34 h 68"/>
                    <a:gd name="T66" fmla="*/ 22 w 50"/>
                    <a:gd name="T67" fmla="*/ 34 h 68"/>
                    <a:gd name="T68" fmla="*/ 22 w 50"/>
                    <a:gd name="T69" fmla="*/ 35 h 68"/>
                    <a:gd name="T70" fmla="*/ 22 w 50"/>
                    <a:gd name="T71" fmla="*/ 35 h 68"/>
                    <a:gd name="T72" fmla="*/ 22 w 50"/>
                    <a:gd name="T73" fmla="*/ 35 h 68"/>
                    <a:gd name="T74" fmla="*/ 22 w 50"/>
                    <a:gd name="T75" fmla="*/ 35 h 68"/>
                    <a:gd name="T76" fmla="*/ 22 w 50"/>
                    <a:gd name="T77" fmla="*/ 35 h 68"/>
                    <a:gd name="T78" fmla="*/ 23 w 50"/>
                    <a:gd name="T79" fmla="*/ 35 h 68"/>
                    <a:gd name="T80" fmla="*/ 24 w 50"/>
                    <a:gd name="T81" fmla="*/ 35 h 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0" h="68">
                      <a:moveTo>
                        <a:pt x="48" y="67"/>
                      </a:moveTo>
                      <a:lnTo>
                        <a:pt x="49" y="65"/>
                      </a:lnTo>
                      <a:lnTo>
                        <a:pt x="49" y="62"/>
                      </a:lnTo>
                      <a:lnTo>
                        <a:pt x="50" y="60"/>
                      </a:lnTo>
                      <a:lnTo>
                        <a:pt x="49" y="58"/>
                      </a:lnTo>
                      <a:lnTo>
                        <a:pt x="49" y="55"/>
                      </a:lnTo>
                      <a:lnTo>
                        <a:pt x="49" y="53"/>
                      </a:lnTo>
                      <a:lnTo>
                        <a:pt x="47" y="50"/>
                      </a:lnTo>
                      <a:lnTo>
                        <a:pt x="46" y="48"/>
                      </a:lnTo>
                      <a:lnTo>
                        <a:pt x="44" y="45"/>
                      </a:lnTo>
                      <a:lnTo>
                        <a:pt x="42" y="43"/>
                      </a:lnTo>
                      <a:lnTo>
                        <a:pt x="41" y="41"/>
                      </a:lnTo>
                      <a:lnTo>
                        <a:pt x="38" y="38"/>
                      </a:lnTo>
                      <a:lnTo>
                        <a:pt x="36" y="36"/>
                      </a:lnTo>
                      <a:lnTo>
                        <a:pt x="34" y="34"/>
                      </a:lnTo>
                      <a:lnTo>
                        <a:pt x="31" y="32"/>
                      </a:lnTo>
                      <a:lnTo>
                        <a:pt x="29" y="29"/>
                      </a:lnTo>
                      <a:lnTo>
                        <a:pt x="26" y="27"/>
                      </a:lnTo>
                      <a:lnTo>
                        <a:pt x="24" y="25"/>
                      </a:lnTo>
                      <a:lnTo>
                        <a:pt x="21" y="23"/>
                      </a:lnTo>
                      <a:lnTo>
                        <a:pt x="19" y="21"/>
                      </a:lnTo>
                      <a:lnTo>
                        <a:pt x="17" y="19"/>
                      </a:lnTo>
                      <a:lnTo>
                        <a:pt x="14" y="17"/>
                      </a:lnTo>
                      <a:lnTo>
                        <a:pt x="12" y="15"/>
                      </a:lnTo>
                      <a:lnTo>
                        <a:pt x="11" y="13"/>
                      </a:lnTo>
                      <a:lnTo>
                        <a:pt x="9" y="11"/>
                      </a:lnTo>
                      <a:lnTo>
                        <a:pt x="7" y="9"/>
                      </a:lnTo>
                      <a:lnTo>
                        <a:pt x="6" y="7"/>
                      </a:lnTo>
                      <a:lnTo>
                        <a:pt x="4" y="6"/>
                      </a:lnTo>
                      <a:lnTo>
                        <a:pt x="4" y="4"/>
                      </a:lnTo>
                      <a:lnTo>
                        <a:pt x="4" y="3"/>
                      </a:lnTo>
                      <a:lnTo>
                        <a:pt x="3" y="3"/>
                      </a:lnTo>
                      <a:lnTo>
                        <a:pt x="3" y="1"/>
                      </a:lnTo>
                      <a:lnTo>
                        <a:pt x="1" y="0"/>
                      </a:lnTo>
                      <a:lnTo>
                        <a:pt x="0" y="3"/>
                      </a:lnTo>
                      <a:lnTo>
                        <a:pt x="1" y="4"/>
                      </a:lnTo>
                      <a:lnTo>
                        <a:pt x="1" y="6"/>
                      </a:lnTo>
                      <a:lnTo>
                        <a:pt x="2" y="9"/>
                      </a:lnTo>
                      <a:lnTo>
                        <a:pt x="3" y="10"/>
                      </a:lnTo>
                      <a:lnTo>
                        <a:pt x="5" y="12"/>
                      </a:lnTo>
                      <a:lnTo>
                        <a:pt x="6" y="14"/>
                      </a:lnTo>
                      <a:lnTo>
                        <a:pt x="9" y="16"/>
                      </a:lnTo>
                      <a:lnTo>
                        <a:pt x="11" y="18"/>
                      </a:lnTo>
                      <a:lnTo>
                        <a:pt x="12" y="20"/>
                      </a:lnTo>
                      <a:lnTo>
                        <a:pt x="15" y="22"/>
                      </a:lnTo>
                      <a:lnTo>
                        <a:pt x="17" y="24"/>
                      </a:lnTo>
                      <a:lnTo>
                        <a:pt x="20" y="26"/>
                      </a:lnTo>
                      <a:lnTo>
                        <a:pt x="22" y="28"/>
                      </a:lnTo>
                      <a:lnTo>
                        <a:pt x="24" y="30"/>
                      </a:lnTo>
                      <a:lnTo>
                        <a:pt x="27" y="33"/>
                      </a:lnTo>
                      <a:lnTo>
                        <a:pt x="29" y="35"/>
                      </a:lnTo>
                      <a:lnTo>
                        <a:pt x="32" y="37"/>
                      </a:lnTo>
                      <a:lnTo>
                        <a:pt x="34" y="40"/>
                      </a:lnTo>
                      <a:lnTo>
                        <a:pt x="36" y="42"/>
                      </a:lnTo>
                      <a:lnTo>
                        <a:pt x="38" y="44"/>
                      </a:lnTo>
                      <a:lnTo>
                        <a:pt x="40" y="46"/>
                      </a:lnTo>
                      <a:lnTo>
                        <a:pt x="42" y="48"/>
                      </a:lnTo>
                      <a:lnTo>
                        <a:pt x="43" y="50"/>
                      </a:lnTo>
                      <a:lnTo>
                        <a:pt x="44" y="52"/>
                      </a:lnTo>
                      <a:lnTo>
                        <a:pt x="46" y="54"/>
                      </a:lnTo>
                      <a:lnTo>
                        <a:pt x="46" y="56"/>
                      </a:lnTo>
                      <a:lnTo>
                        <a:pt x="46" y="58"/>
                      </a:lnTo>
                      <a:lnTo>
                        <a:pt x="47" y="60"/>
                      </a:lnTo>
                      <a:lnTo>
                        <a:pt x="46" y="62"/>
                      </a:lnTo>
                      <a:lnTo>
                        <a:pt x="46" y="63"/>
                      </a:lnTo>
                      <a:lnTo>
                        <a:pt x="46" y="65"/>
                      </a:lnTo>
                      <a:lnTo>
                        <a:pt x="45" y="66"/>
                      </a:lnTo>
                      <a:lnTo>
                        <a:pt x="46" y="66"/>
                      </a:lnTo>
                      <a:lnTo>
                        <a:pt x="46" y="67"/>
                      </a:lnTo>
                      <a:lnTo>
                        <a:pt x="46" y="68"/>
                      </a:lnTo>
                      <a:lnTo>
                        <a:pt x="47" y="68"/>
                      </a:lnTo>
                      <a:lnTo>
                        <a:pt x="48" y="68"/>
                      </a:lnTo>
                      <a:lnTo>
                        <a:pt x="48"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3" name="Freeform 825">
                  <a:extLst>
                    <a:ext uri="{FF2B5EF4-FFF2-40B4-BE49-F238E27FC236}">
                      <a16:creationId xmlns:a16="http://schemas.microsoft.com/office/drawing/2014/main" id="{6015008E-3CFF-E1AA-8982-FAAFCA884776}"/>
                    </a:ext>
                  </a:extLst>
                </p:cNvPr>
                <p:cNvSpPr>
                  <a:spLocks/>
                </p:cNvSpPr>
                <p:nvPr/>
              </p:nvSpPr>
              <p:spPr bwMode="auto">
                <a:xfrm>
                  <a:off x="953" y="2101"/>
                  <a:ext cx="55" cy="46"/>
                </a:xfrm>
                <a:custGeom>
                  <a:avLst/>
                  <a:gdLst>
                    <a:gd name="T0" fmla="*/ 2 w 79"/>
                    <a:gd name="T1" fmla="*/ 2 h 64"/>
                    <a:gd name="T2" fmla="*/ 4 w 79"/>
                    <a:gd name="T3" fmla="*/ 3 h 64"/>
                    <a:gd name="T4" fmla="*/ 6 w 79"/>
                    <a:gd name="T5" fmla="*/ 5 h 64"/>
                    <a:gd name="T6" fmla="*/ 9 w 79"/>
                    <a:gd name="T7" fmla="*/ 7 h 64"/>
                    <a:gd name="T8" fmla="*/ 10 w 79"/>
                    <a:gd name="T9" fmla="*/ 10 h 64"/>
                    <a:gd name="T10" fmla="*/ 13 w 79"/>
                    <a:gd name="T11" fmla="*/ 14 h 64"/>
                    <a:gd name="T12" fmla="*/ 15 w 79"/>
                    <a:gd name="T13" fmla="*/ 17 h 64"/>
                    <a:gd name="T14" fmla="*/ 18 w 79"/>
                    <a:gd name="T15" fmla="*/ 21 h 64"/>
                    <a:gd name="T16" fmla="*/ 20 w 79"/>
                    <a:gd name="T17" fmla="*/ 24 h 64"/>
                    <a:gd name="T18" fmla="*/ 22 w 79"/>
                    <a:gd name="T19" fmla="*/ 27 h 64"/>
                    <a:gd name="T20" fmla="*/ 25 w 79"/>
                    <a:gd name="T21" fmla="*/ 29 h 64"/>
                    <a:gd name="T22" fmla="*/ 27 w 79"/>
                    <a:gd name="T23" fmla="*/ 32 h 64"/>
                    <a:gd name="T24" fmla="*/ 29 w 79"/>
                    <a:gd name="T25" fmla="*/ 32 h 64"/>
                    <a:gd name="T26" fmla="*/ 32 w 79"/>
                    <a:gd name="T27" fmla="*/ 32 h 64"/>
                    <a:gd name="T28" fmla="*/ 34 w 79"/>
                    <a:gd name="T29" fmla="*/ 32 h 64"/>
                    <a:gd name="T30" fmla="*/ 37 w 79"/>
                    <a:gd name="T31" fmla="*/ 29 h 64"/>
                    <a:gd name="T32" fmla="*/ 37 w 79"/>
                    <a:gd name="T33" fmla="*/ 25 h 64"/>
                    <a:gd name="T34" fmla="*/ 35 w 79"/>
                    <a:gd name="T35" fmla="*/ 29 h 64"/>
                    <a:gd name="T36" fmla="*/ 33 w 79"/>
                    <a:gd name="T37" fmla="*/ 30 h 64"/>
                    <a:gd name="T38" fmla="*/ 31 w 79"/>
                    <a:gd name="T39" fmla="*/ 31 h 64"/>
                    <a:gd name="T40" fmla="*/ 29 w 79"/>
                    <a:gd name="T41" fmla="*/ 30 h 64"/>
                    <a:gd name="T42" fmla="*/ 26 w 79"/>
                    <a:gd name="T43" fmla="*/ 29 h 64"/>
                    <a:gd name="T44" fmla="*/ 25 w 79"/>
                    <a:gd name="T45" fmla="*/ 27 h 64"/>
                    <a:gd name="T46" fmla="*/ 22 w 79"/>
                    <a:gd name="T47" fmla="*/ 24 h 64"/>
                    <a:gd name="T48" fmla="*/ 20 w 79"/>
                    <a:gd name="T49" fmla="*/ 21 h 64"/>
                    <a:gd name="T50" fmla="*/ 18 w 79"/>
                    <a:gd name="T51" fmla="*/ 17 h 64"/>
                    <a:gd name="T52" fmla="*/ 15 w 79"/>
                    <a:gd name="T53" fmla="*/ 14 h 64"/>
                    <a:gd name="T54" fmla="*/ 13 w 79"/>
                    <a:gd name="T55" fmla="*/ 10 h 64"/>
                    <a:gd name="T56" fmla="*/ 10 w 79"/>
                    <a:gd name="T57" fmla="*/ 7 h 64"/>
                    <a:gd name="T58" fmla="*/ 9 w 79"/>
                    <a:gd name="T59" fmla="*/ 4 h 64"/>
                    <a:gd name="T60" fmla="*/ 6 w 79"/>
                    <a:gd name="T61" fmla="*/ 2 h 64"/>
                    <a:gd name="T62" fmla="*/ 3 w 79"/>
                    <a:gd name="T63" fmla="*/ 1 h 64"/>
                    <a:gd name="T64" fmla="*/ 1 w 79"/>
                    <a:gd name="T65" fmla="*/ 0 h 64"/>
                    <a:gd name="T66" fmla="*/ 1 w 79"/>
                    <a:gd name="T67" fmla="*/ 0 h 64"/>
                    <a:gd name="T68" fmla="*/ 0 w 79"/>
                    <a:gd name="T69" fmla="*/ 0 h 64"/>
                    <a:gd name="T70" fmla="*/ 0 w 79"/>
                    <a:gd name="T71" fmla="*/ 0 h 64"/>
                    <a:gd name="T72" fmla="*/ 0 w 79"/>
                    <a:gd name="T73" fmla="*/ 1 h 64"/>
                    <a:gd name="T74" fmla="*/ 0 w 79"/>
                    <a:gd name="T75" fmla="*/ 1 h 64"/>
                    <a:gd name="T76" fmla="*/ 0 w 79"/>
                    <a:gd name="T77" fmla="*/ 1 h 64"/>
                    <a:gd name="T78" fmla="*/ 0 w 79"/>
                    <a:gd name="T79" fmla="*/ 1 h 64"/>
                    <a:gd name="T80" fmla="*/ 1 w 79"/>
                    <a:gd name="T81" fmla="*/ 2 h 64"/>
                    <a:gd name="T82" fmla="*/ 1 w 79"/>
                    <a:gd name="T83" fmla="*/ 2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9" h="64">
                      <a:moveTo>
                        <a:pt x="2" y="4"/>
                      </a:moveTo>
                      <a:lnTo>
                        <a:pt x="4" y="4"/>
                      </a:lnTo>
                      <a:lnTo>
                        <a:pt x="6" y="5"/>
                      </a:lnTo>
                      <a:lnTo>
                        <a:pt x="9" y="6"/>
                      </a:lnTo>
                      <a:lnTo>
                        <a:pt x="11" y="7"/>
                      </a:lnTo>
                      <a:lnTo>
                        <a:pt x="13" y="10"/>
                      </a:lnTo>
                      <a:lnTo>
                        <a:pt x="16" y="11"/>
                      </a:lnTo>
                      <a:lnTo>
                        <a:pt x="18" y="14"/>
                      </a:lnTo>
                      <a:lnTo>
                        <a:pt x="21" y="17"/>
                      </a:lnTo>
                      <a:lnTo>
                        <a:pt x="22" y="20"/>
                      </a:lnTo>
                      <a:lnTo>
                        <a:pt x="25" y="23"/>
                      </a:lnTo>
                      <a:lnTo>
                        <a:pt x="27" y="26"/>
                      </a:lnTo>
                      <a:lnTo>
                        <a:pt x="30" y="30"/>
                      </a:lnTo>
                      <a:lnTo>
                        <a:pt x="32" y="33"/>
                      </a:lnTo>
                      <a:lnTo>
                        <a:pt x="35" y="36"/>
                      </a:lnTo>
                      <a:lnTo>
                        <a:pt x="37" y="40"/>
                      </a:lnTo>
                      <a:lnTo>
                        <a:pt x="39" y="43"/>
                      </a:lnTo>
                      <a:lnTo>
                        <a:pt x="42" y="47"/>
                      </a:lnTo>
                      <a:lnTo>
                        <a:pt x="44" y="49"/>
                      </a:lnTo>
                      <a:lnTo>
                        <a:pt x="46" y="52"/>
                      </a:lnTo>
                      <a:lnTo>
                        <a:pt x="48" y="55"/>
                      </a:lnTo>
                      <a:lnTo>
                        <a:pt x="51" y="57"/>
                      </a:lnTo>
                      <a:lnTo>
                        <a:pt x="53" y="60"/>
                      </a:lnTo>
                      <a:lnTo>
                        <a:pt x="56" y="61"/>
                      </a:lnTo>
                      <a:lnTo>
                        <a:pt x="58" y="63"/>
                      </a:lnTo>
                      <a:lnTo>
                        <a:pt x="61" y="63"/>
                      </a:lnTo>
                      <a:lnTo>
                        <a:pt x="63" y="64"/>
                      </a:lnTo>
                      <a:lnTo>
                        <a:pt x="66" y="63"/>
                      </a:lnTo>
                      <a:lnTo>
                        <a:pt x="69" y="63"/>
                      </a:lnTo>
                      <a:lnTo>
                        <a:pt x="71" y="61"/>
                      </a:lnTo>
                      <a:lnTo>
                        <a:pt x="74" y="59"/>
                      </a:lnTo>
                      <a:lnTo>
                        <a:pt x="76" y="55"/>
                      </a:lnTo>
                      <a:lnTo>
                        <a:pt x="79" y="52"/>
                      </a:lnTo>
                      <a:lnTo>
                        <a:pt x="76" y="49"/>
                      </a:lnTo>
                      <a:lnTo>
                        <a:pt x="74" y="53"/>
                      </a:lnTo>
                      <a:lnTo>
                        <a:pt x="72" y="55"/>
                      </a:lnTo>
                      <a:lnTo>
                        <a:pt x="70" y="57"/>
                      </a:lnTo>
                      <a:lnTo>
                        <a:pt x="67" y="59"/>
                      </a:lnTo>
                      <a:lnTo>
                        <a:pt x="66" y="59"/>
                      </a:lnTo>
                      <a:lnTo>
                        <a:pt x="63" y="60"/>
                      </a:lnTo>
                      <a:lnTo>
                        <a:pt x="61" y="59"/>
                      </a:lnTo>
                      <a:lnTo>
                        <a:pt x="59" y="59"/>
                      </a:lnTo>
                      <a:lnTo>
                        <a:pt x="57" y="57"/>
                      </a:lnTo>
                      <a:lnTo>
                        <a:pt x="55" y="56"/>
                      </a:lnTo>
                      <a:lnTo>
                        <a:pt x="53" y="54"/>
                      </a:lnTo>
                      <a:lnTo>
                        <a:pt x="51" y="52"/>
                      </a:lnTo>
                      <a:lnTo>
                        <a:pt x="48" y="49"/>
                      </a:lnTo>
                      <a:lnTo>
                        <a:pt x="46" y="47"/>
                      </a:lnTo>
                      <a:lnTo>
                        <a:pt x="44" y="44"/>
                      </a:lnTo>
                      <a:lnTo>
                        <a:pt x="42" y="40"/>
                      </a:lnTo>
                      <a:lnTo>
                        <a:pt x="39" y="37"/>
                      </a:lnTo>
                      <a:lnTo>
                        <a:pt x="37" y="34"/>
                      </a:lnTo>
                      <a:lnTo>
                        <a:pt x="35" y="30"/>
                      </a:lnTo>
                      <a:lnTo>
                        <a:pt x="32" y="27"/>
                      </a:lnTo>
                      <a:lnTo>
                        <a:pt x="30" y="24"/>
                      </a:lnTo>
                      <a:lnTo>
                        <a:pt x="27" y="20"/>
                      </a:lnTo>
                      <a:lnTo>
                        <a:pt x="25" y="17"/>
                      </a:lnTo>
                      <a:lnTo>
                        <a:pt x="22" y="14"/>
                      </a:lnTo>
                      <a:lnTo>
                        <a:pt x="20" y="11"/>
                      </a:lnTo>
                      <a:lnTo>
                        <a:pt x="18" y="8"/>
                      </a:lnTo>
                      <a:lnTo>
                        <a:pt x="16" y="6"/>
                      </a:lnTo>
                      <a:lnTo>
                        <a:pt x="12" y="4"/>
                      </a:lnTo>
                      <a:lnTo>
                        <a:pt x="10" y="2"/>
                      </a:lnTo>
                      <a:lnTo>
                        <a:pt x="7" y="1"/>
                      </a:lnTo>
                      <a:lnTo>
                        <a:pt x="4" y="0"/>
                      </a:lnTo>
                      <a:lnTo>
                        <a:pt x="2" y="0"/>
                      </a:lnTo>
                      <a:lnTo>
                        <a:pt x="1" y="0"/>
                      </a:lnTo>
                      <a:lnTo>
                        <a:pt x="0" y="0"/>
                      </a:lnTo>
                      <a:lnTo>
                        <a:pt x="0" y="1"/>
                      </a:lnTo>
                      <a:lnTo>
                        <a:pt x="0" y="2"/>
                      </a:lnTo>
                      <a:lnTo>
                        <a:pt x="0" y="3"/>
                      </a:lnTo>
                      <a:lnTo>
                        <a:pt x="0" y="4"/>
                      </a:lnTo>
                      <a:lnTo>
                        <a:pt x="1" y="4"/>
                      </a:lnTo>
                      <a:lnTo>
                        <a:pt x="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4" name="Freeform 826">
                  <a:extLst>
                    <a:ext uri="{FF2B5EF4-FFF2-40B4-BE49-F238E27FC236}">
                      <a16:creationId xmlns:a16="http://schemas.microsoft.com/office/drawing/2014/main" id="{839A58A9-6F61-9818-E6C4-D424E911A835}"/>
                    </a:ext>
                  </a:extLst>
                </p:cNvPr>
                <p:cNvSpPr>
                  <a:spLocks/>
                </p:cNvSpPr>
                <p:nvPr/>
              </p:nvSpPr>
              <p:spPr bwMode="auto">
                <a:xfrm>
                  <a:off x="949" y="2101"/>
                  <a:ext cx="15" cy="47"/>
                </a:xfrm>
                <a:custGeom>
                  <a:avLst/>
                  <a:gdLst>
                    <a:gd name="T0" fmla="*/ 7 w 23"/>
                    <a:gd name="T1" fmla="*/ 34 h 65"/>
                    <a:gd name="T2" fmla="*/ 9 w 23"/>
                    <a:gd name="T3" fmla="*/ 33 h 65"/>
                    <a:gd name="T4" fmla="*/ 9 w 23"/>
                    <a:gd name="T5" fmla="*/ 31 h 65"/>
                    <a:gd name="T6" fmla="*/ 9 w 23"/>
                    <a:gd name="T7" fmla="*/ 29 h 65"/>
                    <a:gd name="T8" fmla="*/ 9 w 23"/>
                    <a:gd name="T9" fmla="*/ 27 h 65"/>
                    <a:gd name="T10" fmla="*/ 8 w 23"/>
                    <a:gd name="T11" fmla="*/ 25 h 65"/>
                    <a:gd name="T12" fmla="*/ 7 w 23"/>
                    <a:gd name="T13" fmla="*/ 22 h 65"/>
                    <a:gd name="T14" fmla="*/ 7 w 23"/>
                    <a:gd name="T15" fmla="*/ 19 h 65"/>
                    <a:gd name="T16" fmla="*/ 5 w 23"/>
                    <a:gd name="T17" fmla="*/ 16 h 65"/>
                    <a:gd name="T18" fmla="*/ 4 w 23"/>
                    <a:gd name="T19" fmla="*/ 13 h 65"/>
                    <a:gd name="T20" fmla="*/ 3 w 23"/>
                    <a:gd name="T21" fmla="*/ 10 h 65"/>
                    <a:gd name="T22" fmla="*/ 2 w 23"/>
                    <a:gd name="T23" fmla="*/ 8 h 65"/>
                    <a:gd name="T24" fmla="*/ 2 w 23"/>
                    <a:gd name="T25" fmla="*/ 6 h 65"/>
                    <a:gd name="T26" fmla="*/ 2 w 23"/>
                    <a:gd name="T27" fmla="*/ 4 h 65"/>
                    <a:gd name="T28" fmla="*/ 2 w 23"/>
                    <a:gd name="T29" fmla="*/ 3 h 65"/>
                    <a:gd name="T30" fmla="*/ 2 w 23"/>
                    <a:gd name="T31" fmla="*/ 3 h 65"/>
                    <a:gd name="T32" fmla="*/ 3 w 23"/>
                    <a:gd name="T33" fmla="*/ 2 h 65"/>
                    <a:gd name="T34" fmla="*/ 2 w 23"/>
                    <a:gd name="T35" fmla="*/ 0 h 65"/>
                    <a:gd name="T36" fmla="*/ 1 w 23"/>
                    <a:gd name="T37" fmla="*/ 1 h 65"/>
                    <a:gd name="T38" fmla="*/ 1 w 23"/>
                    <a:gd name="T39" fmla="*/ 3 h 65"/>
                    <a:gd name="T40" fmla="*/ 0 w 23"/>
                    <a:gd name="T41" fmla="*/ 5 h 65"/>
                    <a:gd name="T42" fmla="*/ 1 w 23"/>
                    <a:gd name="T43" fmla="*/ 7 h 65"/>
                    <a:gd name="T44" fmla="*/ 1 w 23"/>
                    <a:gd name="T45" fmla="*/ 10 h 65"/>
                    <a:gd name="T46" fmla="*/ 2 w 23"/>
                    <a:gd name="T47" fmla="*/ 12 h 65"/>
                    <a:gd name="T48" fmla="*/ 3 w 23"/>
                    <a:gd name="T49" fmla="*/ 16 h 65"/>
                    <a:gd name="T50" fmla="*/ 5 w 23"/>
                    <a:gd name="T51" fmla="*/ 18 h 65"/>
                    <a:gd name="T52" fmla="*/ 5 w 23"/>
                    <a:gd name="T53" fmla="*/ 22 h 65"/>
                    <a:gd name="T54" fmla="*/ 7 w 23"/>
                    <a:gd name="T55" fmla="*/ 25 h 65"/>
                    <a:gd name="T56" fmla="*/ 8 w 23"/>
                    <a:gd name="T57" fmla="*/ 27 h 65"/>
                    <a:gd name="T58" fmla="*/ 8 w 23"/>
                    <a:gd name="T59" fmla="*/ 29 h 65"/>
                    <a:gd name="T60" fmla="*/ 8 w 23"/>
                    <a:gd name="T61" fmla="*/ 30 h 65"/>
                    <a:gd name="T62" fmla="*/ 8 w 23"/>
                    <a:gd name="T63" fmla="*/ 31 h 65"/>
                    <a:gd name="T64" fmla="*/ 8 w 23"/>
                    <a:gd name="T65" fmla="*/ 32 h 65"/>
                    <a:gd name="T66" fmla="*/ 7 w 23"/>
                    <a:gd name="T67" fmla="*/ 34 h 65"/>
                    <a:gd name="T68" fmla="*/ 7 w 23"/>
                    <a:gd name="T69" fmla="*/ 32 h 65"/>
                    <a:gd name="T70" fmla="*/ 7 w 23"/>
                    <a:gd name="T71" fmla="*/ 32 h 65"/>
                    <a:gd name="T72" fmla="*/ 7 w 23"/>
                    <a:gd name="T73" fmla="*/ 33 h 65"/>
                    <a:gd name="T74" fmla="*/ 7 w 23"/>
                    <a:gd name="T75" fmla="*/ 33 h 65"/>
                    <a:gd name="T76" fmla="*/ 7 w 23"/>
                    <a:gd name="T77" fmla="*/ 33 h 65"/>
                    <a:gd name="T78" fmla="*/ 7 w 23"/>
                    <a:gd name="T79" fmla="*/ 33 h 65"/>
                    <a:gd name="T80" fmla="*/ 7 w 23"/>
                    <a:gd name="T81" fmla="*/ 34 h 65"/>
                    <a:gd name="T82" fmla="*/ 7 w 23"/>
                    <a:gd name="T83" fmla="*/ 34 h 65"/>
                    <a:gd name="T84" fmla="*/ 8 w 23"/>
                    <a:gd name="T85" fmla="*/ 32 h 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 h="65">
                      <a:moveTo>
                        <a:pt x="18" y="61"/>
                      </a:moveTo>
                      <a:lnTo>
                        <a:pt x="17" y="65"/>
                      </a:lnTo>
                      <a:lnTo>
                        <a:pt x="19" y="64"/>
                      </a:lnTo>
                      <a:lnTo>
                        <a:pt x="21" y="64"/>
                      </a:lnTo>
                      <a:lnTo>
                        <a:pt x="22" y="62"/>
                      </a:lnTo>
                      <a:lnTo>
                        <a:pt x="22" y="60"/>
                      </a:lnTo>
                      <a:lnTo>
                        <a:pt x="23" y="58"/>
                      </a:lnTo>
                      <a:lnTo>
                        <a:pt x="22" y="56"/>
                      </a:lnTo>
                      <a:lnTo>
                        <a:pt x="22" y="54"/>
                      </a:lnTo>
                      <a:lnTo>
                        <a:pt x="21" y="52"/>
                      </a:lnTo>
                      <a:lnTo>
                        <a:pt x="21" y="49"/>
                      </a:lnTo>
                      <a:lnTo>
                        <a:pt x="19" y="47"/>
                      </a:lnTo>
                      <a:lnTo>
                        <a:pt x="18" y="44"/>
                      </a:lnTo>
                      <a:lnTo>
                        <a:pt x="17" y="41"/>
                      </a:lnTo>
                      <a:lnTo>
                        <a:pt x="16" y="39"/>
                      </a:lnTo>
                      <a:lnTo>
                        <a:pt x="15" y="36"/>
                      </a:lnTo>
                      <a:lnTo>
                        <a:pt x="13" y="33"/>
                      </a:lnTo>
                      <a:lnTo>
                        <a:pt x="12" y="30"/>
                      </a:lnTo>
                      <a:lnTo>
                        <a:pt x="11" y="27"/>
                      </a:lnTo>
                      <a:lnTo>
                        <a:pt x="9" y="25"/>
                      </a:lnTo>
                      <a:lnTo>
                        <a:pt x="8" y="22"/>
                      </a:lnTo>
                      <a:lnTo>
                        <a:pt x="7" y="20"/>
                      </a:lnTo>
                      <a:lnTo>
                        <a:pt x="6" y="17"/>
                      </a:lnTo>
                      <a:lnTo>
                        <a:pt x="5" y="15"/>
                      </a:lnTo>
                      <a:lnTo>
                        <a:pt x="4" y="12"/>
                      </a:lnTo>
                      <a:lnTo>
                        <a:pt x="4" y="11"/>
                      </a:lnTo>
                      <a:lnTo>
                        <a:pt x="4" y="9"/>
                      </a:lnTo>
                      <a:lnTo>
                        <a:pt x="4" y="8"/>
                      </a:lnTo>
                      <a:lnTo>
                        <a:pt x="4" y="6"/>
                      </a:lnTo>
                      <a:lnTo>
                        <a:pt x="4" y="5"/>
                      </a:lnTo>
                      <a:lnTo>
                        <a:pt x="5" y="5"/>
                      </a:lnTo>
                      <a:lnTo>
                        <a:pt x="6" y="4"/>
                      </a:lnTo>
                      <a:lnTo>
                        <a:pt x="7" y="4"/>
                      </a:lnTo>
                      <a:lnTo>
                        <a:pt x="7" y="0"/>
                      </a:lnTo>
                      <a:lnTo>
                        <a:pt x="5" y="0"/>
                      </a:lnTo>
                      <a:lnTo>
                        <a:pt x="4" y="1"/>
                      </a:lnTo>
                      <a:lnTo>
                        <a:pt x="2" y="2"/>
                      </a:lnTo>
                      <a:lnTo>
                        <a:pt x="1" y="4"/>
                      </a:lnTo>
                      <a:lnTo>
                        <a:pt x="1" y="6"/>
                      </a:lnTo>
                      <a:lnTo>
                        <a:pt x="0" y="8"/>
                      </a:lnTo>
                      <a:lnTo>
                        <a:pt x="0" y="10"/>
                      </a:lnTo>
                      <a:lnTo>
                        <a:pt x="1" y="12"/>
                      </a:lnTo>
                      <a:lnTo>
                        <a:pt x="1" y="14"/>
                      </a:lnTo>
                      <a:lnTo>
                        <a:pt x="2" y="17"/>
                      </a:lnTo>
                      <a:lnTo>
                        <a:pt x="3" y="19"/>
                      </a:lnTo>
                      <a:lnTo>
                        <a:pt x="4" y="21"/>
                      </a:lnTo>
                      <a:lnTo>
                        <a:pt x="5" y="24"/>
                      </a:lnTo>
                      <a:lnTo>
                        <a:pt x="7" y="27"/>
                      </a:lnTo>
                      <a:lnTo>
                        <a:pt x="8" y="30"/>
                      </a:lnTo>
                      <a:lnTo>
                        <a:pt x="9" y="33"/>
                      </a:lnTo>
                      <a:lnTo>
                        <a:pt x="11" y="35"/>
                      </a:lnTo>
                      <a:lnTo>
                        <a:pt x="12" y="38"/>
                      </a:lnTo>
                      <a:lnTo>
                        <a:pt x="13" y="41"/>
                      </a:lnTo>
                      <a:lnTo>
                        <a:pt x="15" y="44"/>
                      </a:lnTo>
                      <a:lnTo>
                        <a:pt x="16" y="47"/>
                      </a:lnTo>
                      <a:lnTo>
                        <a:pt x="17" y="49"/>
                      </a:lnTo>
                      <a:lnTo>
                        <a:pt x="18" y="51"/>
                      </a:lnTo>
                      <a:lnTo>
                        <a:pt x="18" y="53"/>
                      </a:lnTo>
                      <a:lnTo>
                        <a:pt x="19" y="55"/>
                      </a:lnTo>
                      <a:lnTo>
                        <a:pt x="19" y="57"/>
                      </a:lnTo>
                      <a:lnTo>
                        <a:pt x="19" y="58"/>
                      </a:lnTo>
                      <a:lnTo>
                        <a:pt x="19" y="59"/>
                      </a:lnTo>
                      <a:lnTo>
                        <a:pt x="19" y="60"/>
                      </a:lnTo>
                      <a:lnTo>
                        <a:pt x="18" y="61"/>
                      </a:lnTo>
                      <a:lnTo>
                        <a:pt x="17" y="61"/>
                      </a:lnTo>
                      <a:lnTo>
                        <a:pt x="17" y="65"/>
                      </a:lnTo>
                      <a:lnTo>
                        <a:pt x="17" y="61"/>
                      </a:lnTo>
                      <a:lnTo>
                        <a:pt x="16" y="61"/>
                      </a:lnTo>
                      <a:lnTo>
                        <a:pt x="16" y="62"/>
                      </a:lnTo>
                      <a:lnTo>
                        <a:pt x="16" y="63"/>
                      </a:lnTo>
                      <a:lnTo>
                        <a:pt x="16" y="64"/>
                      </a:lnTo>
                      <a:lnTo>
                        <a:pt x="17" y="65"/>
                      </a:lnTo>
                      <a:lnTo>
                        <a:pt x="18"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5" name="Freeform 827">
                  <a:extLst>
                    <a:ext uri="{FF2B5EF4-FFF2-40B4-BE49-F238E27FC236}">
                      <a16:creationId xmlns:a16="http://schemas.microsoft.com/office/drawing/2014/main" id="{B1025714-C328-8228-D9E1-6D0F5DFFEA9F}"/>
                    </a:ext>
                  </a:extLst>
                </p:cNvPr>
                <p:cNvSpPr>
                  <a:spLocks/>
                </p:cNvSpPr>
                <p:nvPr/>
              </p:nvSpPr>
              <p:spPr bwMode="auto">
                <a:xfrm>
                  <a:off x="960" y="2137"/>
                  <a:ext cx="21" cy="14"/>
                </a:xfrm>
                <a:custGeom>
                  <a:avLst/>
                  <a:gdLst>
                    <a:gd name="T0" fmla="*/ 13 w 30"/>
                    <a:gd name="T1" fmla="*/ 1 h 21"/>
                    <a:gd name="T2" fmla="*/ 13 w 30"/>
                    <a:gd name="T3" fmla="*/ 3 h 21"/>
                    <a:gd name="T4" fmla="*/ 13 w 30"/>
                    <a:gd name="T5" fmla="*/ 4 h 21"/>
                    <a:gd name="T6" fmla="*/ 12 w 30"/>
                    <a:gd name="T7" fmla="*/ 5 h 21"/>
                    <a:gd name="T8" fmla="*/ 11 w 30"/>
                    <a:gd name="T9" fmla="*/ 6 h 21"/>
                    <a:gd name="T10" fmla="*/ 11 w 30"/>
                    <a:gd name="T11" fmla="*/ 7 h 21"/>
                    <a:gd name="T12" fmla="*/ 11 w 30"/>
                    <a:gd name="T13" fmla="*/ 7 h 21"/>
                    <a:gd name="T14" fmla="*/ 10 w 30"/>
                    <a:gd name="T15" fmla="*/ 7 h 21"/>
                    <a:gd name="T16" fmla="*/ 9 w 30"/>
                    <a:gd name="T17" fmla="*/ 7 h 21"/>
                    <a:gd name="T18" fmla="*/ 8 w 30"/>
                    <a:gd name="T19" fmla="*/ 7 h 21"/>
                    <a:gd name="T20" fmla="*/ 8 w 30"/>
                    <a:gd name="T21" fmla="*/ 7 h 21"/>
                    <a:gd name="T22" fmla="*/ 7 w 30"/>
                    <a:gd name="T23" fmla="*/ 7 h 21"/>
                    <a:gd name="T24" fmla="*/ 6 w 30"/>
                    <a:gd name="T25" fmla="*/ 7 h 21"/>
                    <a:gd name="T26" fmla="*/ 5 w 30"/>
                    <a:gd name="T27" fmla="*/ 7 h 21"/>
                    <a:gd name="T28" fmla="*/ 4 w 30"/>
                    <a:gd name="T29" fmla="*/ 7 h 21"/>
                    <a:gd name="T30" fmla="*/ 2 w 30"/>
                    <a:gd name="T31" fmla="*/ 6 h 21"/>
                    <a:gd name="T32" fmla="*/ 1 w 30"/>
                    <a:gd name="T33" fmla="*/ 6 h 21"/>
                    <a:gd name="T34" fmla="*/ 1 w 30"/>
                    <a:gd name="T35" fmla="*/ 7 h 21"/>
                    <a:gd name="T36" fmla="*/ 3 w 30"/>
                    <a:gd name="T37" fmla="*/ 8 h 21"/>
                    <a:gd name="T38" fmla="*/ 4 w 30"/>
                    <a:gd name="T39" fmla="*/ 9 h 21"/>
                    <a:gd name="T40" fmla="*/ 5 w 30"/>
                    <a:gd name="T41" fmla="*/ 9 h 21"/>
                    <a:gd name="T42" fmla="*/ 6 w 30"/>
                    <a:gd name="T43" fmla="*/ 9 h 21"/>
                    <a:gd name="T44" fmla="*/ 8 w 30"/>
                    <a:gd name="T45" fmla="*/ 9 h 21"/>
                    <a:gd name="T46" fmla="*/ 8 w 30"/>
                    <a:gd name="T47" fmla="*/ 9 h 21"/>
                    <a:gd name="T48" fmla="*/ 9 w 30"/>
                    <a:gd name="T49" fmla="*/ 9 h 21"/>
                    <a:gd name="T50" fmla="*/ 11 w 30"/>
                    <a:gd name="T51" fmla="*/ 9 h 21"/>
                    <a:gd name="T52" fmla="*/ 11 w 30"/>
                    <a:gd name="T53" fmla="*/ 9 h 21"/>
                    <a:gd name="T54" fmla="*/ 12 w 30"/>
                    <a:gd name="T55" fmla="*/ 8 h 21"/>
                    <a:gd name="T56" fmla="*/ 13 w 30"/>
                    <a:gd name="T57" fmla="*/ 7 h 21"/>
                    <a:gd name="T58" fmla="*/ 13 w 30"/>
                    <a:gd name="T59" fmla="*/ 6 h 21"/>
                    <a:gd name="T60" fmla="*/ 13 w 30"/>
                    <a:gd name="T61" fmla="*/ 5 h 21"/>
                    <a:gd name="T62" fmla="*/ 14 w 30"/>
                    <a:gd name="T63" fmla="*/ 4 h 21"/>
                    <a:gd name="T64" fmla="*/ 14 w 30"/>
                    <a:gd name="T65" fmla="*/ 2 h 21"/>
                    <a:gd name="T66" fmla="*/ 13 w 30"/>
                    <a:gd name="T67" fmla="*/ 2 h 21"/>
                    <a:gd name="T68" fmla="*/ 15 w 30"/>
                    <a:gd name="T69" fmla="*/ 1 h 21"/>
                    <a:gd name="T70" fmla="*/ 15 w 30"/>
                    <a:gd name="T71" fmla="*/ 1 h 21"/>
                    <a:gd name="T72" fmla="*/ 15 w 30"/>
                    <a:gd name="T73" fmla="*/ 1 h 21"/>
                    <a:gd name="T74" fmla="*/ 14 w 30"/>
                    <a:gd name="T75" fmla="*/ 1 h 21"/>
                    <a:gd name="T76" fmla="*/ 14 w 30"/>
                    <a:gd name="T77" fmla="*/ 1 h 21"/>
                    <a:gd name="T78" fmla="*/ 14 w 30"/>
                    <a:gd name="T79" fmla="*/ 0 h 21"/>
                    <a:gd name="T80" fmla="*/ 14 w 30"/>
                    <a:gd name="T81" fmla="*/ 1 h 21"/>
                    <a:gd name="T82" fmla="*/ 13 w 30"/>
                    <a:gd name="T83" fmla="*/ 1 h 21"/>
                    <a:gd name="T84" fmla="*/ 13 w 30"/>
                    <a:gd name="T85" fmla="*/ 1 h 21"/>
                    <a:gd name="T86" fmla="*/ 14 w 30"/>
                    <a:gd name="T87" fmla="*/ 1 h 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0" h="21">
                      <a:moveTo>
                        <a:pt x="29" y="1"/>
                      </a:moveTo>
                      <a:lnTo>
                        <a:pt x="27" y="1"/>
                      </a:lnTo>
                      <a:lnTo>
                        <a:pt x="26" y="4"/>
                      </a:lnTo>
                      <a:lnTo>
                        <a:pt x="26" y="6"/>
                      </a:lnTo>
                      <a:lnTo>
                        <a:pt x="26" y="7"/>
                      </a:lnTo>
                      <a:lnTo>
                        <a:pt x="25" y="9"/>
                      </a:lnTo>
                      <a:lnTo>
                        <a:pt x="24" y="10"/>
                      </a:lnTo>
                      <a:lnTo>
                        <a:pt x="24" y="11"/>
                      </a:lnTo>
                      <a:lnTo>
                        <a:pt x="24" y="12"/>
                      </a:lnTo>
                      <a:lnTo>
                        <a:pt x="23" y="13"/>
                      </a:lnTo>
                      <a:lnTo>
                        <a:pt x="22" y="13"/>
                      </a:lnTo>
                      <a:lnTo>
                        <a:pt x="22" y="15"/>
                      </a:lnTo>
                      <a:lnTo>
                        <a:pt x="21" y="15"/>
                      </a:lnTo>
                      <a:lnTo>
                        <a:pt x="21" y="16"/>
                      </a:lnTo>
                      <a:lnTo>
                        <a:pt x="20" y="16"/>
                      </a:lnTo>
                      <a:lnTo>
                        <a:pt x="19" y="17"/>
                      </a:lnTo>
                      <a:lnTo>
                        <a:pt x="18" y="17"/>
                      </a:lnTo>
                      <a:lnTo>
                        <a:pt x="17" y="17"/>
                      </a:lnTo>
                      <a:lnTo>
                        <a:pt x="16" y="17"/>
                      </a:lnTo>
                      <a:lnTo>
                        <a:pt x="15" y="17"/>
                      </a:lnTo>
                      <a:lnTo>
                        <a:pt x="14" y="17"/>
                      </a:lnTo>
                      <a:lnTo>
                        <a:pt x="13" y="17"/>
                      </a:lnTo>
                      <a:lnTo>
                        <a:pt x="12" y="17"/>
                      </a:lnTo>
                      <a:lnTo>
                        <a:pt x="11" y="16"/>
                      </a:lnTo>
                      <a:lnTo>
                        <a:pt x="10" y="15"/>
                      </a:lnTo>
                      <a:lnTo>
                        <a:pt x="8" y="15"/>
                      </a:lnTo>
                      <a:lnTo>
                        <a:pt x="7" y="15"/>
                      </a:lnTo>
                      <a:lnTo>
                        <a:pt x="6" y="15"/>
                      </a:lnTo>
                      <a:lnTo>
                        <a:pt x="4" y="14"/>
                      </a:lnTo>
                      <a:lnTo>
                        <a:pt x="3" y="13"/>
                      </a:lnTo>
                      <a:lnTo>
                        <a:pt x="1" y="13"/>
                      </a:lnTo>
                      <a:lnTo>
                        <a:pt x="0" y="17"/>
                      </a:lnTo>
                      <a:lnTo>
                        <a:pt x="2" y="17"/>
                      </a:lnTo>
                      <a:lnTo>
                        <a:pt x="4" y="18"/>
                      </a:lnTo>
                      <a:lnTo>
                        <a:pt x="5" y="18"/>
                      </a:lnTo>
                      <a:lnTo>
                        <a:pt x="6" y="19"/>
                      </a:lnTo>
                      <a:lnTo>
                        <a:pt x="7" y="19"/>
                      </a:lnTo>
                      <a:lnTo>
                        <a:pt x="9" y="20"/>
                      </a:lnTo>
                      <a:lnTo>
                        <a:pt x="10" y="20"/>
                      </a:lnTo>
                      <a:lnTo>
                        <a:pt x="11" y="21"/>
                      </a:lnTo>
                      <a:lnTo>
                        <a:pt x="12" y="21"/>
                      </a:lnTo>
                      <a:lnTo>
                        <a:pt x="13" y="21"/>
                      </a:lnTo>
                      <a:lnTo>
                        <a:pt x="15" y="21"/>
                      </a:lnTo>
                      <a:lnTo>
                        <a:pt x="16" y="21"/>
                      </a:lnTo>
                      <a:lnTo>
                        <a:pt x="17" y="21"/>
                      </a:lnTo>
                      <a:lnTo>
                        <a:pt x="18" y="21"/>
                      </a:lnTo>
                      <a:lnTo>
                        <a:pt x="19" y="21"/>
                      </a:lnTo>
                      <a:lnTo>
                        <a:pt x="21" y="21"/>
                      </a:lnTo>
                      <a:lnTo>
                        <a:pt x="21" y="20"/>
                      </a:lnTo>
                      <a:lnTo>
                        <a:pt x="22" y="19"/>
                      </a:lnTo>
                      <a:lnTo>
                        <a:pt x="23" y="19"/>
                      </a:lnTo>
                      <a:lnTo>
                        <a:pt x="24" y="18"/>
                      </a:lnTo>
                      <a:lnTo>
                        <a:pt x="24" y="17"/>
                      </a:lnTo>
                      <a:lnTo>
                        <a:pt x="25" y="16"/>
                      </a:lnTo>
                      <a:lnTo>
                        <a:pt x="26" y="15"/>
                      </a:lnTo>
                      <a:lnTo>
                        <a:pt x="26" y="14"/>
                      </a:lnTo>
                      <a:lnTo>
                        <a:pt x="27" y="13"/>
                      </a:lnTo>
                      <a:lnTo>
                        <a:pt x="27" y="11"/>
                      </a:lnTo>
                      <a:lnTo>
                        <a:pt x="28" y="10"/>
                      </a:lnTo>
                      <a:lnTo>
                        <a:pt x="29" y="9"/>
                      </a:lnTo>
                      <a:lnTo>
                        <a:pt x="29" y="7"/>
                      </a:lnTo>
                      <a:lnTo>
                        <a:pt x="29" y="5"/>
                      </a:lnTo>
                      <a:lnTo>
                        <a:pt x="30" y="3"/>
                      </a:lnTo>
                      <a:lnTo>
                        <a:pt x="27" y="4"/>
                      </a:lnTo>
                      <a:lnTo>
                        <a:pt x="30" y="3"/>
                      </a:lnTo>
                      <a:lnTo>
                        <a:pt x="30" y="1"/>
                      </a:lnTo>
                      <a:lnTo>
                        <a:pt x="29" y="1"/>
                      </a:lnTo>
                      <a:lnTo>
                        <a:pt x="29" y="0"/>
                      </a:lnTo>
                      <a:lnTo>
                        <a:pt x="28" y="0"/>
                      </a:lnTo>
                      <a:lnTo>
                        <a:pt x="28" y="1"/>
                      </a:lnTo>
                      <a:lnTo>
                        <a:pt x="27" y="1"/>
                      </a:lnTo>
                      <a:lnTo>
                        <a:pt x="2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6" name="Freeform 828">
                  <a:extLst>
                    <a:ext uri="{FF2B5EF4-FFF2-40B4-BE49-F238E27FC236}">
                      <a16:creationId xmlns:a16="http://schemas.microsoft.com/office/drawing/2014/main" id="{01103AA2-E72C-4080-C10E-066FC466BBE4}"/>
                    </a:ext>
                  </a:extLst>
                </p:cNvPr>
                <p:cNvSpPr>
                  <a:spLocks/>
                </p:cNvSpPr>
                <p:nvPr/>
              </p:nvSpPr>
              <p:spPr bwMode="auto">
                <a:xfrm>
                  <a:off x="972" y="2137"/>
                  <a:ext cx="38" cy="33"/>
                </a:xfrm>
                <a:custGeom>
                  <a:avLst/>
                  <a:gdLst>
                    <a:gd name="T0" fmla="*/ 3 w 53"/>
                    <a:gd name="T1" fmla="*/ 18 h 47"/>
                    <a:gd name="T2" fmla="*/ 7 w 53"/>
                    <a:gd name="T3" fmla="*/ 18 h 47"/>
                    <a:gd name="T4" fmla="*/ 11 w 53"/>
                    <a:gd name="T5" fmla="*/ 18 h 47"/>
                    <a:gd name="T6" fmla="*/ 16 w 53"/>
                    <a:gd name="T7" fmla="*/ 19 h 47"/>
                    <a:gd name="T8" fmla="*/ 19 w 53"/>
                    <a:gd name="T9" fmla="*/ 19 h 47"/>
                    <a:gd name="T10" fmla="*/ 22 w 53"/>
                    <a:gd name="T11" fmla="*/ 20 h 47"/>
                    <a:gd name="T12" fmla="*/ 24 w 53"/>
                    <a:gd name="T13" fmla="*/ 22 h 47"/>
                    <a:gd name="T14" fmla="*/ 25 w 53"/>
                    <a:gd name="T15" fmla="*/ 22 h 47"/>
                    <a:gd name="T16" fmla="*/ 27 w 53"/>
                    <a:gd name="T17" fmla="*/ 23 h 47"/>
                    <a:gd name="T18" fmla="*/ 27 w 53"/>
                    <a:gd name="T19" fmla="*/ 21 h 47"/>
                    <a:gd name="T20" fmla="*/ 27 w 53"/>
                    <a:gd name="T21" fmla="*/ 20 h 47"/>
                    <a:gd name="T22" fmla="*/ 25 w 53"/>
                    <a:gd name="T23" fmla="*/ 19 h 47"/>
                    <a:gd name="T24" fmla="*/ 23 w 53"/>
                    <a:gd name="T25" fmla="*/ 17 h 47"/>
                    <a:gd name="T26" fmla="*/ 19 w 53"/>
                    <a:gd name="T27" fmla="*/ 14 h 47"/>
                    <a:gd name="T28" fmla="*/ 15 w 53"/>
                    <a:gd name="T29" fmla="*/ 9 h 47"/>
                    <a:gd name="T30" fmla="*/ 9 w 53"/>
                    <a:gd name="T31" fmla="*/ 3 h 47"/>
                    <a:gd name="T32" fmla="*/ 4 w 53"/>
                    <a:gd name="T33" fmla="*/ 1 h 47"/>
                    <a:gd name="T34" fmla="*/ 11 w 53"/>
                    <a:gd name="T35" fmla="*/ 8 h 47"/>
                    <a:gd name="T36" fmla="*/ 16 w 53"/>
                    <a:gd name="T37" fmla="*/ 13 h 47"/>
                    <a:gd name="T38" fmla="*/ 20 w 53"/>
                    <a:gd name="T39" fmla="*/ 18 h 47"/>
                    <a:gd name="T40" fmla="*/ 23 w 53"/>
                    <a:gd name="T41" fmla="*/ 20 h 47"/>
                    <a:gd name="T42" fmla="*/ 25 w 53"/>
                    <a:gd name="T43" fmla="*/ 22 h 47"/>
                    <a:gd name="T44" fmla="*/ 27 w 53"/>
                    <a:gd name="T45" fmla="*/ 22 h 47"/>
                    <a:gd name="T46" fmla="*/ 27 w 53"/>
                    <a:gd name="T47" fmla="*/ 21 h 47"/>
                    <a:gd name="T48" fmla="*/ 27 w 53"/>
                    <a:gd name="T49" fmla="*/ 21 h 47"/>
                    <a:gd name="T50" fmla="*/ 25 w 53"/>
                    <a:gd name="T51" fmla="*/ 20 h 47"/>
                    <a:gd name="T52" fmla="*/ 23 w 53"/>
                    <a:gd name="T53" fmla="*/ 19 h 47"/>
                    <a:gd name="T54" fmla="*/ 21 w 53"/>
                    <a:gd name="T55" fmla="*/ 18 h 47"/>
                    <a:gd name="T56" fmla="*/ 17 w 53"/>
                    <a:gd name="T57" fmla="*/ 17 h 47"/>
                    <a:gd name="T58" fmla="*/ 14 w 53"/>
                    <a:gd name="T59" fmla="*/ 16 h 47"/>
                    <a:gd name="T60" fmla="*/ 10 w 53"/>
                    <a:gd name="T61" fmla="*/ 15 h 47"/>
                    <a:gd name="T62" fmla="*/ 5 w 53"/>
                    <a:gd name="T63" fmla="*/ 15 h 47"/>
                    <a:gd name="T64" fmla="*/ 1 w 53"/>
                    <a:gd name="T65" fmla="*/ 17 h 47"/>
                    <a:gd name="T66" fmla="*/ 0 w 53"/>
                    <a:gd name="T67" fmla="*/ 17 h 47"/>
                    <a:gd name="T68" fmla="*/ 0 w 53"/>
                    <a:gd name="T69" fmla="*/ 18 h 47"/>
                    <a:gd name="T70" fmla="*/ 0 w 53"/>
                    <a:gd name="T71" fmla="*/ 18 h 47"/>
                    <a:gd name="T72" fmla="*/ 0 w 53"/>
                    <a:gd name="T73" fmla="*/ 18 h 47"/>
                    <a:gd name="T74" fmla="*/ 0 w 53"/>
                    <a:gd name="T75" fmla="*/ 19 h 47"/>
                    <a:gd name="T76" fmla="*/ 1 w 53"/>
                    <a:gd name="T77" fmla="*/ 19 h 47"/>
                    <a:gd name="T78" fmla="*/ 1 w 53"/>
                    <a:gd name="T79" fmla="*/ 19 h 47"/>
                    <a:gd name="T80" fmla="*/ 1 w 53"/>
                    <a:gd name="T81" fmla="*/ 19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3" h="47">
                      <a:moveTo>
                        <a:pt x="1" y="38"/>
                      </a:moveTo>
                      <a:lnTo>
                        <a:pt x="6" y="37"/>
                      </a:lnTo>
                      <a:lnTo>
                        <a:pt x="11" y="36"/>
                      </a:lnTo>
                      <a:lnTo>
                        <a:pt x="14" y="36"/>
                      </a:lnTo>
                      <a:lnTo>
                        <a:pt x="19" y="36"/>
                      </a:lnTo>
                      <a:lnTo>
                        <a:pt x="23" y="36"/>
                      </a:lnTo>
                      <a:lnTo>
                        <a:pt x="27" y="37"/>
                      </a:lnTo>
                      <a:lnTo>
                        <a:pt x="30" y="38"/>
                      </a:lnTo>
                      <a:lnTo>
                        <a:pt x="34" y="39"/>
                      </a:lnTo>
                      <a:lnTo>
                        <a:pt x="37" y="39"/>
                      </a:lnTo>
                      <a:lnTo>
                        <a:pt x="39" y="41"/>
                      </a:lnTo>
                      <a:lnTo>
                        <a:pt x="42" y="42"/>
                      </a:lnTo>
                      <a:lnTo>
                        <a:pt x="44" y="43"/>
                      </a:lnTo>
                      <a:lnTo>
                        <a:pt x="46" y="44"/>
                      </a:lnTo>
                      <a:lnTo>
                        <a:pt x="48" y="44"/>
                      </a:lnTo>
                      <a:lnTo>
                        <a:pt x="49" y="45"/>
                      </a:lnTo>
                      <a:lnTo>
                        <a:pt x="51" y="46"/>
                      </a:lnTo>
                      <a:lnTo>
                        <a:pt x="51" y="47"/>
                      </a:lnTo>
                      <a:lnTo>
                        <a:pt x="52" y="47"/>
                      </a:lnTo>
                      <a:lnTo>
                        <a:pt x="53" y="43"/>
                      </a:lnTo>
                      <a:lnTo>
                        <a:pt x="52" y="42"/>
                      </a:lnTo>
                      <a:lnTo>
                        <a:pt x="51" y="41"/>
                      </a:lnTo>
                      <a:lnTo>
                        <a:pt x="49" y="39"/>
                      </a:lnTo>
                      <a:lnTo>
                        <a:pt x="47" y="37"/>
                      </a:lnTo>
                      <a:lnTo>
                        <a:pt x="44" y="34"/>
                      </a:lnTo>
                      <a:lnTo>
                        <a:pt x="41" y="32"/>
                      </a:lnTo>
                      <a:lnTo>
                        <a:pt x="38" y="28"/>
                      </a:lnTo>
                      <a:lnTo>
                        <a:pt x="34" y="24"/>
                      </a:lnTo>
                      <a:lnTo>
                        <a:pt x="29" y="19"/>
                      </a:lnTo>
                      <a:lnTo>
                        <a:pt x="24" y="14"/>
                      </a:lnTo>
                      <a:lnTo>
                        <a:pt x="18" y="6"/>
                      </a:lnTo>
                      <a:lnTo>
                        <a:pt x="12" y="0"/>
                      </a:lnTo>
                      <a:lnTo>
                        <a:pt x="9" y="2"/>
                      </a:lnTo>
                      <a:lnTo>
                        <a:pt x="16" y="10"/>
                      </a:lnTo>
                      <a:lnTo>
                        <a:pt x="22" y="17"/>
                      </a:lnTo>
                      <a:lnTo>
                        <a:pt x="27" y="22"/>
                      </a:lnTo>
                      <a:lnTo>
                        <a:pt x="31" y="27"/>
                      </a:lnTo>
                      <a:lnTo>
                        <a:pt x="36" y="31"/>
                      </a:lnTo>
                      <a:lnTo>
                        <a:pt x="39" y="35"/>
                      </a:lnTo>
                      <a:lnTo>
                        <a:pt x="42" y="38"/>
                      </a:lnTo>
                      <a:lnTo>
                        <a:pt x="45" y="41"/>
                      </a:lnTo>
                      <a:lnTo>
                        <a:pt x="47" y="43"/>
                      </a:lnTo>
                      <a:lnTo>
                        <a:pt x="49" y="44"/>
                      </a:lnTo>
                      <a:lnTo>
                        <a:pt x="50" y="45"/>
                      </a:lnTo>
                      <a:lnTo>
                        <a:pt x="51" y="46"/>
                      </a:lnTo>
                      <a:lnTo>
                        <a:pt x="51" y="47"/>
                      </a:lnTo>
                      <a:lnTo>
                        <a:pt x="53" y="43"/>
                      </a:lnTo>
                      <a:lnTo>
                        <a:pt x="52" y="43"/>
                      </a:lnTo>
                      <a:lnTo>
                        <a:pt x="51" y="42"/>
                      </a:lnTo>
                      <a:lnTo>
                        <a:pt x="49" y="41"/>
                      </a:lnTo>
                      <a:lnTo>
                        <a:pt x="48" y="40"/>
                      </a:lnTo>
                      <a:lnTo>
                        <a:pt x="45" y="39"/>
                      </a:lnTo>
                      <a:lnTo>
                        <a:pt x="43" y="38"/>
                      </a:lnTo>
                      <a:lnTo>
                        <a:pt x="40" y="36"/>
                      </a:lnTo>
                      <a:lnTo>
                        <a:pt x="37" y="36"/>
                      </a:lnTo>
                      <a:lnTo>
                        <a:pt x="34" y="34"/>
                      </a:lnTo>
                      <a:lnTo>
                        <a:pt x="31" y="34"/>
                      </a:lnTo>
                      <a:lnTo>
                        <a:pt x="27" y="33"/>
                      </a:lnTo>
                      <a:lnTo>
                        <a:pt x="23" y="32"/>
                      </a:lnTo>
                      <a:lnTo>
                        <a:pt x="19" y="32"/>
                      </a:lnTo>
                      <a:lnTo>
                        <a:pt x="14" y="32"/>
                      </a:lnTo>
                      <a:lnTo>
                        <a:pt x="10" y="32"/>
                      </a:lnTo>
                      <a:lnTo>
                        <a:pt x="5" y="34"/>
                      </a:lnTo>
                      <a:lnTo>
                        <a:pt x="1" y="34"/>
                      </a:lnTo>
                      <a:lnTo>
                        <a:pt x="0" y="34"/>
                      </a:lnTo>
                      <a:lnTo>
                        <a:pt x="0" y="35"/>
                      </a:lnTo>
                      <a:lnTo>
                        <a:pt x="0" y="36"/>
                      </a:lnTo>
                      <a:lnTo>
                        <a:pt x="0" y="37"/>
                      </a:lnTo>
                      <a:lnTo>
                        <a:pt x="0" y="38"/>
                      </a:lnTo>
                      <a:lnTo>
                        <a:pt x="1" y="38"/>
                      </a:lnTo>
                      <a:lnTo>
                        <a:pt x="1" y="39"/>
                      </a:lnTo>
                      <a:lnTo>
                        <a:pt x="1"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7" name="Freeform 829">
                  <a:extLst>
                    <a:ext uri="{FF2B5EF4-FFF2-40B4-BE49-F238E27FC236}">
                      <a16:creationId xmlns:a16="http://schemas.microsoft.com/office/drawing/2014/main" id="{5563AB7D-DB45-F58A-9A8C-455901D9BA70}"/>
                    </a:ext>
                  </a:extLst>
                </p:cNvPr>
                <p:cNvSpPr>
                  <a:spLocks/>
                </p:cNvSpPr>
                <p:nvPr/>
              </p:nvSpPr>
              <p:spPr bwMode="auto">
                <a:xfrm>
                  <a:off x="947" y="2162"/>
                  <a:ext cx="26" cy="56"/>
                </a:xfrm>
                <a:custGeom>
                  <a:avLst/>
                  <a:gdLst>
                    <a:gd name="T0" fmla="*/ 1 w 38"/>
                    <a:gd name="T1" fmla="*/ 39 h 78"/>
                    <a:gd name="T2" fmla="*/ 1 w 38"/>
                    <a:gd name="T3" fmla="*/ 39 h 78"/>
                    <a:gd name="T4" fmla="*/ 3 w 38"/>
                    <a:gd name="T5" fmla="*/ 39 h 78"/>
                    <a:gd name="T6" fmla="*/ 4 w 38"/>
                    <a:gd name="T7" fmla="*/ 39 h 78"/>
                    <a:gd name="T8" fmla="*/ 5 w 38"/>
                    <a:gd name="T9" fmla="*/ 37 h 78"/>
                    <a:gd name="T10" fmla="*/ 6 w 38"/>
                    <a:gd name="T11" fmla="*/ 34 h 78"/>
                    <a:gd name="T12" fmla="*/ 7 w 38"/>
                    <a:gd name="T13" fmla="*/ 32 h 78"/>
                    <a:gd name="T14" fmla="*/ 8 w 38"/>
                    <a:gd name="T15" fmla="*/ 28 h 78"/>
                    <a:gd name="T16" fmla="*/ 8 w 38"/>
                    <a:gd name="T17" fmla="*/ 24 h 78"/>
                    <a:gd name="T18" fmla="*/ 9 w 38"/>
                    <a:gd name="T19" fmla="*/ 21 h 78"/>
                    <a:gd name="T20" fmla="*/ 10 w 38"/>
                    <a:gd name="T21" fmla="*/ 17 h 78"/>
                    <a:gd name="T22" fmla="*/ 11 w 38"/>
                    <a:gd name="T23" fmla="*/ 14 h 78"/>
                    <a:gd name="T24" fmla="*/ 12 w 38"/>
                    <a:gd name="T25" fmla="*/ 10 h 78"/>
                    <a:gd name="T26" fmla="*/ 13 w 38"/>
                    <a:gd name="T27" fmla="*/ 7 h 78"/>
                    <a:gd name="T28" fmla="*/ 14 w 38"/>
                    <a:gd name="T29" fmla="*/ 4 h 78"/>
                    <a:gd name="T30" fmla="*/ 16 w 38"/>
                    <a:gd name="T31" fmla="*/ 3 h 78"/>
                    <a:gd name="T32" fmla="*/ 18 w 38"/>
                    <a:gd name="T33" fmla="*/ 1 h 78"/>
                    <a:gd name="T34" fmla="*/ 16 w 38"/>
                    <a:gd name="T35" fmla="*/ 1 h 78"/>
                    <a:gd name="T36" fmla="*/ 14 w 38"/>
                    <a:gd name="T37" fmla="*/ 2 h 78"/>
                    <a:gd name="T38" fmla="*/ 12 w 38"/>
                    <a:gd name="T39" fmla="*/ 4 h 78"/>
                    <a:gd name="T40" fmla="*/ 11 w 38"/>
                    <a:gd name="T41" fmla="*/ 7 h 78"/>
                    <a:gd name="T42" fmla="*/ 10 w 38"/>
                    <a:gd name="T43" fmla="*/ 11 h 78"/>
                    <a:gd name="T44" fmla="*/ 9 w 38"/>
                    <a:gd name="T45" fmla="*/ 14 h 78"/>
                    <a:gd name="T46" fmla="*/ 8 w 38"/>
                    <a:gd name="T47" fmla="*/ 18 h 78"/>
                    <a:gd name="T48" fmla="*/ 7 w 38"/>
                    <a:gd name="T49" fmla="*/ 22 h 78"/>
                    <a:gd name="T50" fmla="*/ 7 w 38"/>
                    <a:gd name="T51" fmla="*/ 26 h 78"/>
                    <a:gd name="T52" fmla="*/ 5 w 38"/>
                    <a:gd name="T53" fmla="*/ 29 h 78"/>
                    <a:gd name="T54" fmla="*/ 5 w 38"/>
                    <a:gd name="T55" fmla="*/ 32 h 78"/>
                    <a:gd name="T56" fmla="*/ 4 w 38"/>
                    <a:gd name="T57" fmla="*/ 35 h 78"/>
                    <a:gd name="T58" fmla="*/ 3 w 38"/>
                    <a:gd name="T59" fmla="*/ 37 h 78"/>
                    <a:gd name="T60" fmla="*/ 3 w 38"/>
                    <a:gd name="T61" fmla="*/ 37 h 78"/>
                    <a:gd name="T62" fmla="*/ 2 w 38"/>
                    <a:gd name="T63" fmla="*/ 38 h 78"/>
                    <a:gd name="T64" fmla="*/ 2 w 38"/>
                    <a:gd name="T65" fmla="*/ 37 h 78"/>
                    <a:gd name="T66" fmla="*/ 1 w 38"/>
                    <a:gd name="T67" fmla="*/ 37 h 78"/>
                    <a:gd name="T68" fmla="*/ 1 w 38"/>
                    <a:gd name="T69" fmla="*/ 37 h 78"/>
                    <a:gd name="T70" fmla="*/ 1 w 38"/>
                    <a:gd name="T71" fmla="*/ 37 h 78"/>
                    <a:gd name="T72" fmla="*/ 1 w 38"/>
                    <a:gd name="T73" fmla="*/ 37 h 78"/>
                    <a:gd name="T74" fmla="*/ 1 w 38"/>
                    <a:gd name="T75" fmla="*/ 37 h 78"/>
                    <a:gd name="T76" fmla="*/ 0 w 38"/>
                    <a:gd name="T77" fmla="*/ 37 h 78"/>
                    <a:gd name="T78" fmla="*/ 0 w 38"/>
                    <a:gd name="T79" fmla="*/ 37 h 78"/>
                    <a:gd name="T80" fmla="*/ 0 w 38"/>
                    <a:gd name="T81" fmla="*/ 38 h 78"/>
                    <a:gd name="T82" fmla="*/ 1 w 38"/>
                    <a:gd name="T83" fmla="*/ 39 h 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 h="78">
                      <a:moveTo>
                        <a:pt x="2" y="75"/>
                      </a:moveTo>
                      <a:lnTo>
                        <a:pt x="1" y="75"/>
                      </a:lnTo>
                      <a:lnTo>
                        <a:pt x="2" y="76"/>
                      </a:lnTo>
                      <a:lnTo>
                        <a:pt x="3" y="77"/>
                      </a:lnTo>
                      <a:lnTo>
                        <a:pt x="5" y="78"/>
                      </a:lnTo>
                      <a:lnTo>
                        <a:pt x="7" y="77"/>
                      </a:lnTo>
                      <a:lnTo>
                        <a:pt x="8" y="77"/>
                      </a:lnTo>
                      <a:lnTo>
                        <a:pt x="9" y="75"/>
                      </a:lnTo>
                      <a:lnTo>
                        <a:pt x="10" y="73"/>
                      </a:lnTo>
                      <a:lnTo>
                        <a:pt x="11" y="71"/>
                      </a:lnTo>
                      <a:lnTo>
                        <a:pt x="12" y="69"/>
                      </a:lnTo>
                      <a:lnTo>
                        <a:pt x="13" y="67"/>
                      </a:lnTo>
                      <a:lnTo>
                        <a:pt x="14" y="64"/>
                      </a:lnTo>
                      <a:lnTo>
                        <a:pt x="14" y="61"/>
                      </a:lnTo>
                      <a:lnTo>
                        <a:pt x="15" y="58"/>
                      </a:lnTo>
                      <a:lnTo>
                        <a:pt x="16" y="54"/>
                      </a:lnTo>
                      <a:lnTo>
                        <a:pt x="16" y="51"/>
                      </a:lnTo>
                      <a:lnTo>
                        <a:pt x="18" y="47"/>
                      </a:lnTo>
                      <a:lnTo>
                        <a:pt x="18" y="44"/>
                      </a:lnTo>
                      <a:lnTo>
                        <a:pt x="19" y="40"/>
                      </a:lnTo>
                      <a:lnTo>
                        <a:pt x="20" y="36"/>
                      </a:lnTo>
                      <a:lnTo>
                        <a:pt x="21" y="33"/>
                      </a:lnTo>
                      <a:lnTo>
                        <a:pt x="22" y="29"/>
                      </a:lnTo>
                      <a:lnTo>
                        <a:pt x="23" y="26"/>
                      </a:lnTo>
                      <a:lnTo>
                        <a:pt x="24" y="22"/>
                      </a:lnTo>
                      <a:lnTo>
                        <a:pt x="25" y="19"/>
                      </a:lnTo>
                      <a:lnTo>
                        <a:pt x="26" y="16"/>
                      </a:lnTo>
                      <a:lnTo>
                        <a:pt x="28" y="14"/>
                      </a:lnTo>
                      <a:lnTo>
                        <a:pt x="30" y="11"/>
                      </a:lnTo>
                      <a:lnTo>
                        <a:pt x="31" y="9"/>
                      </a:lnTo>
                      <a:lnTo>
                        <a:pt x="33" y="7"/>
                      </a:lnTo>
                      <a:lnTo>
                        <a:pt x="34" y="6"/>
                      </a:lnTo>
                      <a:lnTo>
                        <a:pt x="36" y="4"/>
                      </a:lnTo>
                      <a:lnTo>
                        <a:pt x="38" y="3"/>
                      </a:lnTo>
                      <a:lnTo>
                        <a:pt x="37" y="0"/>
                      </a:lnTo>
                      <a:lnTo>
                        <a:pt x="35" y="1"/>
                      </a:lnTo>
                      <a:lnTo>
                        <a:pt x="33" y="2"/>
                      </a:lnTo>
                      <a:lnTo>
                        <a:pt x="31" y="4"/>
                      </a:lnTo>
                      <a:lnTo>
                        <a:pt x="29" y="6"/>
                      </a:lnTo>
                      <a:lnTo>
                        <a:pt x="27" y="8"/>
                      </a:lnTo>
                      <a:lnTo>
                        <a:pt x="26" y="11"/>
                      </a:lnTo>
                      <a:lnTo>
                        <a:pt x="24" y="14"/>
                      </a:lnTo>
                      <a:lnTo>
                        <a:pt x="23" y="17"/>
                      </a:lnTo>
                      <a:lnTo>
                        <a:pt x="21" y="21"/>
                      </a:lnTo>
                      <a:lnTo>
                        <a:pt x="20" y="24"/>
                      </a:lnTo>
                      <a:lnTo>
                        <a:pt x="19" y="28"/>
                      </a:lnTo>
                      <a:lnTo>
                        <a:pt x="18" y="31"/>
                      </a:lnTo>
                      <a:lnTo>
                        <a:pt x="17" y="35"/>
                      </a:lnTo>
                      <a:lnTo>
                        <a:pt x="16" y="39"/>
                      </a:lnTo>
                      <a:lnTo>
                        <a:pt x="15" y="43"/>
                      </a:lnTo>
                      <a:lnTo>
                        <a:pt x="14" y="46"/>
                      </a:lnTo>
                      <a:lnTo>
                        <a:pt x="14" y="50"/>
                      </a:lnTo>
                      <a:lnTo>
                        <a:pt x="13" y="53"/>
                      </a:lnTo>
                      <a:lnTo>
                        <a:pt x="12" y="57"/>
                      </a:lnTo>
                      <a:lnTo>
                        <a:pt x="11" y="59"/>
                      </a:lnTo>
                      <a:lnTo>
                        <a:pt x="10" y="63"/>
                      </a:lnTo>
                      <a:lnTo>
                        <a:pt x="10" y="65"/>
                      </a:lnTo>
                      <a:lnTo>
                        <a:pt x="9" y="68"/>
                      </a:lnTo>
                      <a:lnTo>
                        <a:pt x="8" y="70"/>
                      </a:lnTo>
                      <a:lnTo>
                        <a:pt x="8" y="71"/>
                      </a:lnTo>
                      <a:lnTo>
                        <a:pt x="7" y="73"/>
                      </a:lnTo>
                      <a:lnTo>
                        <a:pt x="6" y="73"/>
                      </a:lnTo>
                      <a:lnTo>
                        <a:pt x="6" y="74"/>
                      </a:lnTo>
                      <a:lnTo>
                        <a:pt x="5" y="74"/>
                      </a:lnTo>
                      <a:lnTo>
                        <a:pt x="5" y="73"/>
                      </a:lnTo>
                      <a:lnTo>
                        <a:pt x="4" y="73"/>
                      </a:lnTo>
                      <a:lnTo>
                        <a:pt x="3" y="72"/>
                      </a:lnTo>
                      <a:lnTo>
                        <a:pt x="2" y="71"/>
                      </a:lnTo>
                      <a:lnTo>
                        <a:pt x="3" y="72"/>
                      </a:lnTo>
                      <a:lnTo>
                        <a:pt x="3" y="71"/>
                      </a:lnTo>
                      <a:lnTo>
                        <a:pt x="2" y="71"/>
                      </a:lnTo>
                      <a:lnTo>
                        <a:pt x="1" y="71"/>
                      </a:lnTo>
                      <a:lnTo>
                        <a:pt x="1" y="72"/>
                      </a:lnTo>
                      <a:lnTo>
                        <a:pt x="0" y="72"/>
                      </a:lnTo>
                      <a:lnTo>
                        <a:pt x="0" y="73"/>
                      </a:lnTo>
                      <a:lnTo>
                        <a:pt x="0" y="74"/>
                      </a:lnTo>
                      <a:lnTo>
                        <a:pt x="1" y="75"/>
                      </a:lnTo>
                      <a:lnTo>
                        <a:pt x="2"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8" name="Freeform 830">
                  <a:extLst>
                    <a:ext uri="{FF2B5EF4-FFF2-40B4-BE49-F238E27FC236}">
                      <a16:creationId xmlns:a16="http://schemas.microsoft.com/office/drawing/2014/main" id="{809E3E4E-240D-18BE-A316-852A70145C88}"/>
                    </a:ext>
                  </a:extLst>
                </p:cNvPr>
                <p:cNvSpPr>
                  <a:spLocks/>
                </p:cNvSpPr>
                <p:nvPr/>
              </p:nvSpPr>
              <p:spPr bwMode="auto">
                <a:xfrm>
                  <a:off x="915" y="2212"/>
                  <a:ext cx="34" cy="54"/>
                </a:xfrm>
                <a:custGeom>
                  <a:avLst/>
                  <a:gdLst>
                    <a:gd name="T0" fmla="*/ 1 w 48"/>
                    <a:gd name="T1" fmla="*/ 38 h 76"/>
                    <a:gd name="T2" fmla="*/ 3 w 48"/>
                    <a:gd name="T3" fmla="*/ 36 h 76"/>
                    <a:gd name="T4" fmla="*/ 4 w 48"/>
                    <a:gd name="T5" fmla="*/ 33 h 76"/>
                    <a:gd name="T6" fmla="*/ 6 w 48"/>
                    <a:gd name="T7" fmla="*/ 31 h 76"/>
                    <a:gd name="T8" fmla="*/ 6 w 48"/>
                    <a:gd name="T9" fmla="*/ 28 h 76"/>
                    <a:gd name="T10" fmla="*/ 8 w 48"/>
                    <a:gd name="T11" fmla="*/ 25 h 76"/>
                    <a:gd name="T12" fmla="*/ 9 w 48"/>
                    <a:gd name="T13" fmla="*/ 22 h 76"/>
                    <a:gd name="T14" fmla="*/ 10 w 48"/>
                    <a:gd name="T15" fmla="*/ 18 h 76"/>
                    <a:gd name="T16" fmla="*/ 11 w 48"/>
                    <a:gd name="T17" fmla="*/ 16 h 76"/>
                    <a:gd name="T18" fmla="*/ 12 w 48"/>
                    <a:gd name="T19" fmla="*/ 13 h 76"/>
                    <a:gd name="T20" fmla="*/ 13 w 48"/>
                    <a:gd name="T21" fmla="*/ 10 h 76"/>
                    <a:gd name="T22" fmla="*/ 15 w 48"/>
                    <a:gd name="T23" fmla="*/ 8 h 76"/>
                    <a:gd name="T24" fmla="*/ 16 w 48"/>
                    <a:gd name="T25" fmla="*/ 6 h 76"/>
                    <a:gd name="T26" fmla="*/ 18 w 48"/>
                    <a:gd name="T27" fmla="*/ 4 h 76"/>
                    <a:gd name="T28" fmla="*/ 20 w 48"/>
                    <a:gd name="T29" fmla="*/ 3 h 76"/>
                    <a:gd name="T30" fmla="*/ 21 w 48"/>
                    <a:gd name="T31" fmla="*/ 2 h 76"/>
                    <a:gd name="T32" fmla="*/ 24 w 48"/>
                    <a:gd name="T33" fmla="*/ 2 h 76"/>
                    <a:gd name="T34" fmla="*/ 23 w 48"/>
                    <a:gd name="T35" fmla="*/ 0 h 76"/>
                    <a:gd name="T36" fmla="*/ 20 w 48"/>
                    <a:gd name="T37" fmla="*/ 1 h 76"/>
                    <a:gd name="T38" fmla="*/ 18 w 48"/>
                    <a:gd name="T39" fmla="*/ 1 h 76"/>
                    <a:gd name="T40" fmla="*/ 16 w 48"/>
                    <a:gd name="T41" fmla="*/ 3 h 76"/>
                    <a:gd name="T42" fmla="*/ 15 w 48"/>
                    <a:gd name="T43" fmla="*/ 6 h 76"/>
                    <a:gd name="T44" fmla="*/ 13 w 48"/>
                    <a:gd name="T45" fmla="*/ 8 h 76"/>
                    <a:gd name="T46" fmla="*/ 11 w 48"/>
                    <a:gd name="T47" fmla="*/ 11 h 76"/>
                    <a:gd name="T48" fmla="*/ 10 w 48"/>
                    <a:gd name="T49" fmla="*/ 13 h 76"/>
                    <a:gd name="T50" fmla="*/ 9 w 48"/>
                    <a:gd name="T51" fmla="*/ 16 h 76"/>
                    <a:gd name="T52" fmla="*/ 8 w 48"/>
                    <a:gd name="T53" fmla="*/ 19 h 76"/>
                    <a:gd name="T54" fmla="*/ 7 w 48"/>
                    <a:gd name="T55" fmla="*/ 23 h 76"/>
                    <a:gd name="T56" fmla="*/ 6 w 48"/>
                    <a:gd name="T57" fmla="*/ 26 h 76"/>
                    <a:gd name="T58" fmla="*/ 4 w 48"/>
                    <a:gd name="T59" fmla="*/ 28 h 76"/>
                    <a:gd name="T60" fmla="*/ 4 w 48"/>
                    <a:gd name="T61" fmla="*/ 31 h 76"/>
                    <a:gd name="T62" fmla="*/ 3 w 48"/>
                    <a:gd name="T63" fmla="*/ 33 h 76"/>
                    <a:gd name="T64" fmla="*/ 1 w 48"/>
                    <a:gd name="T65" fmla="*/ 36 h 76"/>
                    <a:gd name="T66" fmla="*/ 1 w 48"/>
                    <a:gd name="T67" fmla="*/ 36 h 76"/>
                    <a:gd name="T68" fmla="*/ 0 w 48"/>
                    <a:gd name="T69" fmla="*/ 37 h 76"/>
                    <a:gd name="T70" fmla="*/ 0 w 48"/>
                    <a:gd name="T71" fmla="*/ 37 h 76"/>
                    <a:gd name="T72" fmla="*/ 0 w 48"/>
                    <a:gd name="T73" fmla="*/ 38 h 76"/>
                    <a:gd name="T74" fmla="*/ 0 w 48"/>
                    <a:gd name="T75" fmla="*/ 38 h 76"/>
                    <a:gd name="T76" fmla="*/ 0 w 48"/>
                    <a:gd name="T77" fmla="*/ 38 h 76"/>
                    <a:gd name="T78" fmla="*/ 1 w 48"/>
                    <a:gd name="T79" fmla="*/ 38 h 76"/>
                    <a:gd name="T80" fmla="*/ 1 w 48"/>
                    <a:gd name="T81" fmla="*/ 38 h 76"/>
                    <a:gd name="T82" fmla="*/ 1 w 48"/>
                    <a:gd name="T83" fmla="*/ 38 h 76"/>
                    <a:gd name="T84" fmla="*/ 1 w 48"/>
                    <a:gd name="T85" fmla="*/ 38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8" h="76">
                      <a:moveTo>
                        <a:pt x="2" y="76"/>
                      </a:moveTo>
                      <a:lnTo>
                        <a:pt x="3" y="75"/>
                      </a:lnTo>
                      <a:lnTo>
                        <a:pt x="4" y="73"/>
                      </a:lnTo>
                      <a:lnTo>
                        <a:pt x="5" y="72"/>
                      </a:lnTo>
                      <a:lnTo>
                        <a:pt x="7" y="69"/>
                      </a:lnTo>
                      <a:lnTo>
                        <a:pt x="9" y="66"/>
                      </a:lnTo>
                      <a:lnTo>
                        <a:pt x="10" y="63"/>
                      </a:lnTo>
                      <a:lnTo>
                        <a:pt x="11" y="61"/>
                      </a:lnTo>
                      <a:lnTo>
                        <a:pt x="12" y="58"/>
                      </a:lnTo>
                      <a:lnTo>
                        <a:pt x="13" y="55"/>
                      </a:lnTo>
                      <a:lnTo>
                        <a:pt x="14" y="52"/>
                      </a:lnTo>
                      <a:lnTo>
                        <a:pt x="15" y="49"/>
                      </a:lnTo>
                      <a:lnTo>
                        <a:pt x="16" y="46"/>
                      </a:lnTo>
                      <a:lnTo>
                        <a:pt x="17" y="43"/>
                      </a:lnTo>
                      <a:lnTo>
                        <a:pt x="19" y="40"/>
                      </a:lnTo>
                      <a:lnTo>
                        <a:pt x="20" y="37"/>
                      </a:lnTo>
                      <a:lnTo>
                        <a:pt x="21" y="34"/>
                      </a:lnTo>
                      <a:lnTo>
                        <a:pt x="22" y="31"/>
                      </a:lnTo>
                      <a:lnTo>
                        <a:pt x="23" y="28"/>
                      </a:lnTo>
                      <a:lnTo>
                        <a:pt x="24" y="25"/>
                      </a:lnTo>
                      <a:lnTo>
                        <a:pt x="25" y="23"/>
                      </a:lnTo>
                      <a:lnTo>
                        <a:pt x="27" y="20"/>
                      </a:lnTo>
                      <a:lnTo>
                        <a:pt x="28" y="18"/>
                      </a:lnTo>
                      <a:lnTo>
                        <a:pt x="29" y="15"/>
                      </a:lnTo>
                      <a:lnTo>
                        <a:pt x="31" y="13"/>
                      </a:lnTo>
                      <a:lnTo>
                        <a:pt x="32" y="11"/>
                      </a:lnTo>
                      <a:lnTo>
                        <a:pt x="34" y="9"/>
                      </a:lnTo>
                      <a:lnTo>
                        <a:pt x="35" y="8"/>
                      </a:lnTo>
                      <a:lnTo>
                        <a:pt x="37" y="7"/>
                      </a:lnTo>
                      <a:lnTo>
                        <a:pt x="39" y="6"/>
                      </a:lnTo>
                      <a:lnTo>
                        <a:pt x="41" y="5"/>
                      </a:lnTo>
                      <a:lnTo>
                        <a:pt x="43" y="4"/>
                      </a:lnTo>
                      <a:lnTo>
                        <a:pt x="45" y="4"/>
                      </a:lnTo>
                      <a:lnTo>
                        <a:pt x="48" y="4"/>
                      </a:lnTo>
                      <a:lnTo>
                        <a:pt x="48" y="1"/>
                      </a:lnTo>
                      <a:lnTo>
                        <a:pt x="45" y="0"/>
                      </a:lnTo>
                      <a:lnTo>
                        <a:pt x="43" y="1"/>
                      </a:lnTo>
                      <a:lnTo>
                        <a:pt x="40" y="1"/>
                      </a:lnTo>
                      <a:lnTo>
                        <a:pt x="38" y="2"/>
                      </a:lnTo>
                      <a:lnTo>
                        <a:pt x="36" y="3"/>
                      </a:lnTo>
                      <a:lnTo>
                        <a:pt x="34" y="4"/>
                      </a:lnTo>
                      <a:lnTo>
                        <a:pt x="32" y="6"/>
                      </a:lnTo>
                      <a:lnTo>
                        <a:pt x="30" y="8"/>
                      </a:lnTo>
                      <a:lnTo>
                        <a:pt x="29" y="11"/>
                      </a:lnTo>
                      <a:lnTo>
                        <a:pt x="27" y="13"/>
                      </a:lnTo>
                      <a:lnTo>
                        <a:pt x="25" y="15"/>
                      </a:lnTo>
                      <a:lnTo>
                        <a:pt x="24" y="18"/>
                      </a:lnTo>
                      <a:lnTo>
                        <a:pt x="23" y="21"/>
                      </a:lnTo>
                      <a:lnTo>
                        <a:pt x="22" y="23"/>
                      </a:lnTo>
                      <a:lnTo>
                        <a:pt x="20" y="26"/>
                      </a:lnTo>
                      <a:lnTo>
                        <a:pt x="19" y="29"/>
                      </a:lnTo>
                      <a:lnTo>
                        <a:pt x="18" y="32"/>
                      </a:lnTo>
                      <a:lnTo>
                        <a:pt x="17" y="35"/>
                      </a:lnTo>
                      <a:lnTo>
                        <a:pt x="16" y="38"/>
                      </a:lnTo>
                      <a:lnTo>
                        <a:pt x="15" y="41"/>
                      </a:lnTo>
                      <a:lnTo>
                        <a:pt x="14" y="45"/>
                      </a:lnTo>
                      <a:lnTo>
                        <a:pt x="12" y="48"/>
                      </a:lnTo>
                      <a:lnTo>
                        <a:pt x="11" y="50"/>
                      </a:lnTo>
                      <a:lnTo>
                        <a:pt x="10" y="53"/>
                      </a:lnTo>
                      <a:lnTo>
                        <a:pt x="9" y="56"/>
                      </a:lnTo>
                      <a:lnTo>
                        <a:pt x="8" y="59"/>
                      </a:lnTo>
                      <a:lnTo>
                        <a:pt x="7" y="62"/>
                      </a:lnTo>
                      <a:lnTo>
                        <a:pt x="5" y="64"/>
                      </a:lnTo>
                      <a:lnTo>
                        <a:pt x="5" y="66"/>
                      </a:lnTo>
                      <a:lnTo>
                        <a:pt x="3" y="69"/>
                      </a:lnTo>
                      <a:lnTo>
                        <a:pt x="2" y="70"/>
                      </a:lnTo>
                      <a:lnTo>
                        <a:pt x="0" y="72"/>
                      </a:lnTo>
                      <a:lnTo>
                        <a:pt x="2" y="72"/>
                      </a:lnTo>
                      <a:lnTo>
                        <a:pt x="0" y="72"/>
                      </a:lnTo>
                      <a:lnTo>
                        <a:pt x="0" y="73"/>
                      </a:lnTo>
                      <a:lnTo>
                        <a:pt x="0" y="74"/>
                      </a:lnTo>
                      <a:lnTo>
                        <a:pt x="0" y="75"/>
                      </a:lnTo>
                      <a:lnTo>
                        <a:pt x="0" y="76"/>
                      </a:lnTo>
                      <a:lnTo>
                        <a:pt x="1" y="76"/>
                      </a:lnTo>
                      <a:lnTo>
                        <a:pt x="2" y="76"/>
                      </a:lnTo>
                      <a:lnTo>
                        <a:pt x="3" y="75"/>
                      </a:lnTo>
                      <a:lnTo>
                        <a:pt x="2"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39" name="Freeform 831">
                  <a:extLst>
                    <a:ext uri="{FF2B5EF4-FFF2-40B4-BE49-F238E27FC236}">
                      <a16:creationId xmlns:a16="http://schemas.microsoft.com/office/drawing/2014/main" id="{77AA37F6-5BF1-4F82-EDC5-92AAD96E5C57}"/>
                    </a:ext>
                  </a:extLst>
                </p:cNvPr>
                <p:cNvSpPr>
                  <a:spLocks/>
                </p:cNvSpPr>
                <p:nvPr/>
              </p:nvSpPr>
              <p:spPr bwMode="auto">
                <a:xfrm>
                  <a:off x="889" y="2264"/>
                  <a:ext cx="27" cy="9"/>
                </a:xfrm>
                <a:custGeom>
                  <a:avLst/>
                  <a:gdLst>
                    <a:gd name="T0" fmla="*/ 1 w 39"/>
                    <a:gd name="T1" fmla="*/ 6 h 14"/>
                    <a:gd name="T2" fmla="*/ 1 w 39"/>
                    <a:gd name="T3" fmla="*/ 5 h 14"/>
                    <a:gd name="T4" fmla="*/ 19 w 39"/>
                    <a:gd name="T5" fmla="*/ 2 h 14"/>
                    <a:gd name="T6" fmla="*/ 19 w 39"/>
                    <a:gd name="T7" fmla="*/ 0 h 14"/>
                    <a:gd name="T8" fmla="*/ 1 w 39"/>
                    <a:gd name="T9" fmla="*/ 4 h 14"/>
                    <a:gd name="T10" fmla="*/ 1 w 39"/>
                    <a:gd name="T11" fmla="*/ 4 h 14"/>
                    <a:gd name="T12" fmla="*/ 1 w 39"/>
                    <a:gd name="T13" fmla="*/ 4 h 14"/>
                    <a:gd name="T14" fmla="*/ 1 w 39"/>
                    <a:gd name="T15" fmla="*/ 4 h 14"/>
                    <a:gd name="T16" fmla="*/ 0 w 39"/>
                    <a:gd name="T17" fmla="*/ 4 h 14"/>
                    <a:gd name="T18" fmla="*/ 0 w 39"/>
                    <a:gd name="T19" fmla="*/ 4 h 14"/>
                    <a:gd name="T20" fmla="*/ 0 w 39"/>
                    <a:gd name="T21" fmla="*/ 4 h 14"/>
                    <a:gd name="T22" fmla="*/ 0 w 39"/>
                    <a:gd name="T23" fmla="*/ 4 h 14"/>
                    <a:gd name="T24" fmla="*/ 0 w 39"/>
                    <a:gd name="T25" fmla="*/ 4 h 14"/>
                    <a:gd name="T26" fmla="*/ 0 w 39"/>
                    <a:gd name="T27" fmla="*/ 5 h 14"/>
                    <a:gd name="T28" fmla="*/ 0 w 39"/>
                    <a:gd name="T29" fmla="*/ 5 h 14"/>
                    <a:gd name="T30" fmla="*/ 0 w 39"/>
                    <a:gd name="T31" fmla="*/ 5 h 14"/>
                    <a:gd name="T32" fmla="*/ 0 w 39"/>
                    <a:gd name="T33" fmla="*/ 5 h 14"/>
                    <a:gd name="T34" fmla="*/ 0 w 39"/>
                    <a:gd name="T35" fmla="*/ 5 h 14"/>
                    <a:gd name="T36" fmla="*/ 0 w 39"/>
                    <a:gd name="T37" fmla="*/ 5 h 14"/>
                    <a:gd name="T38" fmla="*/ 0 w 39"/>
                    <a:gd name="T39" fmla="*/ 5 h 14"/>
                    <a:gd name="T40" fmla="*/ 1 w 39"/>
                    <a:gd name="T41" fmla="*/ 5 h 14"/>
                    <a:gd name="T42" fmla="*/ 1 w 39"/>
                    <a:gd name="T43" fmla="*/ 5 h 14"/>
                    <a:gd name="T44" fmla="*/ 1 w 39"/>
                    <a:gd name="T45" fmla="*/ 6 h 14"/>
                    <a:gd name="T46" fmla="*/ 1 w 39"/>
                    <a:gd name="T47" fmla="*/ 5 h 14"/>
                    <a:gd name="T48" fmla="*/ 1 w 39"/>
                    <a:gd name="T49" fmla="*/ 6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14">
                      <a:moveTo>
                        <a:pt x="1" y="14"/>
                      </a:moveTo>
                      <a:lnTo>
                        <a:pt x="1" y="13"/>
                      </a:lnTo>
                      <a:lnTo>
                        <a:pt x="39" y="4"/>
                      </a:lnTo>
                      <a:lnTo>
                        <a:pt x="39" y="0"/>
                      </a:lnTo>
                      <a:lnTo>
                        <a:pt x="1" y="10"/>
                      </a:lnTo>
                      <a:lnTo>
                        <a:pt x="0" y="10"/>
                      </a:lnTo>
                      <a:lnTo>
                        <a:pt x="0" y="12"/>
                      </a:lnTo>
                      <a:lnTo>
                        <a:pt x="0" y="13"/>
                      </a:lnTo>
                      <a:lnTo>
                        <a:pt x="1" y="13"/>
                      </a:lnTo>
                      <a:lnTo>
                        <a:pt x="1" y="14"/>
                      </a:lnTo>
                      <a:lnTo>
                        <a:pt x="1" y="13"/>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0" name="Freeform 832">
                  <a:extLst>
                    <a:ext uri="{FF2B5EF4-FFF2-40B4-BE49-F238E27FC236}">
                      <a16:creationId xmlns:a16="http://schemas.microsoft.com/office/drawing/2014/main" id="{4A48D6C2-2766-E205-B580-CD409AEB17B0}"/>
                    </a:ext>
                  </a:extLst>
                </p:cNvPr>
                <p:cNvSpPr>
                  <a:spLocks/>
                </p:cNvSpPr>
                <p:nvPr/>
              </p:nvSpPr>
              <p:spPr bwMode="auto">
                <a:xfrm>
                  <a:off x="868" y="2271"/>
                  <a:ext cx="21" cy="21"/>
                </a:xfrm>
                <a:custGeom>
                  <a:avLst/>
                  <a:gdLst>
                    <a:gd name="T0" fmla="*/ 1 w 30"/>
                    <a:gd name="T1" fmla="*/ 15 h 30"/>
                    <a:gd name="T2" fmla="*/ 2 w 30"/>
                    <a:gd name="T3" fmla="*/ 15 h 30"/>
                    <a:gd name="T4" fmla="*/ 3 w 30"/>
                    <a:gd name="T5" fmla="*/ 15 h 30"/>
                    <a:gd name="T6" fmla="*/ 4 w 30"/>
                    <a:gd name="T7" fmla="*/ 14 h 30"/>
                    <a:gd name="T8" fmla="*/ 4 w 30"/>
                    <a:gd name="T9" fmla="*/ 13 h 30"/>
                    <a:gd name="T10" fmla="*/ 6 w 30"/>
                    <a:gd name="T11" fmla="*/ 13 h 30"/>
                    <a:gd name="T12" fmla="*/ 6 w 30"/>
                    <a:gd name="T13" fmla="*/ 11 h 30"/>
                    <a:gd name="T14" fmla="*/ 8 w 30"/>
                    <a:gd name="T15" fmla="*/ 10 h 30"/>
                    <a:gd name="T16" fmla="*/ 8 w 30"/>
                    <a:gd name="T17" fmla="*/ 8 h 30"/>
                    <a:gd name="T18" fmla="*/ 9 w 30"/>
                    <a:gd name="T19" fmla="*/ 7 h 30"/>
                    <a:gd name="T20" fmla="*/ 10 w 30"/>
                    <a:gd name="T21" fmla="*/ 6 h 30"/>
                    <a:gd name="T22" fmla="*/ 11 w 30"/>
                    <a:gd name="T23" fmla="*/ 5 h 30"/>
                    <a:gd name="T24" fmla="*/ 12 w 30"/>
                    <a:gd name="T25" fmla="*/ 4 h 30"/>
                    <a:gd name="T26" fmla="*/ 13 w 30"/>
                    <a:gd name="T27" fmla="*/ 3 h 30"/>
                    <a:gd name="T28" fmla="*/ 14 w 30"/>
                    <a:gd name="T29" fmla="*/ 2 h 30"/>
                    <a:gd name="T30" fmla="*/ 14 w 30"/>
                    <a:gd name="T31" fmla="*/ 2 h 30"/>
                    <a:gd name="T32" fmla="*/ 15 w 30"/>
                    <a:gd name="T33" fmla="*/ 0 h 30"/>
                    <a:gd name="T34" fmla="*/ 13 w 30"/>
                    <a:gd name="T35" fmla="*/ 0 h 30"/>
                    <a:gd name="T36" fmla="*/ 13 w 30"/>
                    <a:gd name="T37" fmla="*/ 1 h 30"/>
                    <a:gd name="T38" fmla="*/ 11 w 30"/>
                    <a:gd name="T39" fmla="*/ 1 h 30"/>
                    <a:gd name="T40" fmla="*/ 11 w 30"/>
                    <a:gd name="T41" fmla="*/ 3 h 30"/>
                    <a:gd name="T42" fmla="*/ 9 w 30"/>
                    <a:gd name="T43" fmla="*/ 4 h 30"/>
                    <a:gd name="T44" fmla="*/ 8 w 30"/>
                    <a:gd name="T45" fmla="*/ 5 h 30"/>
                    <a:gd name="T46" fmla="*/ 8 w 30"/>
                    <a:gd name="T47" fmla="*/ 6 h 30"/>
                    <a:gd name="T48" fmla="*/ 6 w 30"/>
                    <a:gd name="T49" fmla="*/ 8 h 30"/>
                    <a:gd name="T50" fmla="*/ 6 w 30"/>
                    <a:gd name="T51" fmla="*/ 9 h 30"/>
                    <a:gd name="T52" fmla="*/ 4 w 30"/>
                    <a:gd name="T53" fmla="*/ 11 h 30"/>
                    <a:gd name="T54" fmla="*/ 4 w 30"/>
                    <a:gd name="T55" fmla="*/ 12 h 30"/>
                    <a:gd name="T56" fmla="*/ 4 w 30"/>
                    <a:gd name="T57" fmla="*/ 13 h 30"/>
                    <a:gd name="T58" fmla="*/ 3 w 30"/>
                    <a:gd name="T59" fmla="*/ 13 h 30"/>
                    <a:gd name="T60" fmla="*/ 2 w 30"/>
                    <a:gd name="T61" fmla="*/ 13 h 30"/>
                    <a:gd name="T62" fmla="*/ 2 w 30"/>
                    <a:gd name="T63" fmla="*/ 13 h 30"/>
                    <a:gd name="T64" fmla="*/ 1 w 30"/>
                    <a:gd name="T65" fmla="*/ 13 h 30"/>
                    <a:gd name="T66" fmla="*/ 1 w 30"/>
                    <a:gd name="T67" fmla="*/ 13 h 30"/>
                    <a:gd name="T68" fmla="*/ 1 w 30"/>
                    <a:gd name="T69" fmla="*/ 13 h 30"/>
                    <a:gd name="T70" fmla="*/ 1 w 30"/>
                    <a:gd name="T71" fmla="*/ 13 h 30"/>
                    <a:gd name="T72" fmla="*/ 1 w 30"/>
                    <a:gd name="T73" fmla="*/ 13 h 30"/>
                    <a:gd name="T74" fmla="*/ 1 w 30"/>
                    <a:gd name="T75" fmla="*/ 13 h 30"/>
                    <a:gd name="T76" fmla="*/ 0 w 30"/>
                    <a:gd name="T77" fmla="*/ 14 h 30"/>
                    <a:gd name="T78" fmla="*/ 1 w 30"/>
                    <a:gd name="T79" fmla="*/ 14 h 30"/>
                    <a:gd name="T80" fmla="*/ 1 w 30"/>
                    <a:gd name="T81" fmla="*/ 14 h 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0" h="30">
                      <a:moveTo>
                        <a:pt x="1" y="29"/>
                      </a:moveTo>
                      <a:lnTo>
                        <a:pt x="2" y="30"/>
                      </a:lnTo>
                      <a:lnTo>
                        <a:pt x="3" y="30"/>
                      </a:lnTo>
                      <a:lnTo>
                        <a:pt x="4" y="30"/>
                      </a:lnTo>
                      <a:lnTo>
                        <a:pt x="5" y="30"/>
                      </a:lnTo>
                      <a:lnTo>
                        <a:pt x="6" y="30"/>
                      </a:lnTo>
                      <a:lnTo>
                        <a:pt x="7" y="30"/>
                      </a:lnTo>
                      <a:lnTo>
                        <a:pt x="8" y="29"/>
                      </a:lnTo>
                      <a:lnTo>
                        <a:pt x="9" y="29"/>
                      </a:lnTo>
                      <a:lnTo>
                        <a:pt x="9" y="27"/>
                      </a:lnTo>
                      <a:lnTo>
                        <a:pt x="10" y="27"/>
                      </a:lnTo>
                      <a:lnTo>
                        <a:pt x="11" y="25"/>
                      </a:lnTo>
                      <a:lnTo>
                        <a:pt x="12" y="24"/>
                      </a:lnTo>
                      <a:lnTo>
                        <a:pt x="12" y="23"/>
                      </a:lnTo>
                      <a:lnTo>
                        <a:pt x="14" y="22"/>
                      </a:lnTo>
                      <a:lnTo>
                        <a:pt x="15" y="20"/>
                      </a:lnTo>
                      <a:lnTo>
                        <a:pt x="15" y="18"/>
                      </a:lnTo>
                      <a:lnTo>
                        <a:pt x="17" y="17"/>
                      </a:lnTo>
                      <a:lnTo>
                        <a:pt x="17" y="16"/>
                      </a:lnTo>
                      <a:lnTo>
                        <a:pt x="18" y="14"/>
                      </a:lnTo>
                      <a:lnTo>
                        <a:pt x="19" y="13"/>
                      </a:lnTo>
                      <a:lnTo>
                        <a:pt x="20" y="12"/>
                      </a:lnTo>
                      <a:lnTo>
                        <a:pt x="22" y="11"/>
                      </a:lnTo>
                      <a:lnTo>
                        <a:pt x="22" y="10"/>
                      </a:lnTo>
                      <a:lnTo>
                        <a:pt x="23" y="8"/>
                      </a:lnTo>
                      <a:lnTo>
                        <a:pt x="24" y="7"/>
                      </a:lnTo>
                      <a:lnTo>
                        <a:pt x="25" y="6"/>
                      </a:lnTo>
                      <a:lnTo>
                        <a:pt x="26" y="6"/>
                      </a:lnTo>
                      <a:lnTo>
                        <a:pt x="27" y="5"/>
                      </a:lnTo>
                      <a:lnTo>
                        <a:pt x="28" y="4"/>
                      </a:lnTo>
                      <a:lnTo>
                        <a:pt x="29" y="4"/>
                      </a:lnTo>
                      <a:lnTo>
                        <a:pt x="30" y="4"/>
                      </a:lnTo>
                      <a:lnTo>
                        <a:pt x="30" y="0"/>
                      </a:lnTo>
                      <a:lnTo>
                        <a:pt x="29" y="0"/>
                      </a:lnTo>
                      <a:lnTo>
                        <a:pt x="27" y="0"/>
                      </a:lnTo>
                      <a:lnTo>
                        <a:pt x="26" y="0"/>
                      </a:lnTo>
                      <a:lnTo>
                        <a:pt x="25" y="2"/>
                      </a:lnTo>
                      <a:lnTo>
                        <a:pt x="24" y="2"/>
                      </a:lnTo>
                      <a:lnTo>
                        <a:pt x="23" y="3"/>
                      </a:lnTo>
                      <a:lnTo>
                        <a:pt x="22" y="4"/>
                      </a:lnTo>
                      <a:lnTo>
                        <a:pt x="21" y="5"/>
                      </a:lnTo>
                      <a:lnTo>
                        <a:pt x="20" y="7"/>
                      </a:lnTo>
                      <a:lnTo>
                        <a:pt x="19" y="8"/>
                      </a:lnTo>
                      <a:lnTo>
                        <a:pt x="18" y="9"/>
                      </a:lnTo>
                      <a:lnTo>
                        <a:pt x="17" y="10"/>
                      </a:lnTo>
                      <a:lnTo>
                        <a:pt x="16" y="12"/>
                      </a:lnTo>
                      <a:lnTo>
                        <a:pt x="15" y="13"/>
                      </a:lnTo>
                      <a:lnTo>
                        <a:pt x="14" y="15"/>
                      </a:lnTo>
                      <a:lnTo>
                        <a:pt x="13" y="16"/>
                      </a:lnTo>
                      <a:lnTo>
                        <a:pt x="12" y="18"/>
                      </a:lnTo>
                      <a:lnTo>
                        <a:pt x="10" y="20"/>
                      </a:lnTo>
                      <a:lnTo>
                        <a:pt x="9" y="22"/>
                      </a:lnTo>
                      <a:lnTo>
                        <a:pt x="8" y="24"/>
                      </a:lnTo>
                      <a:lnTo>
                        <a:pt x="7" y="25"/>
                      </a:lnTo>
                      <a:lnTo>
                        <a:pt x="6" y="26"/>
                      </a:lnTo>
                      <a:lnTo>
                        <a:pt x="5" y="26"/>
                      </a:lnTo>
                      <a:lnTo>
                        <a:pt x="5" y="27"/>
                      </a:lnTo>
                      <a:lnTo>
                        <a:pt x="4" y="27"/>
                      </a:lnTo>
                      <a:lnTo>
                        <a:pt x="4" y="26"/>
                      </a:lnTo>
                      <a:lnTo>
                        <a:pt x="3" y="26"/>
                      </a:lnTo>
                      <a:lnTo>
                        <a:pt x="3" y="25"/>
                      </a:lnTo>
                      <a:lnTo>
                        <a:pt x="2" y="25"/>
                      </a:lnTo>
                      <a:lnTo>
                        <a:pt x="2" y="26"/>
                      </a:lnTo>
                      <a:lnTo>
                        <a:pt x="1" y="26"/>
                      </a:lnTo>
                      <a:lnTo>
                        <a:pt x="1" y="27"/>
                      </a:lnTo>
                      <a:lnTo>
                        <a:pt x="0" y="27"/>
                      </a:lnTo>
                      <a:lnTo>
                        <a:pt x="0" y="28"/>
                      </a:lnTo>
                      <a:lnTo>
                        <a:pt x="1" y="28"/>
                      </a:lnTo>
                      <a:lnTo>
                        <a:pt x="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1" name="Freeform 833">
                  <a:extLst>
                    <a:ext uri="{FF2B5EF4-FFF2-40B4-BE49-F238E27FC236}">
                      <a16:creationId xmlns:a16="http://schemas.microsoft.com/office/drawing/2014/main" id="{4D4152B6-2C3D-E585-498C-66C3B7BDC46C}"/>
                    </a:ext>
                  </a:extLst>
                </p:cNvPr>
                <p:cNvSpPr>
                  <a:spLocks/>
                </p:cNvSpPr>
                <p:nvPr/>
              </p:nvSpPr>
              <p:spPr bwMode="auto">
                <a:xfrm>
                  <a:off x="836" y="2258"/>
                  <a:ext cx="36" cy="34"/>
                </a:xfrm>
                <a:custGeom>
                  <a:avLst/>
                  <a:gdLst>
                    <a:gd name="T0" fmla="*/ 2 w 50"/>
                    <a:gd name="T1" fmla="*/ 6 h 49"/>
                    <a:gd name="T2" fmla="*/ 4 w 50"/>
                    <a:gd name="T3" fmla="*/ 4 h 49"/>
                    <a:gd name="T4" fmla="*/ 5 w 50"/>
                    <a:gd name="T5" fmla="*/ 3 h 49"/>
                    <a:gd name="T6" fmla="*/ 6 w 50"/>
                    <a:gd name="T7" fmla="*/ 2 h 49"/>
                    <a:gd name="T8" fmla="*/ 8 w 50"/>
                    <a:gd name="T9" fmla="*/ 2 h 49"/>
                    <a:gd name="T10" fmla="*/ 9 w 50"/>
                    <a:gd name="T11" fmla="*/ 2 h 49"/>
                    <a:gd name="T12" fmla="*/ 10 w 50"/>
                    <a:gd name="T13" fmla="*/ 3 h 49"/>
                    <a:gd name="T14" fmla="*/ 11 w 50"/>
                    <a:gd name="T15" fmla="*/ 4 h 49"/>
                    <a:gd name="T16" fmla="*/ 12 w 50"/>
                    <a:gd name="T17" fmla="*/ 6 h 49"/>
                    <a:gd name="T18" fmla="*/ 14 w 50"/>
                    <a:gd name="T19" fmla="*/ 7 h 49"/>
                    <a:gd name="T20" fmla="*/ 15 w 50"/>
                    <a:gd name="T21" fmla="*/ 9 h 49"/>
                    <a:gd name="T22" fmla="*/ 16 w 50"/>
                    <a:gd name="T23" fmla="*/ 12 h 49"/>
                    <a:gd name="T24" fmla="*/ 17 w 50"/>
                    <a:gd name="T25" fmla="*/ 14 h 49"/>
                    <a:gd name="T26" fmla="*/ 19 w 50"/>
                    <a:gd name="T27" fmla="*/ 17 h 49"/>
                    <a:gd name="T28" fmla="*/ 22 w 50"/>
                    <a:gd name="T29" fmla="*/ 19 h 49"/>
                    <a:gd name="T30" fmla="*/ 23 w 50"/>
                    <a:gd name="T31" fmla="*/ 22 h 49"/>
                    <a:gd name="T32" fmla="*/ 26 w 50"/>
                    <a:gd name="T33" fmla="*/ 22 h 49"/>
                    <a:gd name="T34" fmla="*/ 23 w 50"/>
                    <a:gd name="T35" fmla="*/ 19 h 49"/>
                    <a:gd name="T36" fmla="*/ 22 w 50"/>
                    <a:gd name="T37" fmla="*/ 17 h 49"/>
                    <a:gd name="T38" fmla="*/ 19 w 50"/>
                    <a:gd name="T39" fmla="*/ 14 h 49"/>
                    <a:gd name="T40" fmla="*/ 18 w 50"/>
                    <a:gd name="T41" fmla="*/ 12 h 49"/>
                    <a:gd name="T42" fmla="*/ 17 w 50"/>
                    <a:gd name="T43" fmla="*/ 9 h 49"/>
                    <a:gd name="T44" fmla="*/ 15 w 50"/>
                    <a:gd name="T45" fmla="*/ 7 h 49"/>
                    <a:gd name="T46" fmla="*/ 14 w 50"/>
                    <a:gd name="T47" fmla="*/ 6 h 49"/>
                    <a:gd name="T48" fmla="*/ 12 w 50"/>
                    <a:gd name="T49" fmla="*/ 3 h 49"/>
                    <a:gd name="T50" fmla="*/ 12 w 50"/>
                    <a:gd name="T51" fmla="*/ 2 h 49"/>
                    <a:gd name="T52" fmla="*/ 10 w 50"/>
                    <a:gd name="T53" fmla="*/ 1 h 49"/>
                    <a:gd name="T54" fmla="*/ 9 w 50"/>
                    <a:gd name="T55" fmla="*/ 0 h 49"/>
                    <a:gd name="T56" fmla="*/ 6 w 50"/>
                    <a:gd name="T57" fmla="*/ 0 h 49"/>
                    <a:gd name="T58" fmla="*/ 5 w 50"/>
                    <a:gd name="T59" fmla="*/ 1 h 49"/>
                    <a:gd name="T60" fmla="*/ 4 w 50"/>
                    <a:gd name="T61" fmla="*/ 1 h 49"/>
                    <a:gd name="T62" fmla="*/ 2 w 50"/>
                    <a:gd name="T63" fmla="*/ 3 h 49"/>
                    <a:gd name="T64" fmla="*/ 0 w 50"/>
                    <a:gd name="T65" fmla="*/ 5 h 49"/>
                    <a:gd name="T66" fmla="*/ 0 w 50"/>
                    <a:gd name="T67" fmla="*/ 6 h 49"/>
                    <a:gd name="T68" fmla="*/ 0 w 50"/>
                    <a:gd name="T69" fmla="*/ 6 h 49"/>
                    <a:gd name="T70" fmla="*/ 0 w 50"/>
                    <a:gd name="T71" fmla="*/ 6 h 49"/>
                    <a:gd name="T72" fmla="*/ 1 w 50"/>
                    <a:gd name="T73" fmla="*/ 7 h 49"/>
                    <a:gd name="T74" fmla="*/ 1 w 50"/>
                    <a:gd name="T75" fmla="*/ 7 h 49"/>
                    <a:gd name="T76" fmla="*/ 1 w 50"/>
                    <a:gd name="T77" fmla="*/ 7 h 49"/>
                    <a:gd name="T78" fmla="*/ 1 w 50"/>
                    <a:gd name="T79" fmla="*/ 6 h 4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0" h="49">
                      <a:moveTo>
                        <a:pt x="3" y="13"/>
                      </a:moveTo>
                      <a:lnTo>
                        <a:pt x="4" y="11"/>
                      </a:lnTo>
                      <a:lnTo>
                        <a:pt x="6" y="9"/>
                      </a:lnTo>
                      <a:lnTo>
                        <a:pt x="8" y="8"/>
                      </a:lnTo>
                      <a:lnTo>
                        <a:pt x="9" y="7"/>
                      </a:lnTo>
                      <a:lnTo>
                        <a:pt x="10" y="6"/>
                      </a:lnTo>
                      <a:lnTo>
                        <a:pt x="11" y="5"/>
                      </a:lnTo>
                      <a:lnTo>
                        <a:pt x="13" y="5"/>
                      </a:lnTo>
                      <a:lnTo>
                        <a:pt x="15" y="5"/>
                      </a:lnTo>
                      <a:lnTo>
                        <a:pt x="16" y="5"/>
                      </a:lnTo>
                      <a:lnTo>
                        <a:pt x="17" y="5"/>
                      </a:lnTo>
                      <a:lnTo>
                        <a:pt x="18" y="6"/>
                      </a:lnTo>
                      <a:lnTo>
                        <a:pt x="19" y="7"/>
                      </a:lnTo>
                      <a:lnTo>
                        <a:pt x="20" y="8"/>
                      </a:lnTo>
                      <a:lnTo>
                        <a:pt x="21" y="9"/>
                      </a:lnTo>
                      <a:lnTo>
                        <a:pt x="22" y="10"/>
                      </a:lnTo>
                      <a:lnTo>
                        <a:pt x="24" y="12"/>
                      </a:lnTo>
                      <a:lnTo>
                        <a:pt x="25" y="14"/>
                      </a:lnTo>
                      <a:lnTo>
                        <a:pt x="26" y="15"/>
                      </a:lnTo>
                      <a:lnTo>
                        <a:pt x="27" y="17"/>
                      </a:lnTo>
                      <a:lnTo>
                        <a:pt x="29" y="19"/>
                      </a:lnTo>
                      <a:lnTo>
                        <a:pt x="30" y="21"/>
                      </a:lnTo>
                      <a:lnTo>
                        <a:pt x="31" y="24"/>
                      </a:lnTo>
                      <a:lnTo>
                        <a:pt x="33" y="26"/>
                      </a:lnTo>
                      <a:lnTo>
                        <a:pt x="34" y="29"/>
                      </a:lnTo>
                      <a:lnTo>
                        <a:pt x="36" y="32"/>
                      </a:lnTo>
                      <a:lnTo>
                        <a:pt x="37" y="34"/>
                      </a:lnTo>
                      <a:lnTo>
                        <a:pt x="39" y="37"/>
                      </a:lnTo>
                      <a:lnTo>
                        <a:pt x="41" y="40"/>
                      </a:lnTo>
                      <a:lnTo>
                        <a:pt x="43" y="43"/>
                      </a:lnTo>
                      <a:lnTo>
                        <a:pt x="45" y="46"/>
                      </a:lnTo>
                      <a:lnTo>
                        <a:pt x="47" y="49"/>
                      </a:lnTo>
                      <a:lnTo>
                        <a:pt x="50" y="46"/>
                      </a:lnTo>
                      <a:lnTo>
                        <a:pt x="47" y="43"/>
                      </a:lnTo>
                      <a:lnTo>
                        <a:pt x="45" y="40"/>
                      </a:lnTo>
                      <a:lnTo>
                        <a:pt x="43" y="37"/>
                      </a:lnTo>
                      <a:lnTo>
                        <a:pt x="41" y="34"/>
                      </a:lnTo>
                      <a:lnTo>
                        <a:pt x="40" y="32"/>
                      </a:lnTo>
                      <a:lnTo>
                        <a:pt x="38" y="29"/>
                      </a:lnTo>
                      <a:lnTo>
                        <a:pt x="37" y="26"/>
                      </a:lnTo>
                      <a:lnTo>
                        <a:pt x="35" y="24"/>
                      </a:lnTo>
                      <a:lnTo>
                        <a:pt x="34" y="21"/>
                      </a:lnTo>
                      <a:lnTo>
                        <a:pt x="32" y="19"/>
                      </a:lnTo>
                      <a:lnTo>
                        <a:pt x="31" y="17"/>
                      </a:lnTo>
                      <a:lnTo>
                        <a:pt x="29" y="15"/>
                      </a:lnTo>
                      <a:lnTo>
                        <a:pt x="28" y="13"/>
                      </a:lnTo>
                      <a:lnTo>
                        <a:pt x="27" y="11"/>
                      </a:lnTo>
                      <a:lnTo>
                        <a:pt x="26" y="9"/>
                      </a:lnTo>
                      <a:lnTo>
                        <a:pt x="24" y="7"/>
                      </a:lnTo>
                      <a:lnTo>
                        <a:pt x="23" y="6"/>
                      </a:lnTo>
                      <a:lnTo>
                        <a:pt x="22" y="5"/>
                      </a:lnTo>
                      <a:lnTo>
                        <a:pt x="21" y="3"/>
                      </a:lnTo>
                      <a:lnTo>
                        <a:pt x="19" y="2"/>
                      </a:lnTo>
                      <a:lnTo>
                        <a:pt x="18" y="2"/>
                      </a:lnTo>
                      <a:lnTo>
                        <a:pt x="16" y="0"/>
                      </a:lnTo>
                      <a:lnTo>
                        <a:pt x="15" y="0"/>
                      </a:lnTo>
                      <a:lnTo>
                        <a:pt x="13" y="0"/>
                      </a:lnTo>
                      <a:lnTo>
                        <a:pt x="12" y="0"/>
                      </a:lnTo>
                      <a:lnTo>
                        <a:pt x="10" y="1"/>
                      </a:lnTo>
                      <a:lnTo>
                        <a:pt x="9" y="2"/>
                      </a:lnTo>
                      <a:lnTo>
                        <a:pt x="7" y="3"/>
                      </a:lnTo>
                      <a:lnTo>
                        <a:pt x="6" y="5"/>
                      </a:lnTo>
                      <a:lnTo>
                        <a:pt x="4" y="6"/>
                      </a:lnTo>
                      <a:lnTo>
                        <a:pt x="2" y="8"/>
                      </a:lnTo>
                      <a:lnTo>
                        <a:pt x="0" y="10"/>
                      </a:lnTo>
                      <a:lnTo>
                        <a:pt x="0" y="11"/>
                      </a:lnTo>
                      <a:lnTo>
                        <a:pt x="0" y="12"/>
                      </a:lnTo>
                      <a:lnTo>
                        <a:pt x="0" y="13"/>
                      </a:lnTo>
                      <a:lnTo>
                        <a:pt x="1" y="14"/>
                      </a:lnTo>
                      <a:lnTo>
                        <a:pt x="2" y="14"/>
                      </a:lnTo>
                      <a:lnTo>
                        <a:pt x="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2" name="Freeform 834">
                  <a:extLst>
                    <a:ext uri="{FF2B5EF4-FFF2-40B4-BE49-F238E27FC236}">
                      <a16:creationId xmlns:a16="http://schemas.microsoft.com/office/drawing/2014/main" id="{294CECF8-8852-6FD2-666C-F04E5DDF5146}"/>
                    </a:ext>
                  </a:extLst>
                </p:cNvPr>
                <p:cNvSpPr>
                  <a:spLocks/>
                </p:cNvSpPr>
                <p:nvPr/>
              </p:nvSpPr>
              <p:spPr bwMode="auto">
                <a:xfrm>
                  <a:off x="810" y="2264"/>
                  <a:ext cx="28" cy="38"/>
                </a:xfrm>
                <a:custGeom>
                  <a:avLst/>
                  <a:gdLst>
                    <a:gd name="T0" fmla="*/ 1 w 41"/>
                    <a:gd name="T1" fmla="*/ 27 h 53"/>
                    <a:gd name="T2" fmla="*/ 1 w 41"/>
                    <a:gd name="T3" fmla="*/ 27 h 53"/>
                    <a:gd name="T4" fmla="*/ 19 w 41"/>
                    <a:gd name="T5" fmla="*/ 1 h 53"/>
                    <a:gd name="T6" fmla="*/ 18 w 41"/>
                    <a:gd name="T7" fmla="*/ 0 h 53"/>
                    <a:gd name="T8" fmla="*/ 1 w 41"/>
                    <a:gd name="T9" fmla="*/ 25 h 53"/>
                    <a:gd name="T10" fmla="*/ 1 w 41"/>
                    <a:gd name="T11" fmla="*/ 25 h 53"/>
                    <a:gd name="T12" fmla="*/ 1 w 41"/>
                    <a:gd name="T13" fmla="*/ 25 h 53"/>
                    <a:gd name="T14" fmla="*/ 0 w 41"/>
                    <a:gd name="T15" fmla="*/ 25 h 53"/>
                    <a:gd name="T16" fmla="*/ 0 w 41"/>
                    <a:gd name="T17" fmla="*/ 26 h 53"/>
                    <a:gd name="T18" fmla="*/ 0 w 41"/>
                    <a:gd name="T19" fmla="*/ 26 h 53"/>
                    <a:gd name="T20" fmla="*/ 0 w 41"/>
                    <a:gd name="T21" fmla="*/ 27 h 53"/>
                    <a:gd name="T22" fmla="*/ 0 w 41"/>
                    <a:gd name="T23" fmla="*/ 27 h 53"/>
                    <a:gd name="T24" fmla="*/ 0 w 41"/>
                    <a:gd name="T25" fmla="*/ 27 h 53"/>
                    <a:gd name="T26" fmla="*/ 1 w 41"/>
                    <a:gd name="T27" fmla="*/ 27 h 53"/>
                    <a:gd name="T28" fmla="*/ 1 w 41"/>
                    <a:gd name="T29" fmla="*/ 27 h 53"/>
                    <a:gd name="T30" fmla="*/ 1 w 41"/>
                    <a:gd name="T31" fmla="*/ 27 h 53"/>
                    <a:gd name="T32" fmla="*/ 1 w 41"/>
                    <a:gd name="T33" fmla="*/ 27 h 53"/>
                    <a:gd name="T34" fmla="*/ 1 w 41"/>
                    <a:gd name="T35" fmla="*/ 27 h 53"/>
                    <a:gd name="T36" fmla="*/ 1 w 41"/>
                    <a:gd name="T37" fmla="*/ 27 h 53"/>
                    <a:gd name="T38" fmla="*/ 1 w 41"/>
                    <a:gd name="T39" fmla="*/ 27 h 53"/>
                    <a:gd name="T40" fmla="*/ 1 w 41"/>
                    <a:gd name="T41" fmla="*/ 27 h 53"/>
                    <a:gd name="T42" fmla="*/ 1 w 41"/>
                    <a:gd name="T43" fmla="*/ 27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53">
                      <a:moveTo>
                        <a:pt x="1" y="52"/>
                      </a:moveTo>
                      <a:lnTo>
                        <a:pt x="3" y="52"/>
                      </a:lnTo>
                      <a:lnTo>
                        <a:pt x="41" y="3"/>
                      </a:lnTo>
                      <a:lnTo>
                        <a:pt x="39" y="0"/>
                      </a:lnTo>
                      <a:lnTo>
                        <a:pt x="1" y="49"/>
                      </a:lnTo>
                      <a:lnTo>
                        <a:pt x="3" y="49"/>
                      </a:lnTo>
                      <a:lnTo>
                        <a:pt x="1" y="49"/>
                      </a:lnTo>
                      <a:lnTo>
                        <a:pt x="0" y="49"/>
                      </a:lnTo>
                      <a:lnTo>
                        <a:pt x="0" y="50"/>
                      </a:lnTo>
                      <a:lnTo>
                        <a:pt x="0" y="51"/>
                      </a:lnTo>
                      <a:lnTo>
                        <a:pt x="1" y="52"/>
                      </a:lnTo>
                      <a:lnTo>
                        <a:pt x="2" y="52"/>
                      </a:lnTo>
                      <a:lnTo>
                        <a:pt x="2" y="53"/>
                      </a:lnTo>
                      <a:lnTo>
                        <a:pt x="3" y="52"/>
                      </a:lnTo>
                      <a:lnTo>
                        <a:pt x="1"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3" name="Freeform 835">
                  <a:extLst>
                    <a:ext uri="{FF2B5EF4-FFF2-40B4-BE49-F238E27FC236}">
                      <a16:creationId xmlns:a16="http://schemas.microsoft.com/office/drawing/2014/main" id="{63686D87-46FA-EE78-9C99-F6C0861F15AB}"/>
                    </a:ext>
                  </a:extLst>
                </p:cNvPr>
                <p:cNvSpPr>
                  <a:spLocks/>
                </p:cNvSpPr>
                <p:nvPr/>
              </p:nvSpPr>
              <p:spPr bwMode="auto">
                <a:xfrm>
                  <a:off x="790" y="2238"/>
                  <a:ext cx="29" cy="63"/>
                </a:xfrm>
                <a:custGeom>
                  <a:avLst/>
                  <a:gdLst>
                    <a:gd name="T0" fmla="*/ 20 w 41"/>
                    <a:gd name="T1" fmla="*/ 0 h 88"/>
                    <a:gd name="T2" fmla="*/ 15 w 41"/>
                    <a:gd name="T3" fmla="*/ 5 h 88"/>
                    <a:gd name="T4" fmla="*/ 11 w 41"/>
                    <a:gd name="T5" fmla="*/ 10 h 88"/>
                    <a:gd name="T6" fmla="*/ 8 w 41"/>
                    <a:gd name="T7" fmla="*/ 14 h 88"/>
                    <a:gd name="T8" fmla="*/ 5 w 41"/>
                    <a:gd name="T9" fmla="*/ 16 h 88"/>
                    <a:gd name="T10" fmla="*/ 3 w 41"/>
                    <a:gd name="T11" fmla="*/ 19 h 88"/>
                    <a:gd name="T12" fmla="*/ 1 w 41"/>
                    <a:gd name="T13" fmla="*/ 21 h 88"/>
                    <a:gd name="T14" fmla="*/ 1 w 41"/>
                    <a:gd name="T15" fmla="*/ 23 h 88"/>
                    <a:gd name="T16" fmla="*/ 0 w 41"/>
                    <a:gd name="T17" fmla="*/ 25 h 88"/>
                    <a:gd name="T18" fmla="*/ 0 w 41"/>
                    <a:gd name="T19" fmla="*/ 27 h 88"/>
                    <a:gd name="T20" fmla="*/ 1 w 41"/>
                    <a:gd name="T21" fmla="*/ 29 h 88"/>
                    <a:gd name="T22" fmla="*/ 2 w 41"/>
                    <a:gd name="T23" fmla="*/ 31 h 88"/>
                    <a:gd name="T24" fmla="*/ 4 w 41"/>
                    <a:gd name="T25" fmla="*/ 33 h 88"/>
                    <a:gd name="T26" fmla="*/ 6 w 41"/>
                    <a:gd name="T27" fmla="*/ 35 h 88"/>
                    <a:gd name="T28" fmla="*/ 8 w 41"/>
                    <a:gd name="T29" fmla="*/ 38 h 88"/>
                    <a:gd name="T30" fmla="*/ 11 w 41"/>
                    <a:gd name="T31" fmla="*/ 42 h 88"/>
                    <a:gd name="T32" fmla="*/ 15 w 41"/>
                    <a:gd name="T33" fmla="*/ 45 h 88"/>
                    <a:gd name="T34" fmla="*/ 14 w 41"/>
                    <a:gd name="T35" fmla="*/ 42 h 88"/>
                    <a:gd name="T36" fmla="*/ 11 w 41"/>
                    <a:gd name="T37" fmla="*/ 38 h 88"/>
                    <a:gd name="T38" fmla="*/ 8 w 41"/>
                    <a:gd name="T39" fmla="*/ 35 h 88"/>
                    <a:gd name="T40" fmla="*/ 6 w 41"/>
                    <a:gd name="T41" fmla="*/ 32 h 88"/>
                    <a:gd name="T42" fmla="*/ 4 w 41"/>
                    <a:gd name="T43" fmla="*/ 30 h 88"/>
                    <a:gd name="T44" fmla="*/ 3 w 41"/>
                    <a:gd name="T45" fmla="*/ 29 h 88"/>
                    <a:gd name="T46" fmla="*/ 1 w 41"/>
                    <a:gd name="T47" fmla="*/ 27 h 88"/>
                    <a:gd name="T48" fmla="*/ 1 w 41"/>
                    <a:gd name="T49" fmla="*/ 26 h 88"/>
                    <a:gd name="T50" fmla="*/ 1 w 41"/>
                    <a:gd name="T51" fmla="*/ 24 h 88"/>
                    <a:gd name="T52" fmla="*/ 3 w 41"/>
                    <a:gd name="T53" fmla="*/ 23 h 88"/>
                    <a:gd name="T54" fmla="*/ 4 w 41"/>
                    <a:gd name="T55" fmla="*/ 21 h 88"/>
                    <a:gd name="T56" fmla="*/ 5 w 41"/>
                    <a:gd name="T57" fmla="*/ 19 h 88"/>
                    <a:gd name="T58" fmla="*/ 8 w 41"/>
                    <a:gd name="T59" fmla="*/ 16 h 88"/>
                    <a:gd name="T60" fmla="*/ 11 w 41"/>
                    <a:gd name="T61" fmla="*/ 13 h 88"/>
                    <a:gd name="T62" fmla="*/ 14 w 41"/>
                    <a:gd name="T63" fmla="*/ 9 h 88"/>
                    <a:gd name="T64" fmla="*/ 18 w 41"/>
                    <a:gd name="T65" fmla="*/ 4 h 88"/>
                    <a:gd name="T66" fmla="*/ 20 w 41"/>
                    <a:gd name="T67" fmla="*/ 2 h 88"/>
                    <a:gd name="T68" fmla="*/ 21 w 41"/>
                    <a:gd name="T69" fmla="*/ 1 h 88"/>
                    <a:gd name="T70" fmla="*/ 21 w 41"/>
                    <a:gd name="T71" fmla="*/ 1 h 88"/>
                    <a:gd name="T72" fmla="*/ 21 w 41"/>
                    <a:gd name="T73" fmla="*/ 1 h 88"/>
                    <a:gd name="T74" fmla="*/ 21 w 41"/>
                    <a:gd name="T75" fmla="*/ 1 h 88"/>
                    <a:gd name="T76" fmla="*/ 20 w 41"/>
                    <a:gd name="T77" fmla="*/ 0 h 88"/>
                    <a:gd name="T78" fmla="*/ 20 w 41"/>
                    <a:gd name="T79" fmla="*/ 0 h 88"/>
                    <a:gd name="T80" fmla="*/ 20 w 41"/>
                    <a:gd name="T81" fmla="*/ 0 h 88"/>
                    <a:gd name="T82" fmla="*/ 20 w 41"/>
                    <a:gd name="T83" fmla="*/ 0 h 88"/>
                    <a:gd name="T84" fmla="*/ 20 w 41"/>
                    <a:gd name="T85" fmla="*/ 0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 h="88">
                      <a:moveTo>
                        <a:pt x="40" y="0"/>
                      </a:moveTo>
                      <a:lnTo>
                        <a:pt x="39" y="0"/>
                      </a:lnTo>
                      <a:lnTo>
                        <a:pt x="34" y="5"/>
                      </a:lnTo>
                      <a:lnTo>
                        <a:pt x="30" y="10"/>
                      </a:lnTo>
                      <a:lnTo>
                        <a:pt x="25" y="14"/>
                      </a:lnTo>
                      <a:lnTo>
                        <a:pt x="22" y="19"/>
                      </a:lnTo>
                      <a:lnTo>
                        <a:pt x="19" y="22"/>
                      </a:lnTo>
                      <a:lnTo>
                        <a:pt x="16" y="26"/>
                      </a:lnTo>
                      <a:lnTo>
                        <a:pt x="13" y="29"/>
                      </a:lnTo>
                      <a:lnTo>
                        <a:pt x="10" y="31"/>
                      </a:lnTo>
                      <a:lnTo>
                        <a:pt x="8" y="34"/>
                      </a:lnTo>
                      <a:lnTo>
                        <a:pt x="6" y="36"/>
                      </a:lnTo>
                      <a:lnTo>
                        <a:pt x="5" y="39"/>
                      </a:lnTo>
                      <a:lnTo>
                        <a:pt x="3" y="41"/>
                      </a:lnTo>
                      <a:lnTo>
                        <a:pt x="2" y="43"/>
                      </a:lnTo>
                      <a:lnTo>
                        <a:pt x="1" y="45"/>
                      </a:lnTo>
                      <a:lnTo>
                        <a:pt x="0" y="47"/>
                      </a:lnTo>
                      <a:lnTo>
                        <a:pt x="0" y="49"/>
                      </a:lnTo>
                      <a:lnTo>
                        <a:pt x="0" y="51"/>
                      </a:lnTo>
                      <a:lnTo>
                        <a:pt x="0" y="53"/>
                      </a:lnTo>
                      <a:lnTo>
                        <a:pt x="1" y="54"/>
                      </a:lnTo>
                      <a:lnTo>
                        <a:pt x="2" y="56"/>
                      </a:lnTo>
                      <a:lnTo>
                        <a:pt x="3" y="58"/>
                      </a:lnTo>
                      <a:lnTo>
                        <a:pt x="4" y="60"/>
                      </a:lnTo>
                      <a:lnTo>
                        <a:pt x="5" y="62"/>
                      </a:lnTo>
                      <a:lnTo>
                        <a:pt x="7" y="64"/>
                      </a:lnTo>
                      <a:lnTo>
                        <a:pt x="9" y="66"/>
                      </a:lnTo>
                      <a:lnTo>
                        <a:pt x="12" y="69"/>
                      </a:lnTo>
                      <a:lnTo>
                        <a:pt x="14" y="71"/>
                      </a:lnTo>
                      <a:lnTo>
                        <a:pt x="17" y="74"/>
                      </a:lnTo>
                      <a:lnTo>
                        <a:pt x="20" y="77"/>
                      </a:lnTo>
                      <a:lnTo>
                        <a:pt x="22" y="81"/>
                      </a:lnTo>
                      <a:lnTo>
                        <a:pt x="25" y="84"/>
                      </a:lnTo>
                      <a:lnTo>
                        <a:pt x="29" y="88"/>
                      </a:lnTo>
                      <a:lnTo>
                        <a:pt x="31" y="85"/>
                      </a:lnTo>
                      <a:lnTo>
                        <a:pt x="28" y="81"/>
                      </a:lnTo>
                      <a:lnTo>
                        <a:pt x="24" y="77"/>
                      </a:lnTo>
                      <a:lnTo>
                        <a:pt x="21" y="74"/>
                      </a:lnTo>
                      <a:lnTo>
                        <a:pt x="18" y="71"/>
                      </a:lnTo>
                      <a:lnTo>
                        <a:pt x="16" y="68"/>
                      </a:lnTo>
                      <a:lnTo>
                        <a:pt x="13" y="66"/>
                      </a:lnTo>
                      <a:lnTo>
                        <a:pt x="12" y="63"/>
                      </a:lnTo>
                      <a:lnTo>
                        <a:pt x="9" y="61"/>
                      </a:lnTo>
                      <a:lnTo>
                        <a:pt x="8" y="59"/>
                      </a:lnTo>
                      <a:lnTo>
                        <a:pt x="7" y="58"/>
                      </a:lnTo>
                      <a:lnTo>
                        <a:pt x="5" y="56"/>
                      </a:lnTo>
                      <a:lnTo>
                        <a:pt x="4" y="54"/>
                      </a:lnTo>
                      <a:lnTo>
                        <a:pt x="3" y="53"/>
                      </a:lnTo>
                      <a:lnTo>
                        <a:pt x="3" y="51"/>
                      </a:lnTo>
                      <a:lnTo>
                        <a:pt x="3" y="49"/>
                      </a:lnTo>
                      <a:lnTo>
                        <a:pt x="3" y="48"/>
                      </a:lnTo>
                      <a:lnTo>
                        <a:pt x="4" y="46"/>
                      </a:lnTo>
                      <a:lnTo>
                        <a:pt x="5" y="45"/>
                      </a:lnTo>
                      <a:lnTo>
                        <a:pt x="5" y="43"/>
                      </a:lnTo>
                      <a:lnTo>
                        <a:pt x="7" y="42"/>
                      </a:lnTo>
                      <a:lnTo>
                        <a:pt x="8" y="39"/>
                      </a:lnTo>
                      <a:lnTo>
                        <a:pt x="10" y="37"/>
                      </a:lnTo>
                      <a:lnTo>
                        <a:pt x="13" y="35"/>
                      </a:lnTo>
                      <a:lnTo>
                        <a:pt x="15" y="32"/>
                      </a:lnTo>
                      <a:lnTo>
                        <a:pt x="18" y="29"/>
                      </a:lnTo>
                      <a:lnTo>
                        <a:pt x="21" y="25"/>
                      </a:lnTo>
                      <a:lnTo>
                        <a:pt x="24" y="22"/>
                      </a:lnTo>
                      <a:lnTo>
                        <a:pt x="28" y="17"/>
                      </a:lnTo>
                      <a:lnTo>
                        <a:pt x="32" y="13"/>
                      </a:lnTo>
                      <a:lnTo>
                        <a:pt x="36" y="9"/>
                      </a:lnTo>
                      <a:lnTo>
                        <a:pt x="41" y="4"/>
                      </a:lnTo>
                      <a:lnTo>
                        <a:pt x="39" y="4"/>
                      </a:lnTo>
                      <a:lnTo>
                        <a:pt x="41" y="4"/>
                      </a:lnTo>
                      <a:lnTo>
                        <a:pt x="41" y="3"/>
                      </a:lnTo>
                      <a:lnTo>
                        <a:pt x="41" y="2"/>
                      </a:lnTo>
                      <a:lnTo>
                        <a:pt x="41" y="1"/>
                      </a:lnTo>
                      <a:lnTo>
                        <a:pt x="41" y="0"/>
                      </a:lnTo>
                      <a:lnTo>
                        <a:pt x="40" y="0"/>
                      </a:lnTo>
                      <a:lnTo>
                        <a:pt x="39" y="0"/>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4" name="Freeform 836">
                  <a:extLst>
                    <a:ext uri="{FF2B5EF4-FFF2-40B4-BE49-F238E27FC236}">
                      <a16:creationId xmlns:a16="http://schemas.microsoft.com/office/drawing/2014/main" id="{94775A97-9007-A77D-4B0D-51A6AEE13E80}"/>
                    </a:ext>
                  </a:extLst>
                </p:cNvPr>
                <p:cNvSpPr>
                  <a:spLocks/>
                </p:cNvSpPr>
                <p:nvPr/>
              </p:nvSpPr>
              <p:spPr bwMode="auto">
                <a:xfrm>
                  <a:off x="819" y="2238"/>
                  <a:ext cx="47" cy="12"/>
                </a:xfrm>
                <a:custGeom>
                  <a:avLst/>
                  <a:gdLst>
                    <a:gd name="T0" fmla="*/ 32 w 68"/>
                    <a:gd name="T1" fmla="*/ 4 h 17"/>
                    <a:gd name="T2" fmla="*/ 28 w 68"/>
                    <a:gd name="T3" fmla="*/ 4 h 17"/>
                    <a:gd name="T4" fmla="*/ 26 w 68"/>
                    <a:gd name="T5" fmla="*/ 5 h 17"/>
                    <a:gd name="T6" fmla="*/ 24 w 68"/>
                    <a:gd name="T7" fmla="*/ 6 h 17"/>
                    <a:gd name="T8" fmla="*/ 22 w 68"/>
                    <a:gd name="T9" fmla="*/ 6 h 17"/>
                    <a:gd name="T10" fmla="*/ 20 w 68"/>
                    <a:gd name="T11" fmla="*/ 6 h 17"/>
                    <a:gd name="T12" fmla="*/ 19 w 68"/>
                    <a:gd name="T13" fmla="*/ 6 h 17"/>
                    <a:gd name="T14" fmla="*/ 17 w 68"/>
                    <a:gd name="T15" fmla="*/ 6 h 17"/>
                    <a:gd name="T16" fmla="*/ 15 w 68"/>
                    <a:gd name="T17" fmla="*/ 6 h 17"/>
                    <a:gd name="T18" fmla="*/ 14 w 68"/>
                    <a:gd name="T19" fmla="*/ 6 h 17"/>
                    <a:gd name="T20" fmla="*/ 12 w 68"/>
                    <a:gd name="T21" fmla="*/ 6 h 17"/>
                    <a:gd name="T22" fmla="*/ 10 w 68"/>
                    <a:gd name="T23" fmla="*/ 6 h 17"/>
                    <a:gd name="T24" fmla="*/ 9 w 68"/>
                    <a:gd name="T25" fmla="*/ 5 h 17"/>
                    <a:gd name="T26" fmla="*/ 7 w 68"/>
                    <a:gd name="T27" fmla="*/ 4 h 17"/>
                    <a:gd name="T28" fmla="*/ 6 w 68"/>
                    <a:gd name="T29" fmla="*/ 3 h 17"/>
                    <a:gd name="T30" fmla="*/ 3 w 68"/>
                    <a:gd name="T31" fmla="*/ 1 h 17"/>
                    <a:gd name="T32" fmla="*/ 1 w 68"/>
                    <a:gd name="T33" fmla="*/ 0 h 17"/>
                    <a:gd name="T34" fmla="*/ 1 w 68"/>
                    <a:gd name="T35" fmla="*/ 3 h 17"/>
                    <a:gd name="T36" fmla="*/ 4 w 68"/>
                    <a:gd name="T37" fmla="*/ 4 h 17"/>
                    <a:gd name="T38" fmla="*/ 6 w 68"/>
                    <a:gd name="T39" fmla="*/ 5 h 17"/>
                    <a:gd name="T40" fmla="*/ 8 w 68"/>
                    <a:gd name="T41" fmla="*/ 6 h 17"/>
                    <a:gd name="T42" fmla="*/ 10 w 68"/>
                    <a:gd name="T43" fmla="*/ 7 h 17"/>
                    <a:gd name="T44" fmla="*/ 12 w 68"/>
                    <a:gd name="T45" fmla="*/ 8 h 17"/>
                    <a:gd name="T46" fmla="*/ 13 w 68"/>
                    <a:gd name="T47" fmla="*/ 8 h 17"/>
                    <a:gd name="T48" fmla="*/ 15 w 68"/>
                    <a:gd name="T49" fmla="*/ 8 h 17"/>
                    <a:gd name="T50" fmla="*/ 17 w 68"/>
                    <a:gd name="T51" fmla="*/ 8 h 17"/>
                    <a:gd name="T52" fmla="*/ 18 w 68"/>
                    <a:gd name="T53" fmla="*/ 8 h 17"/>
                    <a:gd name="T54" fmla="*/ 19 w 68"/>
                    <a:gd name="T55" fmla="*/ 8 h 17"/>
                    <a:gd name="T56" fmla="*/ 21 w 68"/>
                    <a:gd name="T57" fmla="*/ 8 h 17"/>
                    <a:gd name="T58" fmla="*/ 23 w 68"/>
                    <a:gd name="T59" fmla="*/ 8 h 17"/>
                    <a:gd name="T60" fmla="*/ 26 w 68"/>
                    <a:gd name="T61" fmla="*/ 7 h 17"/>
                    <a:gd name="T62" fmla="*/ 28 w 68"/>
                    <a:gd name="T63" fmla="*/ 6 h 17"/>
                    <a:gd name="T64" fmla="*/ 30 w 68"/>
                    <a:gd name="T65" fmla="*/ 6 h 17"/>
                    <a:gd name="T66" fmla="*/ 32 w 68"/>
                    <a:gd name="T67" fmla="*/ 4 h 17"/>
                    <a:gd name="T68" fmla="*/ 32 w 68"/>
                    <a:gd name="T69" fmla="*/ 5 h 17"/>
                    <a:gd name="T70" fmla="*/ 32 w 68"/>
                    <a:gd name="T71" fmla="*/ 5 h 17"/>
                    <a:gd name="T72" fmla="*/ 32 w 68"/>
                    <a:gd name="T73" fmla="*/ 5 h 17"/>
                    <a:gd name="T74" fmla="*/ 32 w 68"/>
                    <a:gd name="T75" fmla="*/ 4 h 17"/>
                    <a:gd name="T76" fmla="*/ 32 w 68"/>
                    <a:gd name="T77" fmla="*/ 4 h 17"/>
                    <a:gd name="T78" fmla="*/ 32 w 68"/>
                    <a:gd name="T79" fmla="*/ 4 h 17"/>
                    <a:gd name="T80" fmla="*/ 32 w 68"/>
                    <a:gd name="T81" fmla="*/ 4 h 17"/>
                    <a:gd name="T82" fmla="*/ 32 w 68"/>
                    <a:gd name="T83" fmla="*/ 4 h 17"/>
                    <a:gd name="T84" fmla="*/ 32 w 68"/>
                    <a:gd name="T85" fmla="*/ 4 h 17"/>
                    <a:gd name="T86" fmla="*/ 32 w 68"/>
                    <a:gd name="T87" fmla="*/ 4 h 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8" h="17">
                      <a:moveTo>
                        <a:pt x="67" y="11"/>
                      </a:moveTo>
                      <a:lnTo>
                        <a:pt x="66" y="7"/>
                      </a:lnTo>
                      <a:lnTo>
                        <a:pt x="63" y="8"/>
                      </a:lnTo>
                      <a:lnTo>
                        <a:pt x="60" y="8"/>
                      </a:lnTo>
                      <a:lnTo>
                        <a:pt x="57" y="9"/>
                      </a:lnTo>
                      <a:lnTo>
                        <a:pt x="55" y="10"/>
                      </a:lnTo>
                      <a:lnTo>
                        <a:pt x="52" y="10"/>
                      </a:lnTo>
                      <a:lnTo>
                        <a:pt x="50" y="11"/>
                      </a:lnTo>
                      <a:lnTo>
                        <a:pt x="48" y="11"/>
                      </a:lnTo>
                      <a:lnTo>
                        <a:pt x="46" y="12"/>
                      </a:lnTo>
                      <a:lnTo>
                        <a:pt x="44" y="12"/>
                      </a:lnTo>
                      <a:lnTo>
                        <a:pt x="42" y="12"/>
                      </a:lnTo>
                      <a:lnTo>
                        <a:pt x="40" y="12"/>
                      </a:lnTo>
                      <a:lnTo>
                        <a:pt x="39" y="13"/>
                      </a:lnTo>
                      <a:lnTo>
                        <a:pt x="37" y="13"/>
                      </a:lnTo>
                      <a:lnTo>
                        <a:pt x="35" y="13"/>
                      </a:lnTo>
                      <a:lnTo>
                        <a:pt x="34" y="13"/>
                      </a:lnTo>
                      <a:lnTo>
                        <a:pt x="32" y="13"/>
                      </a:lnTo>
                      <a:lnTo>
                        <a:pt x="30" y="13"/>
                      </a:lnTo>
                      <a:lnTo>
                        <a:pt x="29" y="13"/>
                      </a:lnTo>
                      <a:lnTo>
                        <a:pt x="27" y="12"/>
                      </a:lnTo>
                      <a:lnTo>
                        <a:pt x="25" y="12"/>
                      </a:lnTo>
                      <a:lnTo>
                        <a:pt x="24" y="12"/>
                      </a:lnTo>
                      <a:lnTo>
                        <a:pt x="22" y="11"/>
                      </a:lnTo>
                      <a:lnTo>
                        <a:pt x="21" y="10"/>
                      </a:lnTo>
                      <a:lnTo>
                        <a:pt x="19" y="10"/>
                      </a:lnTo>
                      <a:lnTo>
                        <a:pt x="17" y="9"/>
                      </a:lnTo>
                      <a:lnTo>
                        <a:pt x="15" y="8"/>
                      </a:lnTo>
                      <a:lnTo>
                        <a:pt x="13" y="7"/>
                      </a:lnTo>
                      <a:lnTo>
                        <a:pt x="11" y="6"/>
                      </a:lnTo>
                      <a:lnTo>
                        <a:pt x="9" y="4"/>
                      </a:lnTo>
                      <a:lnTo>
                        <a:pt x="6" y="3"/>
                      </a:lnTo>
                      <a:lnTo>
                        <a:pt x="4" y="2"/>
                      </a:lnTo>
                      <a:lnTo>
                        <a:pt x="1" y="0"/>
                      </a:lnTo>
                      <a:lnTo>
                        <a:pt x="0" y="4"/>
                      </a:lnTo>
                      <a:lnTo>
                        <a:pt x="2" y="5"/>
                      </a:lnTo>
                      <a:lnTo>
                        <a:pt x="5" y="7"/>
                      </a:lnTo>
                      <a:lnTo>
                        <a:pt x="8" y="8"/>
                      </a:lnTo>
                      <a:lnTo>
                        <a:pt x="10" y="9"/>
                      </a:lnTo>
                      <a:lnTo>
                        <a:pt x="12" y="10"/>
                      </a:lnTo>
                      <a:lnTo>
                        <a:pt x="14" y="12"/>
                      </a:lnTo>
                      <a:lnTo>
                        <a:pt x="16" y="12"/>
                      </a:lnTo>
                      <a:lnTo>
                        <a:pt x="18" y="13"/>
                      </a:lnTo>
                      <a:lnTo>
                        <a:pt x="20" y="14"/>
                      </a:lnTo>
                      <a:lnTo>
                        <a:pt x="22" y="15"/>
                      </a:lnTo>
                      <a:lnTo>
                        <a:pt x="24" y="15"/>
                      </a:lnTo>
                      <a:lnTo>
                        <a:pt x="25" y="16"/>
                      </a:lnTo>
                      <a:lnTo>
                        <a:pt x="27" y="17"/>
                      </a:lnTo>
                      <a:lnTo>
                        <a:pt x="29" y="17"/>
                      </a:lnTo>
                      <a:lnTo>
                        <a:pt x="30" y="17"/>
                      </a:lnTo>
                      <a:lnTo>
                        <a:pt x="32" y="17"/>
                      </a:lnTo>
                      <a:lnTo>
                        <a:pt x="34" y="17"/>
                      </a:lnTo>
                      <a:lnTo>
                        <a:pt x="35" y="17"/>
                      </a:lnTo>
                      <a:lnTo>
                        <a:pt x="37" y="17"/>
                      </a:lnTo>
                      <a:lnTo>
                        <a:pt x="39" y="17"/>
                      </a:lnTo>
                      <a:lnTo>
                        <a:pt x="40" y="17"/>
                      </a:lnTo>
                      <a:lnTo>
                        <a:pt x="42" y="17"/>
                      </a:lnTo>
                      <a:lnTo>
                        <a:pt x="44" y="16"/>
                      </a:lnTo>
                      <a:lnTo>
                        <a:pt x="46" y="16"/>
                      </a:lnTo>
                      <a:lnTo>
                        <a:pt x="48" y="15"/>
                      </a:lnTo>
                      <a:lnTo>
                        <a:pt x="51" y="14"/>
                      </a:lnTo>
                      <a:lnTo>
                        <a:pt x="53" y="14"/>
                      </a:lnTo>
                      <a:lnTo>
                        <a:pt x="55" y="14"/>
                      </a:lnTo>
                      <a:lnTo>
                        <a:pt x="58" y="13"/>
                      </a:lnTo>
                      <a:lnTo>
                        <a:pt x="61" y="12"/>
                      </a:lnTo>
                      <a:lnTo>
                        <a:pt x="64" y="11"/>
                      </a:lnTo>
                      <a:lnTo>
                        <a:pt x="67" y="10"/>
                      </a:lnTo>
                      <a:lnTo>
                        <a:pt x="67" y="7"/>
                      </a:lnTo>
                      <a:lnTo>
                        <a:pt x="67" y="10"/>
                      </a:lnTo>
                      <a:lnTo>
                        <a:pt x="68" y="10"/>
                      </a:lnTo>
                      <a:lnTo>
                        <a:pt x="68" y="9"/>
                      </a:lnTo>
                      <a:lnTo>
                        <a:pt x="68" y="8"/>
                      </a:lnTo>
                      <a:lnTo>
                        <a:pt x="67" y="7"/>
                      </a:lnTo>
                      <a:lnTo>
                        <a:pt x="67" y="6"/>
                      </a:lnTo>
                      <a:lnTo>
                        <a:pt x="66" y="7"/>
                      </a:lnTo>
                      <a:lnTo>
                        <a:pt x="6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5" name="Freeform 837">
                  <a:extLst>
                    <a:ext uri="{FF2B5EF4-FFF2-40B4-BE49-F238E27FC236}">
                      <a16:creationId xmlns:a16="http://schemas.microsoft.com/office/drawing/2014/main" id="{0D31E651-B713-DC2E-1E27-691773349263}"/>
                    </a:ext>
                  </a:extLst>
                </p:cNvPr>
                <p:cNvSpPr>
                  <a:spLocks/>
                </p:cNvSpPr>
                <p:nvPr/>
              </p:nvSpPr>
              <p:spPr bwMode="auto">
                <a:xfrm>
                  <a:off x="829" y="2230"/>
                  <a:ext cx="35" cy="17"/>
                </a:xfrm>
                <a:custGeom>
                  <a:avLst/>
                  <a:gdLst>
                    <a:gd name="T0" fmla="*/ 0 w 51"/>
                    <a:gd name="T1" fmla="*/ 1 h 23"/>
                    <a:gd name="T2" fmla="*/ 0 w 51"/>
                    <a:gd name="T3" fmla="*/ 3 h 23"/>
                    <a:gd name="T4" fmla="*/ 1 w 51"/>
                    <a:gd name="T5" fmla="*/ 5 h 23"/>
                    <a:gd name="T6" fmla="*/ 1 w 51"/>
                    <a:gd name="T7" fmla="*/ 7 h 23"/>
                    <a:gd name="T8" fmla="*/ 2 w 51"/>
                    <a:gd name="T9" fmla="*/ 7 h 23"/>
                    <a:gd name="T10" fmla="*/ 3 w 51"/>
                    <a:gd name="T11" fmla="*/ 9 h 23"/>
                    <a:gd name="T12" fmla="*/ 5 w 51"/>
                    <a:gd name="T13" fmla="*/ 10 h 23"/>
                    <a:gd name="T14" fmla="*/ 7 w 51"/>
                    <a:gd name="T15" fmla="*/ 10 h 23"/>
                    <a:gd name="T16" fmla="*/ 8 w 51"/>
                    <a:gd name="T17" fmla="*/ 10 h 23"/>
                    <a:gd name="T18" fmla="*/ 11 w 51"/>
                    <a:gd name="T19" fmla="*/ 11 h 23"/>
                    <a:gd name="T20" fmla="*/ 13 w 51"/>
                    <a:gd name="T21" fmla="*/ 12 h 23"/>
                    <a:gd name="T22" fmla="*/ 14 w 51"/>
                    <a:gd name="T23" fmla="*/ 12 h 23"/>
                    <a:gd name="T24" fmla="*/ 17 w 51"/>
                    <a:gd name="T25" fmla="*/ 12 h 23"/>
                    <a:gd name="T26" fmla="*/ 19 w 51"/>
                    <a:gd name="T27" fmla="*/ 12 h 23"/>
                    <a:gd name="T28" fmla="*/ 21 w 51"/>
                    <a:gd name="T29" fmla="*/ 12 h 23"/>
                    <a:gd name="T30" fmla="*/ 23 w 51"/>
                    <a:gd name="T31" fmla="*/ 12 h 23"/>
                    <a:gd name="T32" fmla="*/ 24 w 51"/>
                    <a:gd name="T33" fmla="*/ 10 h 23"/>
                    <a:gd name="T34" fmla="*/ 22 w 51"/>
                    <a:gd name="T35" fmla="*/ 10 h 23"/>
                    <a:gd name="T36" fmla="*/ 21 w 51"/>
                    <a:gd name="T37" fmla="*/ 10 h 23"/>
                    <a:gd name="T38" fmla="*/ 18 w 51"/>
                    <a:gd name="T39" fmla="*/ 10 h 23"/>
                    <a:gd name="T40" fmla="*/ 16 w 51"/>
                    <a:gd name="T41" fmla="*/ 10 h 23"/>
                    <a:gd name="T42" fmla="*/ 14 w 51"/>
                    <a:gd name="T43" fmla="*/ 10 h 23"/>
                    <a:gd name="T44" fmla="*/ 12 w 51"/>
                    <a:gd name="T45" fmla="*/ 9 h 23"/>
                    <a:gd name="T46" fmla="*/ 10 w 51"/>
                    <a:gd name="T47" fmla="*/ 9 h 23"/>
                    <a:gd name="T48" fmla="*/ 8 w 51"/>
                    <a:gd name="T49" fmla="*/ 8 h 23"/>
                    <a:gd name="T50" fmla="*/ 6 w 51"/>
                    <a:gd name="T51" fmla="*/ 7 h 23"/>
                    <a:gd name="T52" fmla="*/ 5 w 51"/>
                    <a:gd name="T53" fmla="*/ 7 h 23"/>
                    <a:gd name="T54" fmla="*/ 3 w 51"/>
                    <a:gd name="T55" fmla="*/ 6 h 23"/>
                    <a:gd name="T56" fmla="*/ 2 w 51"/>
                    <a:gd name="T57" fmla="*/ 5 h 23"/>
                    <a:gd name="T58" fmla="*/ 2 w 51"/>
                    <a:gd name="T59" fmla="*/ 4 h 23"/>
                    <a:gd name="T60" fmla="*/ 2 w 51"/>
                    <a:gd name="T61" fmla="*/ 3 h 23"/>
                    <a:gd name="T62" fmla="*/ 2 w 51"/>
                    <a:gd name="T63" fmla="*/ 3 h 23"/>
                    <a:gd name="T64" fmla="*/ 2 w 51"/>
                    <a:gd name="T65" fmla="*/ 2 h 23"/>
                    <a:gd name="T66" fmla="*/ 2 w 51"/>
                    <a:gd name="T67" fmla="*/ 1 h 23"/>
                    <a:gd name="T68" fmla="*/ 2 w 51"/>
                    <a:gd name="T69" fmla="*/ 1 h 23"/>
                    <a:gd name="T70" fmla="*/ 2 w 51"/>
                    <a:gd name="T71" fmla="*/ 1 h 23"/>
                    <a:gd name="T72" fmla="*/ 1 w 51"/>
                    <a:gd name="T73" fmla="*/ 1 h 23"/>
                    <a:gd name="T74" fmla="*/ 1 w 51"/>
                    <a:gd name="T75" fmla="*/ 0 h 23"/>
                    <a:gd name="T76" fmla="*/ 1 w 51"/>
                    <a:gd name="T77" fmla="*/ 1 h 23"/>
                    <a:gd name="T78" fmla="*/ 1 w 51"/>
                    <a:gd name="T79" fmla="*/ 1 h 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1" h="23">
                      <a:moveTo>
                        <a:pt x="1" y="2"/>
                      </a:moveTo>
                      <a:lnTo>
                        <a:pt x="0" y="3"/>
                      </a:lnTo>
                      <a:lnTo>
                        <a:pt x="0" y="4"/>
                      </a:lnTo>
                      <a:lnTo>
                        <a:pt x="0" y="6"/>
                      </a:lnTo>
                      <a:lnTo>
                        <a:pt x="0" y="8"/>
                      </a:lnTo>
                      <a:lnTo>
                        <a:pt x="1" y="10"/>
                      </a:lnTo>
                      <a:lnTo>
                        <a:pt x="2" y="11"/>
                      </a:lnTo>
                      <a:lnTo>
                        <a:pt x="3" y="12"/>
                      </a:lnTo>
                      <a:lnTo>
                        <a:pt x="4" y="13"/>
                      </a:lnTo>
                      <a:lnTo>
                        <a:pt x="5" y="14"/>
                      </a:lnTo>
                      <a:lnTo>
                        <a:pt x="6" y="15"/>
                      </a:lnTo>
                      <a:lnTo>
                        <a:pt x="7" y="16"/>
                      </a:lnTo>
                      <a:lnTo>
                        <a:pt x="9" y="16"/>
                      </a:lnTo>
                      <a:lnTo>
                        <a:pt x="11" y="17"/>
                      </a:lnTo>
                      <a:lnTo>
                        <a:pt x="12" y="18"/>
                      </a:lnTo>
                      <a:lnTo>
                        <a:pt x="14" y="18"/>
                      </a:lnTo>
                      <a:lnTo>
                        <a:pt x="16" y="18"/>
                      </a:lnTo>
                      <a:lnTo>
                        <a:pt x="18" y="19"/>
                      </a:lnTo>
                      <a:lnTo>
                        <a:pt x="20" y="20"/>
                      </a:lnTo>
                      <a:lnTo>
                        <a:pt x="23" y="20"/>
                      </a:lnTo>
                      <a:lnTo>
                        <a:pt x="24" y="21"/>
                      </a:lnTo>
                      <a:lnTo>
                        <a:pt x="27" y="21"/>
                      </a:lnTo>
                      <a:lnTo>
                        <a:pt x="29" y="21"/>
                      </a:lnTo>
                      <a:lnTo>
                        <a:pt x="31" y="21"/>
                      </a:lnTo>
                      <a:lnTo>
                        <a:pt x="34" y="21"/>
                      </a:lnTo>
                      <a:lnTo>
                        <a:pt x="36" y="22"/>
                      </a:lnTo>
                      <a:lnTo>
                        <a:pt x="38" y="22"/>
                      </a:lnTo>
                      <a:lnTo>
                        <a:pt x="40" y="22"/>
                      </a:lnTo>
                      <a:lnTo>
                        <a:pt x="43" y="22"/>
                      </a:lnTo>
                      <a:lnTo>
                        <a:pt x="45" y="22"/>
                      </a:lnTo>
                      <a:lnTo>
                        <a:pt x="47" y="22"/>
                      </a:lnTo>
                      <a:lnTo>
                        <a:pt x="49" y="22"/>
                      </a:lnTo>
                      <a:lnTo>
                        <a:pt x="51" y="23"/>
                      </a:lnTo>
                      <a:lnTo>
                        <a:pt x="51" y="18"/>
                      </a:lnTo>
                      <a:lnTo>
                        <a:pt x="49" y="18"/>
                      </a:lnTo>
                      <a:lnTo>
                        <a:pt x="47" y="18"/>
                      </a:lnTo>
                      <a:lnTo>
                        <a:pt x="45" y="18"/>
                      </a:lnTo>
                      <a:lnTo>
                        <a:pt x="43" y="18"/>
                      </a:lnTo>
                      <a:lnTo>
                        <a:pt x="40" y="18"/>
                      </a:lnTo>
                      <a:lnTo>
                        <a:pt x="38" y="18"/>
                      </a:lnTo>
                      <a:lnTo>
                        <a:pt x="36" y="18"/>
                      </a:lnTo>
                      <a:lnTo>
                        <a:pt x="34" y="18"/>
                      </a:lnTo>
                      <a:lnTo>
                        <a:pt x="32" y="18"/>
                      </a:lnTo>
                      <a:lnTo>
                        <a:pt x="29" y="17"/>
                      </a:lnTo>
                      <a:lnTo>
                        <a:pt x="27" y="16"/>
                      </a:lnTo>
                      <a:lnTo>
                        <a:pt x="25" y="16"/>
                      </a:lnTo>
                      <a:lnTo>
                        <a:pt x="23" y="16"/>
                      </a:lnTo>
                      <a:lnTo>
                        <a:pt x="21" y="16"/>
                      </a:lnTo>
                      <a:lnTo>
                        <a:pt x="19" y="15"/>
                      </a:lnTo>
                      <a:lnTo>
                        <a:pt x="17" y="15"/>
                      </a:lnTo>
                      <a:lnTo>
                        <a:pt x="15" y="14"/>
                      </a:lnTo>
                      <a:lnTo>
                        <a:pt x="13" y="14"/>
                      </a:lnTo>
                      <a:lnTo>
                        <a:pt x="11" y="13"/>
                      </a:lnTo>
                      <a:lnTo>
                        <a:pt x="10" y="12"/>
                      </a:lnTo>
                      <a:lnTo>
                        <a:pt x="9" y="12"/>
                      </a:lnTo>
                      <a:lnTo>
                        <a:pt x="7" y="11"/>
                      </a:lnTo>
                      <a:lnTo>
                        <a:pt x="6" y="10"/>
                      </a:lnTo>
                      <a:lnTo>
                        <a:pt x="5" y="10"/>
                      </a:lnTo>
                      <a:lnTo>
                        <a:pt x="5" y="9"/>
                      </a:lnTo>
                      <a:lnTo>
                        <a:pt x="4" y="8"/>
                      </a:lnTo>
                      <a:lnTo>
                        <a:pt x="4" y="6"/>
                      </a:lnTo>
                      <a:lnTo>
                        <a:pt x="4" y="5"/>
                      </a:lnTo>
                      <a:lnTo>
                        <a:pt x="4" y="4"/>
                      </a:lnTo>
                      <a:lnTo>
                        <a:pt x="4" y="3"/>
                      </a:lnTo>
                      <a:lnTo>
                        <a:pt x="5" y="3"/>
                      </a:lnTo>
                      <a:lnTo>
                        <a:pt x="4" y="2"/>
                      </a:lnTo>
                      <a:lnTo>
                        <a:pt x="4" y="1"/>
                      </a:lnTo>
                      <a:lnTo>
                        <a:pt x="3" y="1"/>
                      </a:lnTo>
                      <a:lnTo>
                        <a:pt x="3" y="0"/>
                      </a:lnTo>
                      <a:lnTo>
                        <a:pt x="2" y="1"/>
                      </a:lnTo>
                      <a:lnTo>
                        <a:pt x="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6" name="Freeform 838">
                  <a:extLst>
                    <a:ext uri="{FF2B5EF4-FFF2-40B4-BE49-F238E27FC236}">
                      <a16:creationId xmlns:a16="http://schemas.microsoft.com/office/drawing/2014/main" id="{8A3E73B6-46BB-579B-4B3A-52A3B537F472}"/>
                    </a:ext>
                  </a:extLst>
                </p:cNvPr>
                <p:cNvSpPr>
                  <a:spLocks/>
                </p:cNvSpPr>
                <p:nvPr/>
              </p:nvSpPr>
              <p:spPr bwMode="auto">
                <a:xfrm>
                  <a:off x="830" y="2119"/>
                  <a:ext cx="106" cy="114"/>
                </a:xfrm>
                <a:custGeom>
                  <a:avLst/>
                  <a:gdLst>
                    <a:gd name="T0" fmla="*/ 70 w 153"/>
                    <a:gd name="T1" fmla="*/ 1 h 159"/>
                    <a:gd name="T2" fmla="*/ 66 w 153"/>
                    <a:gd name="T3" fmla="*/ 5 h 159"/>
                    <a:gd name="T4" fmla="*/ 62 w 153"/>
                    <a:gd name="T5" fmla="*/ 9 h 159"/>
                    <a:gd name="T6" fmla="*/ 57 w 153"/>
                    <a:gd name="T7" fmla="*/ 13 h 159"/>
                    <a:gd name="T8" fmla="*/ 53 w 153"/>
                    <a:gd name="T9" fmla="*/ 16 h 159"/>
                    <a:gd name="T10" fmla="*/ 48 w 153"/>
                    <a:gd name="T11" fmla="*/ 21 h 159"/>
                    <a:gd name="T12" fmla="*/ 42 w 153"/>
                    <a:gd name="T13" fmla="*/ 26 h 159"/>
                    <a:gd name="T14" fmla="*/ 37 w 153"/>
                    <a:gd name="T15" fmla="*/ 30 h 159"/>
                    <a:gd name="T16" fmla="*/ 32 w 153"/>
                    <a:gd name="T17" fmla="*/ 35 h 159"/>
                    <a:gd name="T18" fmla="*/ 27 w 153"/>
                    <a:gd name="T19" fmla="*/ 41 h 159"/>
                    <a:gd name="T20" fmla="*/ 23 w 153"/>
                    <a:gd name="T21" fmla="*/ 47 h 159"/>
                    <a:gd name="T22" fmla="*/ 18 w 153"/>
                    <a:gd name="T23" fmla="*/ 52 h 159"/>
                    <a:gd name="T24" fmla="*/ 13 w 153"/>
                    <a:gd name="T25" fmla="*/ 58 h 159"/>
                    <a:gd name="T26" fmla="*/ 9 w 153"/>
                    <a:gd name="T27" fmla="*/ 65 h 159"/>
                    <a:gd name="T28" fmla="*/ 6 w 153"/>
                    <a:gd name="T29" fmla="*/ 70 h 159"/>
                    <a:gd name="T30" fmla="*/ 1 w 153"/>
                    <a:gd name="T31" fmla="*/ 77 h 159"/>
                    <a:gd name="T32" fmla="*/ 1 w 153"/>
                    <a:gd name="T33" fmla="*/ 82 h 159"/>
                    <a:gd name="T34" fmla="*/ 5 w 153"/>
                    <a:gd name="T35" fmla="*/ 75 h 159"/>
                    <a:gd name="T36" fmla="*/ 8 w 153"/>
                    <a:gd name="T37" fmla="*/ 69 h 159"/>
                    <a:gd name="T38" fmla="*/ 12 w 153"/>
                    <a:gd name="T39" fmla="*/ 62 h 159"/>
                    <a:gd name="T40" fmla="*/ 17 w 153"/>
                    <a:gd name="T41" fmla="*/ 57 h 159"/>
                    <a:gd name="T42" fmla="*/ 21 w 153"/>
                    <a:gd name="T43" fmla="*/ 50 h 159"/>
                    <a:gd name="T44" fmla="*/ 26 w 153"/>
                    <a:gd name="T45" fmla="*/ 45 h 159"/>
                    <a:gd name="T46" fmla="*/ 30 w 153"/>
                    <a:gd name="T47" fmla="*/ 39 h 159"/>
                    <a:gd name="T48" fmla="*/ 35 w 153"/>
                    <a:gd name="T49" fmla="*/ 34 h 159"/>
                    <a:gd name="T50" fmla="*/ 41 w 153"/>
                    <a:gd name="T51" fmla="*/ 30 h 159"/>
                    <a:gd name="T52" fmla="*/ 46 w 153"/>
                    <a:gd name="T53" fmla="*/ 25 h 159"/>
                    <a:gd name="T54" fmla="*/ 51 w 153"/>
                    <a:gd name="T55" fmla="*/ 21 h 159"/>
                    <a:gd name="T56" fmla="*/ 55 w 153"/>
                    <a:gd name="T57" fmla="*/ 16 h 159"/>
                    <a:gd name="T58" fmla="*/ 60 w 153"/>
                    <a:gd name="T59" fmla="*/ 12 h 159"/>
                    <a:gd name="T60" fmla="*/ 65 w 153"/>
                    <a:gd name="T61" fmla="*/ 9 h 159"/>
                    <a:gd name="T62" fmla="*/ 69 w 153"/>
                    <a:gd name="T63" fmla="*/ 5 h 159"/>
                    <a:gd name="T64" fmla="*/ 73 w 153"/>
                    <a:gd name="T65" fmla="*/ 2 h 159"/>
                    <a:gd name="T66" fmla="*/ 73 w 153"/>
                    <a:gd name="T67" fmla="*/ 1 h 159"/>
                    <a:gd name="T68" fmla="*/ 73 w 153"/>
                    <a:gd name="T69" fmla="*/ 1 h 159"/>
                    <a:gd name="T70" fmla="*/ 73 w 153"/>
                    <a:gd name="T71" fmla="*/ 1 h 159"/>
                    <a:gd name="T72" fmla="*/ 73 w 153"/>
                    <a:gd name="T73" fmla="*/ 1 h 159"/>
                    <a:gd name="T74" fmla="*/ 73 w 153"/>
                    <a:gd name="T75" fmla="*/ 0 h 159"/>
                    <a:gd name="T76" fmla="*/ 73 w 153"/>
                    <a:gd name="T77" fmla="*/ 0 h 159"/>
                    <a:gd name="T78" fmla="*/ 73 w 153"/>
                    <a:gd name="T79" fmla="*/ 0 h 159"/>
                    <a:gd name="T80" fmla="*/ 73 w 153"/>
                    <a:gd name="T81" fmla="*/ 0 h 1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53" h="159">
                      <a:moveTo>
                        <a:pt x="151" y="0"/>
                      </a:moveTo>
                      <a:lnTo>
                        <a:pt x="146" y="3"/>
                      </a:lnTo>
                      <a:lnTo>
                        <a:pt x="142" y="7"/>
                      </a:lnTo>
                      <a:lnTo>
                        <a:pt x="137" y="10"/>
                      </a:lnTo>
                      <a:lnTo>
                        <a:pt x="133" y="14"/>
                      </a:lnTo>
                      <a:lnTo>
                        <a:pt x="128" y="17"/>
                      </a:lnTo>
                      <a:lnTo>
                        <a:pt x="124" y="21"/>
                      </a:lnTo>
                      <a:lnTo>
                        <a:pt x="119" y="25"/>
                      </a:lnTo>
                      <a:lnTo>
                        <a:pt x="114" y="29"/>
                      </a:lnTo>
                      <a:lnTo>
                        <a:pt x="109" y="32"/>
                      </a:lnTo>
                      <a:lnTo>
                        <a:pt x="104" y="37"/>
                      </a:lnTo>
                      <a:lnTo>
                        <a:pt x="99" y="41"/>
                      </a:lnTo>
                      <a:lnTo>
                        <a:pt x="94" y="46"/>
                      </a:lnTo>
                      <a:lnTo>
                        <a:pt x="88" y="50"/>
                      </a:lnTo>
                      <a:lnTo>
                        <a:pt x="83" y="55"/>
                      </a:lnTo>
                      <a:lnTo>
                        <a:pt x="77" y="59"/>
                      </a:lnTo>
                      <a:lnTo>
                        <a:pt x="72" y="64"/>
                      </a:lnTo>
                      <a:lnTo>
                        <a:pt x="67" y="69"/>
                      </a:lnTo>
                      <a:lnTo>
                        <a:pt x="62" y="74"/>
                      </a:lnTo>
                      <a:lnTo>
                        <a:pt x="57" y="79"/>
                      </a:lnTo>
                      <a:lnTo>
                        <a:pt x="52" y="85"/>
                      </a:lnTo>
                      <a:lnTo>
                        <a:pt x="47" y="90"/>
                      </a:lnTo>
                      <a:lnTo>
                        <a:pt x="42" y="96"/>
                      </a:lnTo>
                      <a:lnTo>
                        <a:pt x="37" y="101"/>
                      </a:lnTo>
                      <a:lnTo>
                        <a:pt x="33" y="106"/>
                      </a:lnTo>
                      <a:lnTo>
                        <a:pt x="28" y="113"/>
                      </a:lnTo>
                      <a:lnTo>
                        <a:pt x="24" y="118"/>
                      </a:lnTo>
                      <a:lnTo>
                        <a:pt x="19" y="125"/>
                      </a:lnTo>
                      <a:lnTo>
                        <a:pt x="15" y="131"/>
                      </a:lnTo>
                      <a:lnTo>
                        <a:pt x="11" y="137"/>
                      </a:lnTo>
                      <a:lnTo>
                        <a:pt x="7" y="143"/>
                      </a:lnTo>
                      <a:lnTo>
                        <a:pt x="3" y="150"/>
                      </a:lnTo>
                      <a:lnTo>
                        <a:pt x="0" y="157"/>
                      </a:lnTo>
                      <a:lnTo>
                        <a:pt x="3" y="159"/>
                      </a:lnTo>
                      <a:lnTo>
                        <a:pt x="6" y="152"/>
                      </a:lnTo>
                      <a:lnTo>
                        <a:pt x="10" y="146"/>
                      </a:lnTo>
                      <a:lnTo>
                        <a:pt x="13" y="140"/>
                      </a:lnTo>
                      <a:lnTo>
                        <a:pt x="18" y="134"/>
                      </a:lnTo>
                      <a:lnTo>
                        <a:pt x="22" y="128"/>
                      </a:lnTo>
                      <a:lnTo>
                        <a:pt x="26" y="122"/>
                      </a:lnTo>
                      <a:lnTo>
                        <a:pt x="30" y="116"/>
                      </a:lnTo>
                      <a:lnTo>
                        <a:pt x="35" y="110"/>
                      </a:lnTo>
                      <a:lnTo>
                        <a:pt x="40" y="104"/>
                      </a:lnTo>
                      <a:lnTo>
                        <a:pt x="44" y="98"/>
                      </a:lnTo>
                      <a:lnTo>
                        <a:pt x="49" y="93"/>
                      </a:lnTo>
                      <a:lnTo>
                        <a:pt x="54" y="88"/>
                      </a:lnTo>
                      <a:lnTo>
                        <a:pt x="59" y="83"/>
                      </a:lnTo>
                      <a:lnTo>
                        <a:pt x="64" y="77"/>
                      </a:lnTo>
                      <a:lnTo>
                        <a:pt x="69" y="73"/>
                      </a:lnTo>
                      <a:lnTo>
                        <a:pt x="74" y="67"/>
                      </a:lnTo>
                      <a:lnTo>
                        <a:pt x="80" y="62"/>
                      </a:lnTo>
                      <a:lnTo>
                        <a:pt x="85" y="58"/>
                      </a:lnTo>
                      <a:lnTo>
                        <a:pt x="90" y="53"/>
                      </a:lnTo>
                      <a:lnTo>
                        <a:pt x="95" y="49"/>
                      </a:lnTo>
                      <a:lnTo>
                        <a:pt x="100" y="44"/>
                      </a:lnTo>
                      <a:lnTo>
                        <a:pt x="105" y="40"/>
                      </a:lnTo>
                      <a:lnTo>
                        <a:pt x="110" y="36"/>
                      </a:lnTo>
                      <a:lnTo>
                        <a:pt x="116" y="32"/>
                      </a:lnTo>
                      <a:lnTo>
                        <a:pt x="120" y="28"/>
                      </a:lnTo>
                      <a:lnTo>
                        <a:pt x="126" y="24"/>
                      </a:lnTo>
                      <a:lnTo>
                        <a:pt x="130" y="20"/>
                      </a:lnTo>
                      <a:lnTo>
                        <a:pt x="135" y="17"/>
                      </a:lnTo>
                      <a:lnTo>
                        <a:pt x="139" y="14"/>
                      </a:lnTo>
                      <a:lnTo>
                        <a:pt x="144" y="10"/>
                      </a:lnTo>
                      <a:lnTo>
                        <a:pt x="148" y="7"/>
                      </a:lnTo>
                      <a:lnTo>
                        <a:pt x="152" y="4"/>
                      </a:lnTo>
                      <a:lnTo>
                        <a:pt x="152" y="3"/>
                      </a:lnTo>
                      <a:lnTo>
                        <a:pt x="153" y="3"/>
                      </a:lnTo>
                      <a:lnTo>
                        <a:pt x="153" y="2"/>
                      </a:lnTo>
                      <a:lnTo>
                        <a:pt x="153" y="1"/>
                      </a:lnTo>
                      <a:lnTo>
                        <a:pt x="152" y="1"/>
                      </a:lnTo>
                      <a:lnTo>
                        <a:pt x="152" y="0"/>
                      </a:lnTo>
                      <a:lnTo>
                        <a:pt x="1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7" name="Freeform 839">
                  <a:extLst>
                    <a:ext uri="{FF2B5EF4-FFF2-40B4-BE49-F238E27FC236}">
                      <a16:creationId xmlns:a16="http://schemas.microsoft.com/office/drawing/2014/main" id="{26A09C7E-BF5C-CEB0-6F34-BD3F00CC5922}"/>
                    </a:ext>
                  </a:extLst>
                </p:cNvPr>
                <p:cNvSpPr>
                  <a:spLocks/>
                </p:cNvSpPr>
                <p:nvPr/>
              </p:nvSpPr>
              <p:spPr bwMode="auto">
                <a:xfrm>
                  <a:off x="921" y="2038"/>
                  <a:ext cx="24" cy="84"/>
                </a:xfrm>
                <a:custGeom>
                  <a:avLst/>
                  <a:gdLst>
                    <a:gd name="T0" fmla="*/ 1 w 35"/>
                    <a:gd name="T1" fmla="*/ 1 h 118"/>
                    <a:gd name="T2" fmla="*/ 0 w 35"/>
                    <a:gd name="T3" fmla="*/ 4 h 118"/>
                    <a:gd name="T4" fmla="*/ 1 w 35"/>
                    <a:gd name="T5" fmla="*/ 7 h 118"/>
                    <a:gd name="T6" fmla="*/ 1 w 35"/>
                    <a:gd name="T7" fmla="*/ 11 h 118"/>
                    <a:gd name="T8" fmla="*/ 3 w 35"/>
                    <a:gd name="T9" fmla="*/ 15 h 118"/>
                    <a:gd name="T10" fmla="*/ 5 w 35"/>
                    <a:gd name="T11" fmla="*/ 19 h 118"/>
                    <a:gd name="T12" fmla="*/ 7 w 35"/>
                    <a:gd name="T13" fmla="*/ 23 h 118"/>
                    <a:gd name="T14" fmla="*/ 8 w 35"/>
                    <a:gd name="T15" fmla="*/ 27 h 118"/>
                    <a:gd name="T16" fmla="*/ 10 w 35"/>
                    <a:gd name="T17" fmla="*/ 31 h 118"/>
                    <a:gd name="T18" fmla="*/ 12 w 35"/>
                    <a:gd name="T19" fmla="*/ 35 h 118"/>
                    <a:gd name="T20" fmla="*/ 14 w 35"/>
                    <a:gd name="T21" fmla="*/ 39 h 118"/>
                    <a:gd name="T22" fmla="*/ 14 w 35"/>
                    <a:gd name="T23" fmla="*/ 43 h 118"/>
                    <a:gd name="T24" fmla="*/ 15 w 35"/>
                    <a:gd name="T25" fmla="*/ 46 h 118"/>
                    <a:gd name="T26" fmla="*/ 14 w 35"/>
                    <a:gd name="T27" fmla="*/ 50 h 118"/>
                    <a:gd name="T28" fmla="*/ 14 w 35"/>
                    <a:gd name="T29" fmla="*/ 53 h 118"/>
                    <a:gd name="T30" fmla="*/ 12 w 35"/>
                    <a:gd name="T31" fmla="*/ 56 h 118"/>
                    <a:gd name="T32" fmla="*/ 10 w 35"/>
                    <a:gd name="T33" fmla="*/ 58 h 118"/>
                    <a:gd name="T34" fmla="*/ 12 w 35"/>
                    <a:gd name="T35" fmla="*/ 59 h 118"/>
                    <a:gd name="T36" fmla="*/ 14 w 35"/>
                    <a:gd name="T37" fmla="*/ 56 h 118"/>
                    <a:gd name="T38" fmla="*/ 16 w 35"/>
                    <a:gd name="T39" fmla="*/ 52 h 118"/>
                    <a:gd name="T40" fmla="*/ 16 w 35"/>
                    <a:gd name="T41" fmla="*/ 48 h 118"/>
                    <a:gd name="T42" fmla="*/ 16 w 35"/>
                    <a:gd name="T43" fmla="*/ 44 h 118"/>
                    <a:gd name="T44" fmla="*/ 15 w 35"/>
                    <a:gd name="T45" fmla="*/ 40 h 118"/>
                    <a:gd name="T46" fmla="*/ 14 w 35"/>
                    <a:gd name="T47" fmla="*/ 36 h 118"/>
                    <a:gd name="T48" fmla="*/ 12 w 35"/>
                    <a:gd name="T49" fmla="*/ 32 h 118"/>
                    <a:gd name="T50" fmla="*/ 10 w 35"/>
                    <a:gd name="T51" fmla="*/ 28 h 118"/>
                    <a:gd name="T52" fmla="*/ 8 w 35"/>
                    <a:gd name="T53" fmla="*/ 23 h 118"/>
                    <a:gd name="T54" fmla="*/ 7 w 35"/>
                    <a:gd name="T55" fmla="*/ 19 h 118"/>
                    <a:gd name="T56" fmla="*/ 5 w 35"/>
                    <a:gd name="T57" fmla="*/ 16 h 118"/>
                    <a:gd name="T58" fmla="*/ 3 w 35"/>
                    <a:gd name="T59" fmla="*/ 11 h 118"/>
                    <a:gd name="T60" fmla="*/ 2 w 35"/>
                    <a:gd name="T61" fmla="*/ 9 h 118"/>
                    <a:gd name="T62" fmla="*/ 2 w 35"/>
                    <a:gd name="T63" fmla="*/ 6 h 118"/>
                    <a:gd name="T64" fmla="*/ 2 w 35"/>
                    <a:gd name="T65" fmla="*/ 3 h 118"/>
                    <a:gd name="T66" fmla="*/ 2 w 35"/>
                    <a:gd name="T67" fmla="*/ 2 h 118"/>
                    <a:gd name="T68" fmla="*/ 2 w 35"/>
                    <a:gd name="T69" fmla="*/ 1 h 118"/>
                    <a:gd name="T70" fmla="*/ 2 w 35"/>
                    <a:gd name="T71" fmla="*/ 1 h 118"/>
                    <a:gd name="T72" fmla="*/ 2 w 35"/>
                    <a:gd name="T73" fmla="*/ 1 h 118"/>
                    <a:gd name="T74" fmla="*/ 1 w 35"/>
                    <a:gd name="T75" fmla="*/ 1 h 118"/>
                    <a:gd name="T76" fmla="*/ 1 w 35"/>
                    <a:gd name="T77" fmla="*/ 0 h 118"/>
                    <a:gd name="T78" fmla="*/ 1 w 35"/>
                    <a:gd name="T79" fmla="*/ 1 h 118"/>
                    <a:gd name="T80" fmla="*/ 1 w 35"/>
                    <a:gd name="T81" fmla="*/ 1 h 118"/>
                    <a:gd name="T82" fmla="*/ 1 w 35"/>
                    <a:gd name="T83" fmla="*/ 1 h 1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5" h="118">
                      <a:moveTo>
                        <a:pt x="1" y="1"/>
                      </a:moveTo>
                      <a:lnTo>
                        <a:pt x="1" y="2"/>
                      </a:lnTo>
                      <a:lnTo>
                        <a:pt x="1" y="5"/>
                      </a:lnTo>
                      <a:lnTo>
                        <a:pt x="0" y="8"/>
                      </a:lnTo>
                      <a:lnTo>
                        <a:pt x="1" y="11"/>
                      </a:lnTo>
                      <a:lnTo>
                        <a:pt x="1" y="14"/>
                      </a:lnTo>
                      <a:lnTo>
                        <a:pt x="2" y="18"/>
                      </a:lnTo>
                      <a:lnTo>
                        <a:pt x="3" y="22"/>
                      </a:lnTo>
                      <a:lnTo>
                        <a:pt x="5" y="25"/>
                      </a:lnTo>
                      <a:lnTo>
                        <a:pt x="6" y="29"/>
                      </a:lnTo>
                      <a:lnTo>
                        <a:pt x="8" y="33"/>
                      </a:lnTo>
                      <a:lnTo>
                        <a:pt x="10" y="37"/>
                      </a:lnTo>
                      <a:lnTo>
                        <a:pt x="12" y="41"/>
                      </a:lnTo>
                      <a:lnTo>
                        <a:pt x="14" y="45"/>
                      </a:lnTo>
                      <a:lnTo>
                        <a:pt x="16" y="49"/>
                      </a:lnTo>
                      <a:lnTo>
                        <a:pt x="17" y="53"/>
                      </a:lnTo>
                      <a:lnTo>
                        <a:pt x="20" y="57"/>
                      </a:lnTo>
                      <a:lnTo>
                        <a:pt x="21" y="61"/>
                      </a:lnTo>
                      <a:lnTo>
                        <a:pt x="24" y="65"/>
                      </a:lnTo>
                      <a:lnTo>
                        <a:pt x="25" y="69"/>
                      </a:lnTo>
                      <a:lnTo>
                        <a:pt x="27" y="73"/>
                      </a:lnTo>
                      <a:lnTo>
                        <a:pt x="29" y="77"/>
                      </a:lnTo>
                      <a:lnTo>
                        <a:pt x="29" y="81"/>
                      </a:lnTo>
                      <a:lnTo>
                        <a:pt x="30" y="84"/>
                      </a:lnTo>
                      <a:lnTo>
                        <a:pt x="31" y="88"/>
                      </a:lnTo>
                      <a:lnTo>
                        <a:pt x="32" y="92"/>
                      </a:lnTo>
                      <a:lnTo>
                        <a:pt x="32" y="95"/>
                      </a:lnTo>
                      <a:lnTo>
                        <a:pt x="31" y="98"/>
                      </a:lnTo>
                      <a:lnTo>
                        <a:pt x="31" y="101"/>
                      </a:lnTo>
                      <a:lnTo>
                        <a:pt x="29" y="104"/>
                      </a:lnTo>
                      <a:lnTo>
                        <a:pt x="29" y="107"/>
                      </a:lnTo>
                      <a:lnTo>
                        <a:pt x="26" y="110"/>
                      </a:lnTo>
                      <a:lnTo>
                        <a:pt x="24" y="112"/>
                      </a:lnTo>
                      <a:lnTo>
                        <a:pt x="21" y="114"/>
                      </a:lnTo>
                      <a:lnTo>
                        <a:pt x="22" y="118"/>
                      </a:lnTo>
                      <a:lnTo>
                        <a:pt x="26" y="116"/>
                      </a:lnTo>
                      <a:lnTo>
                        <a:pt x="29" y="112"/>
                      </a:lnTo>
                      <a:lnTo>
                        <a:pt x="31" y="109"/>
                      </a:lnTo>
                      <a:lnTo>
                        <a:pt x="32" y="106"/>
                      </a:lnTo>
                      <a:lnTo>
                        <a:pt x="34" y="102"/>
                      </a:lnTo>
                      <a:lnTo>
                        <a:pt x="34" y="99"/>
                      </a:lnTo>
                      <a:lnTo>
                        <a:pt x="35" y="95"/>
                      </a:lnTo>
                      <a:lnTo>
                        <a:pt x="35" y="91"/>
                      </a:lnTo>
                      <a:lnTo>
                        <a:pt x="34" y="87"/>
                      </a:lnTo>
                      <a:lnTo>
                        <a:pt x="33" y="83"/>
                      </a:lnTo>
                      <a:lnTo>
                        <a:pt x="32" y="79"/>
                      </a:lnTo>
                      <a:lnTo>
                        <a:pt x="31" y="75"/>
                      </a:lnTo>
                      <a:lnTo>
                        <a:pt x="29" y="71"/>
                      </a:lnTo>
                      <a:lnTo>
                        <a:pt x="28" y="67"/>
                      </a:lnTo>
                      <a:lnTo>
                        <a:pt x="26" y="63"/>
                      </a:lnTo>
                      <a:lnTo>
                        <a:pt x="24" y="59"/>
                      </a:lnTo>
                      <a:lnTo>
                        <a:pt x="22" y="55"/>
                      </a:lnTo>
                      <a:lnTo>
                        <a:pt x="20" y="51"/>
                      </a:lnTo>
                      <a:lnTo>
                        <a:pt x="18" y="46"/>
                      </a:lnTo>
                      <a:lnTo>
                        <a:pt x="16" y="42"/>
                      </a:lnTo>
                      <a:lnTo>
                        <a:pt x="14" y="38"/>
                      </a:lnTo>
                      <a:lnTo>
                        <a:pt x="12" y="35"/>
                      </a:lnTo>
                      <a:lnTo>
                        <a:pt x="11" y="31"/>
                      </a:lnTo>
                      <a:lnTo>
                        <a:pt x="9" y="27"/>
                      </a:lnTo>
                      <a:lnTo>
                        <a:pt x="8" y="23"/>
                      </a:lnTo>
                      <a:lnTo>
                        <a:pt x="6" y="20"/>
                      </a:lnTo>
                      <a:lnTo>
                        <a:pt x="5" y="17"/>
                      </a:lnTo>
                      <a:lnTo>
                        <a:pt x="5" y="13"/>
                      </a:lnTo>
                      <a:lnTo>
                        <a:pt x="4" y="11"/>
                      </a:lnTo>
                      <a:lnTo>
                        <a:pt x="4" y="8"/>
                      </a:lnTo>
                      <a:lnTo>
                        <a:pt x="4" y="5"/>
                      </a:lnTo>
                      <a:lnTo>
                        <a:pt x="4" y="3"/>
                      </a:lnTo>
                      <a:lnTo>
                        <a:pt x="4" y="4"/>
                      </a:lnTo>
                      <a:lnTo>
                        <a:pt x="4" y="3"/>
                      </a:lnTo>
                      <a:lnTo>
                        <a:pt x="5" y="2"/>
                      </a:lnTo>
                      <a:lnTo>
                        <a:pt x="4" y="2"/>
                      </a:lnTo>
                      <a:lnTo>
                        <a:pt x="4" y="1"/>
                      </a:lnTo>
                      <a:lnTo>
                        <a:pt x="3" y="1"/>
                      </a:lnTo>
                      <a:lnTo>
                        <a:pt x="3" y="0"/>
                      </a:lnTo>
                      <a:lnTo>
                        <a:pt x="2" y="0"/>
                      </a:lnTo>
                      <a:lnTo>
                        <a:pt x="2" y="1"/>
                      </a:lnTo>
                      <a:lnTo>
                        <a:pt x="1" y="1"/>
                      </a:lnTo>
                      <a:lnTo>
                        <a:pt x="1" y="2"/>
                      </a:lnTo>
                      <a:lnTo>
                        <a:pt x="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8" name="Freeform 840">
                  <a:extLst>
                    <a:ext uri="{FF2B5EF4-FFF2-40B4-BE49-F238E27FC236}">
                      <a16:creationId xmlns:a16="http://schemas.microsoft.com/office/drawing/2014/main" id="{54EEDA5B-8ED2-703D-7556-31686303606D}"/>
                    </a:ext>
                  </a:extLst>
                </p:cNvPr>
                <p:cNvSpPr>
                  <a:spLocks/>
                </p:cNvSpPr>
                <p:nvPr/>
              </p:nvSpPr>
              <p:spPr bwMode="auto">
                <a:xfrm>
                  <a:off x="922" y="2010"/>
                  <a:ext cx="18" cy="31"/>
                </a:xfrm>
                <a:custGeom>
                  <a:avLst/>
                  <a:gdLst>
                    <a:gd name="T0" fmla="*/ 1 w 26"/>
                    <a:gd name="T1" fmla="*/ 3 h 44"/>
                    <a:gd name="T2" fmla="*/ 3 w 26"/>
                    <a:gd name="T3" fmla="*/ 4 h 44"/>
                    <a:gd name="T4" fmla="*/ 6 w 26"/>
                    <a:gd name="T5" fmla="*/ 6 h 44"/>
                    <a:gd name="T6" fmla="*/ 8 w 26"/>
                    <a:gd name="T7" fmla="*/ 6 h 44"/>
                    <a:gd name="T8" fmla="*/ 9 w 26"/>
                    <a:gd name="T9" fmla="*/ 7 h 44"/>
                    <a:gd name="T10" fmla="*/ 10 w 26"/>
                    <a:gd name="T11" fmla="*/ 8 h 44"/>
                    <a:gd name="T12" fmla="*/ 11 w 26"/>
                    <a:gd name="T13" fmla="*/ 8 h 44"/>
                    <a:gd name="T14" fmla="*/ 11 w 26"/>
                    <a:gd name="T15" fmla="*/ 8 h 44"/>
                    <a:gd name="T16" fmla="*/ 11 w 26"/>
                    <a:gd name="T17" fmla="*/ 6 h 44"/>
                    <a:gd name="T18" fmla="*/ 10 w 26"/>
                    <a:gd name="T19" fmla="*/ 8 h 44"/>
                    <a:gd name="T20" fmla="*/ 10 w 26"/>
                    <a:gd name="T21" fmla="*/ 8 h 44"/>
                    <a:gd name="T22" fmla="*/ 8 w 26"/>
                    <a:gd name="T23" fmla="*/ 9 h 44"/>
                    <a:gd name="T24" fmla="*/ 6 w 26"/>
                    <a:gd name="T25" fmla="*/ 11 h 44"/>
                    <a:gd name="T26" fmla="*/ 5 w 26"/>
                    <a:gd name="T27" fmla="*/ 13 h 44"/>
                    <a:gd name="T28" fmla="*/ 2 w 26"/>
                    <a:gd name="T29" fmla="*/ 17 h 44"/>
                    <a:gd name="T30" fmla="*/ 0 w 26"/>
                    <a:gd name="T31" fmla="*/ 20 h 44"/>
                    <a:gd name="T32" fmla="*/ 2 w 26"/>
                    <a:gd name="T33" fmla="*/ 20 h 44"/>
                    <a:gd name="T34" fmla="*/ 5 w 26"/>
                    <a:gd name="T35" fmla="*/ 16 h 44"/>
                    <a:gd name="T36" fmla="*/ 6 w 26"/>
                    <a:gd name="T37" fmla="*/ 13 h 44"/>
                    <a:gd name="T38" fmla="*/ 8 w 26"/>
                    <a:gd name="T39" fmla="*/ 11 h 44"/>
                    <a:gd name="T40" fmla="*/ 10 w 26"/>
                    <a:gd name="T41" fmla="*/ 11 h 44"/>
                    <a:gd name="T42" fmla="*/ 10 w 26"/>
                    <a:gd name="T43" fmla="*/ 9 h 44"/>
                    <a:gd name="T44" fmla="*/ 12 w 26"/>
                    <a:gd name="T45" fmla="*/ 8 h 44"/>
                    <a:gd name="T46" fmla="*/ 12 w 26"/>
                    <a:gd name="T47" fmla="*/ 8 h 44"/>
                    <a:gd name="T48" fmla="*/ 12 w 26"/>
                    <a:gd name="T49" fmla="*/ 7 h 44"/>
                    <a:gd name="T50" fmla="*/ 12 w 26"/>
                    <a:gd name="T51" fmla="*/ 6 h 44"/>
                    <a:gd name="T52" fmla="*/ 11 w 26"/>
                    <a:gd name="T53" fmla="*/ 6 h 44"/>
                    <a:gd name="T54" fmla="*/ 10 w 26"/>
                    <a:gd name="T55" fmla="*/ 5 h 44"/>
                    <a:gd name="T56" fmla="*/ 8 w 26"/>
                    <a:gd name="T57" fmla="*/ 4 h 44"/>
                    <a:gd name="T58" fmla="*/ 7 w 26"/>
                    <a:gd name="T59" fmla="*/ 4 h 44"/>
                    <a:gd name="T60" fmla="*/ 5 w 26"/>
                    <a:gd name="T61" fmla="*/ 3 h 44"/>
                    <a:gd name="T62" fmla="*/ 2 w 26"/>
                    <a:gd name="T63" fmla="*/ 1 h 44"/>
                    <a:gd name="T64" fmla="*/ 1 w 26"/>
                    <a:gd name="T65" fmla="*/ 3 h 44"/>
                    <a:gd name="T66" fmla="*/ 1 w 26"/>
                    <a:gd name="T67" fmla="*/ 1 h 44"/>
                    <a:gd name="T68" fmla="*/ 1 w 26"/>
                    <a:gd name="T69" fmla="*/ 0 h 44"/>
                    <a:gd name="T70" fmla="*/ 1 w 26"/>
                    <a:gd name="T71" fmla="*/ 1 h 44"/>
                    <a:gd name="T72" fmla="*/ 0 w 26"/>
                    <a:gd name="T73" fmla="*/ 1 h 44"/>
                    <a:gd name="T74" fmla="*/ 0 w 26"/>
                    <a:gd name="T75" fmla="*/ 1 h 44"/>
                    <a:gd name="T76" fmla="*/ 0 w 26"/>
                    <a:gd name="T77" fmla="*/ 1 h 44"/>
                    <a:gd name="T78" fmla="*/ 0 w 26"/>
                    <a:gd name="T79" fmla="*/ 2 h 44"/>
                    <a:gd name="T80" fmla="*/ 0 w 26"/>
                    <a:gd name="T81" fmla="*/ 2 h 44"/>
                    <a:gd name="T82" fmla="*/ 1 w 26"/>
                    <a:gd name="T83" fmla="*/ 3 h 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6" h="44">
                      <a:moveTo>
                        <a:pt x="2" y="1"/>
                      </a:moveTo>
                      <a:lnTo>
                        <a:pt x="1" y="5"/>
                      </a:lnTo>
                      <a:lnTo>
                        <a:pt x="4" y="7"/>
                      </a:lnTo>
                      <a:lnTo>
                        <a:pt x="6" y="9"/>
                      </a:lnTo>
                      <a:lnTo>
                        <a:pt x="9" y="9"/>
                      </a:lnTo>
                      <a:lnTo>
                        <a:pt x="12" y="11"/>
                      </a:lnTo>
                      <a:lnTo>
                        <a:pt x="14" y="12"/>
                      </a:lnTo>
                      <a:lnTo>
                        <a:pt x="16" y="13"/>
                      </a:lnTo>
                      <a:lnTo>
                        <a:pt x="17" y="14"/>
                      </a:lnTo>
                      <a:lnTo>
                        <a:pt x="19" y="14"/>
                      </a:lnTo>
                      <a:lnTo>
                        <a:pt x="20" y="15"/>
                      </a:lnTo>
                      <a:lnTo>
                        <a:pt x="21" y="15"/>
                      </a:lnTo>
                      <a:lnTo>
                        <a:pt x="22" y="15"/>
                      </a:lnTo>
                      <a:lnTo>
                        <a:pt x="23" y="15"/>
                      </a:lnTo>
                      <a:lnTo>
                        <a:pt x="23" y="13"/>
                      </a:lnTo>
                      <a:lnTo>
                        <a:pt x="22" y="14"/>
                      </a:lnTo>
                      <a:lnTo>
                        <a:pt x="21" y="15"/>
                      </a:lnTo>
                      <a:lnTo>
                        <a:pt x="20" y="15"/>
                      </a:lnTo>
                      <a:lnTo>
                        <a:pt x="20" y="17"/>
                      </a:lnTo>
                      <a:lnTo>
                        <a:pt x="18" y="17"/>
                      </a:lnTo>
                      <a:lnTo>
                        <a:pt x="16" y="19"/>
                      </a:lnTo>
                      <a:lnTo>
                        <a:pt x="15" y="21"/>
                      </a:lnTo>
                      <a:lnTo>
                        <a:pt x="13" y="23"/>
                      </a:lnTo>
                      <a:lnTo>
                        <a:pt x="11" y="25"/>
                      </a:lnTo>
                      <a:lnTo>
                        <a:pt x="10" y="27"/>
                      </a:lnTo>
                      <a:lnTo>
                        <a:pt x="7" y="31"/>
                      </a:lnTo>
                      <a:lnTo>
                        <a:pt x="5" y="34"/>
                      </a:lnTo>
                      <a:lnTo>
                        <a:pt x="3" y="37"/>
                      </a:lnTo>
                      <a:lnTo>
                        <a:pt x="0" y="41"/>
                      </a:lnTo>
                      <a:lnTo>
                        <a:pt x="2" y="44"/>
                      </a:lnTo>
                      <a:lnTo>
                        <a:pt x="5" y="40"/>
                      </a:lnTo>
                      <a:lnTo>
                        <a:pt x="8" y="36"/>
                      </a:lnTo>
                      <a:lnTo>
                        <a:pt x="10" y="33"/>
                      </a:lnTo>
                      <a:lnTo>
                        <a:pt x="12" y="30"/>
                      </a:lnTo>
                      <a:lnTo>
                        <a:pt x="13" y="27"/>
                      </a:lnTo>
                      <a:lnTo>
                        <a:pt x="15" y="26"/>
                      </a:lnTo>
                      <a:lnTo>
                        <a:pt x="17" y="23"/>
                      </a:lnTo>
                      <a:lnTo>
                        <a:pt x="18" y="22"/>
                      </a:lnTo>
                      <a:lnTo>
                        <a:pt x="20" y="21"/>
                      </a:lnTo>
                      <a:lnTo>
                        <a:pt x="21" y="20"/>
                      </a:lnTo>
                      <a:lnTo>
                        <a:pt x="22" y="19"/>
                      </a:lnTo>
                      <a:lnTo>
                        <a:pt x="23" y="17"/>
                      </a:lnTo>
                      <a:lnTo>
                        <a:pt x="24" y="17"/>
                      </a:lnTo>
                      <a:lnTo>
                        <a:pt x="25" y="17"/>
                      </a:lnTo>
                      <a:lnTo>
                        <a:pt x="25" y="16"/>
                      </a:lnTo>
                      <a:lnTo>
                        <a:pt x="26" y="15"/>
                      </a:lnTo>
                      <a:lnTo>
                        <a:pt x="26" y="14"/>
                      </a:lnTo>
                      <a:lnTo>
                        <a:pt x="25" y="12"/>
                      </a:lnTo>
                      <a:lnTo>
                        <a:pt x="24" y="11"/>
                      </a:lnTo>
                      <a:lnTo>
                        <a:pt x="23" y="11"/>
                      </a:lnTo>
                      <a:lnTo>
                        <a:pt x="22" y="11"/>
                      </a:lnTo>
                      <a:lnTo>
                        <a:pt x="21" y="10"/>
                      </a:lnTo>
                      <a:lnTo>
                        <a:pt x="20" y="10"/>
                      </a:lnTo>
                      <a:lnTo>
                        <a:pt x="18" y="9"/>
                      </a:lnTo>
                      <a:lnTo>
                        <a:pt x="16" y="9"/>
                      </a:lnTo>
                      <a:lnTo>
                        <a:pt x="15" y="8"/>
                      </a:lnTo>
                      <a:lnTo>
                        <a:pt x="13" y="7"/>
                      </a:lnTo>
                      <a:lnTo>
                        <a:pt x="10" y="5"/>
                      </a:lnTo>
                      <a:lnTo>
                        <a:pt x="8" y="5"/>
                      </a:lnTo>
                      <a:lnTo>
                        <a:pt x="5" y="3"/>
                      </a:lnTo>
                      <a:lnTo>
                        <a:pt x="2" y="1"/>
                      </a:lnTo>
                      <a:lnTo>
                        <a:pt x="1" y="5"/>
                      </a:lnTo>
                      <a:lnTo>
                        <a:pt x="2" y="1"/>
                      </a:lnTo>
                      <a:lnTo>
                        <a:pt x="1" y="0"/>
                      </a:lnTo>
                      <a:lnTo>
                        <a:pt x="1" y="1"/>
                      </a:lnTo>
                      <a:lnTo>
                        <a:pt x="0" y="1"/>
                      </a:lnTo>
                      <a:lnTo>
                        <a:pt x="0" y="2"/>
                      </a:lnTo>
                      <a:lnTo>
                        <a:pt x="0" y="3"/>
                      </a:lnTo>
                      <a:lnTo>
                        <a:pt x="0" y="4"/>
                      </a:lnTo>
                      <a:lnTo>
                        <a:pt x="1" y="5"/>
                      </a:lnTo>
                      <a:lnTo>
                        <a:pt x="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49" name="Freeform 841">
                  <a:extLst>
                    <a:ext uri="{FF2B5EF4-FFF2-40B4-BE49-F238E27FC236}">
                      <a16:creationId xmlns:a16="http://schemas.microsoft.com/office/drawing/2014/main" id="{BBD5484D-D90A-6CCB-36F8-E2E78482388A}"/>
                    </a:ext>
                  </a:extLst>
                </p:cNvPr>
                <p:cNvSpPr>
                  <a:spLocks/>
                </p:cNvSpPr>
                <p:nvPr/>
              </p:nvSpPr>
              <p:spPr bwMode="auto">
                <a:xfrm>
                  <a:off x="914" y="1966"/>
                  <a:ext cx="27" cy="53"/>
                </a:xfrm>
                <a:custGeom>
                  <a:avLst/>
                  <a:gdLst>
                    <a:gd name="T0" fmla="*/ 1 w 37"/>
                    <a:gd name="T1" fmla="*/ 2 h 75"/>
                    <a:gd name="T2" fmla="*/ 1 w 37"/>
                    <a:gd name="T3" fmla="*/ 3 h 75"/>
                    <a:gd name="T4" fmla="*/ 3 w 37"/>
                    <a:gd name="T5" fmla="*/ 6 h 75"/>
                    <a:gd name="T6" fmla="*/ 5 w 37"/>
                    <a:gd name="T7" fmla="*/ 8 h 75"/>
                    <a:gd name="T8" fmla="*/ 7 w 37"/>
                    <a:gd name="T9" fmla="*/ 11 h 75"/>
                    <a:gd name="T10" fmla="*/ 9 w 37"/>
                    <a:gd name="T11" fmla="*/ 15 h 75"/>
                    <a:gd name="T12" fmla="*/ 11 w 37"/>
                    <a:gd name="T13" fmla="*/ 19 h 75"/>
                    <a:gd name="T14" fmla="*/ 14 w 37"/>
                    <a:gd name="T15" fmla="*/ 23 h 75"/>
                    <a:gd name="T16" fmla="*/ 15 w 37"/>
                    <a:gd name="T17" fmla="*/ 26 h 75"/>
                    <a:gd name="T18" fmla="*/ 17 w 37"/>
                    <a:gd name="T19" fmla="*/ 30 h 75"/>
                    <a:gd name="T20" fmla="*/ 18 w 37"/>
                    <a:gd name="T21" fmla="*/ 33 h 75"/>
                    <a:gd name="T22" fmla="*/ 18 w 37"/>
                    <a:gd name="T23" fmla="*/ 35 h 75"/>
                    <a:gd name="T24" fmla="*/ 18 w 37"/>
                    <a:gd name="T25" fmla="*/ 35 h 75"/>
                    <a:gd name="T26" fmla="*/ 16 w 37"/>
                    <a:gd name="T27" fmla="*/ 35 h 75"/>
                    <a:gd name="T28" fmla="*/ 13 w 37"/>
                    <a:gd name="T29" fmla="*/ 35 h 75"/>
                    <a:gd name="T30" fmla="*/ 9 w 37"/>
                    <a:gd name="T31" fmla="*/ 33 h 75"/>
                    <a:gd name="T32" fmla="*/ 5 w 37"/>
                    <a:gd name="T33" fmla="*/ 33 h 75"/>
                    <a:gd name="T34" fmla="*/ 11 w 37"/>
                    <a:gd name="T35" fmla="*/ 35 h 75"/>
                    <a:gd name="T36" fmla="*/ 15 w 37"/>
                    <a:gd name="T37" fmla="*/ 37 h 75"/>
                    <a:gd name="T38" fmla="*/ 18 w 37"/>
                    <a:gd name="T39" fmla="*/ 37 h 75"/>
                    <a:gd name="T40" fmla="*/ 19 w 37"/>
                    <a:gd name="T41" fmla="*/ 36 h 75"/>
                    <a:gd name="T42" fmla="*/ 20 w 37"/>
                    <a:gd name="T43" fmla="*/ 33 h 75"/>
                    <a:gd name="T44" fmla="*/ 19 w 37"/>
                    <a:gd name="T45" fmla="*/ 30 h 75"/>
                    <a:gd name="T46" fmla="*/ 18 w 37"/>
                    <a:gd name="T47" fmla="*/ 27 h 75"/>
                    <a:gd name="T48" fmla="*/ 16 w 37"/>
                    <a:gd name="T49" fmla="*/ 23 h 75"/>
                    <a:gd name="T50" fmla="*/ 14 w 37"/>
                    <a:gd name="T51" fmla="*/ 20 h 75"/>
                    <a:gd name="T52" fmla="*/ 12 w 37"/>
                    <a:gd name="T53" fmla="*/ 16 h 75"/>
                    <a:gd name="T54" fmla="*/ 9 w 37"/>
                    <a:gd name="T55" fmla="*/ 12 h 75"/>
                    <a:gd name="T56" fmla="*/ 7 w 37"/>
                    <a:gd name="T57" fmla="*/ 8 h 75"/>
                    <a:gd name="T58" fmla="*/ 5 w 37"/>
                    <a:gd name="T59" fmla="*/ 6 h 75"/>
                    <a:gd name="T60" fmla="*/ 3 w 37"/>
                    <a:gd name="T61" fmla="*/ 3 h 75"/>
                    <a:gd name="T62" fmla="*/ 2 w 37"/>
                    <a:gd name="T63" fmla="*/ 1 h 75"/>
                    <a:gd name="T64" fmla="*/ 1 w 37"/>
                    <a:gd name="T65" fmla="*/ 1 h 75"/>
                    <a:gd name="T66" fmla="*/ 1 w 37"/>
                    <a:gd name="T67" fmla="*/ 0 h 75"/>
                    <a:gd name="T68" fmla="*/ 1 w 37"/>
                    <a:gd name="T69" fmla="*/ 0 h 75"/>
                    <a:gd name="T70" fmla="*/ 1 w 37"/>
                    <a:gd name="T71" fmla="*/ 0 h 75"/>
                    <a:gd name="T72" fmla="*/ 1 w 37"/>
                    <a:gd name="T73" fmla="*/ 1 h 75"/>
                    <a:gd name="T74" fmla="*/ 0 w 37"/>
                    <a:gd name="T75" fmla="*/ 1 h 75"/>
                    <a:gd name="T76" fmla="*/ 1 w 37"/>
                    <a:gd name="T77" fmla="*/ 1 h 75"/>
                    <a:gd name="T78" fmla="*/ 1 w 37"/>
                    <a:gd name="T79" fmla="*/ 2 h 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 h="75">
                      <a:moveTo>
                        <a:pt x="1" y="4"/>
                      </a:moveTo>
                      <a:lnTo>
                        <a:pt x="1" y="4"/>
                      </a:lnTo>
                      <a:lnTo>
                        <a:pt x="1" y="5"/>
                      </a:lnTo>
                      <a:lnTo>
                        <a:pt x="3" y="6"/>
                      </a:lnTo>
                      <a:lnTo>
                        <a:pt x="4" y="8"/>
                      </a:lnTo>
                      <a:lnTo>
                        <a:pt x="5" y="11"/>
                      </a:lnTo>
                      <a:lnTo>
                        <a:pt x="7" y="13"/>
                      </a:lnTo>
                      <a:lnTo>
                        <a:pt x="9" y="16"/>
                      </a:lnTo>
                      <a:lnTo>
                        <a:pt x="11" y="19"/>
                      </a:lnTo>
                      <a:lnTo>
                        <a:pt x="13" y="22"/>
                      </a:lnTo>
                      <a:lnTo>
                        <a:pt x="15" y="26"/>
                      </a:lnTo>
                      <a:lnTo>
                        <a:pt x="17" y="30"/>
                      </a:lnTo>
                      <a:lnTo>
                        <a:pt x="20" y="34"/>
                      </a:lnTo>
                      <a:lnTo>
                        <a:pt x="21" y="38"/>
                      </a:lnTo>
                      <a:lnTo>
                        <a:pt x="23" y="41"/>
                      </a:lnTo>
                      <a:lnTo>
                        <a:pt x="26" y="45"/>
                      </a:lnTo>
                      <a:lnTo>
                        <a:pt x="27" y="49"/>
                      </a:lnTo>
                      <a:lnTo>
                        <a:pt x="29" y="53"/>
                      </a:lnTo>
                      <a:lnTo>
                        <a:pt x="31" y="56"/>
                      </a:lnTo>
                      <a:lnTo>
                        <a:pt x="32" y="59"/>
                      </a:lnTo>
                      <a:lnTo>
                        <a:pt x="33" y="63"/>
                      </a:lnTo>
                      <a:lnTo>
                        <a:pt x="33" y="65"/>
                      </a:lnTo>
                      <a:lnTo>
                        <a:pt x="34" y="67"/>
                      </a:lnTo>
                      <a:lnTo>
                        <a:pt x="33" y="69"/>
                      </a:lnTo>
                      <a:lnTo>
                        <a:pt x="33" y="70"/>
                      </a:lnTo>
                      <a:lnTo>
                        <a:pt x="32" y="70"/>
                      </a:lnTo>
                      <a:lnTo>
                        <a:pt x="30" y="71"/>
                      </a:lnTo>
                      <a:lnTo>
                        <a:pt x="28" y="70"/>
                      </a:lnTo>
                      <a:lnTo>
                        <a:pt x="25" y="69"/>
                      </a:lnTo>
                      <a:lnTo>
                        <a:pt x="21" y="67"/>
                      </a:lnTo>
                      <a:lnTo>
                        <a:pt x="17" y="65"/>
                      </a:lnTo>
                      <a:lnTo>
                        <a:pt x="12" y="61"/>
                      </a:lnTo>
                      <a:lnTo>
                        <a:pt x="10" y="65"/>
                      </a:lnTo>
                      <a:lnTo>
                        <a:pt x="16" y="68"/>
                      </a:lnTo>
                      <a:lnTo>
                        <a:pt x="20" y="71"/>
                      </a:lnTo>
                      <a:lnTo>
                        <a:pt x="24" y="73"/>
                      </a:lnTo>
                      <a:lnTo>
                        <a:pt x="27" y="74"/>
                      </a:lnTo>
                      <a:lnTo>
                        <a:pt x="30" y="75"/>
                      </a:lnTo>
                      <a:lnTo>
                        <a:pt x="33" y="74"/>
                      </a:lnTo>
                      <a:lnTo>
                        <a:pt x="34" y="73"/>
                      </a:lnTo>
                      <a:lnTo>
                        <a:pt x="36" y="72"/>
                      </a:lnTo>
                      <a:lnTo>
                        <a:pt x="37" y="70"/>
                      </a:lnTo>
                      <a:lnTo>
                        <a:pt x="37" y="67"/>
                      </a:lnTo>
                      <a:lnTo>
                        <a:pt x="37" y="64"/>
                      </a:lnTo>
                      <a:lnTo>
                        <a:pt x="36" y="61"/>
                      </a:lnTo>
                      <a:lnTo>
                        <a:pt x="35" y="58"/>
                      </a:lnTo>
                      <a:lnTo>
                        <a:pt x="33" y="54"/>
                      </a:lnTo>
                      <a:lnTo>
                        <a:pt x="32" y="51"/>
                      </a:lnTo>
                      <a:lnTo>
                        <a:pt x="30" y="47"/>
                      </a:lnTo>
                      <a:lnTo>
                        <a:pt x="28" y="43"/>
                      </a:lnTo>
                      <a:lnTo>
                        <a:pt x="26" y="39"/>
                      </a:lnTo>
                      <a:lnTo>
                        <a:pt x="24" y="35"/>
                      </a:lnTo>
                      <a:lnTo>
                        <a:pt x="22" y="31"/>
                      </a:lnTo>
                      <a:lnTo>
                        <a:pt x="20" y="27"/>
                      </a:lnTo>
                      <a:lnTo>
                        <a:pt x="18" y="24"/>
                      </a:lnTo>
                      <a:lnTo>
                        <a:pt x="15" y="20"/>
                      </a:lnTo>
                      <a:lnTo>
                        <a:pt x="13" y="17"/>
                      </a:lnTo>
                      <a:lnTo>
                        <a:pt x="11" y="14"/>
                      </a:lnTo>
                      <a:lnTo>
                        <a:pt x="9" y="11"/>
                      </a:lnTo>
                      <a:lnTo>
                        <a:pt x="8" y="8"/>
                      </a:lnTo>
                      <a:lnTo>
                        <a:pt x="6" y="6"/>
                      </a:lnTo>
                      <a:lnTo>
                        <a:pt x="5" y="4"/>
                      </a:lnTo>
                      <a:lnTo>
                        <a:pt x="4" y="2"/>
                      </a:lnTo>
                      <a:lnTo>
                        <a:pt x="3" y="1"/>
                      </a:lnTo>
                      <a:lnTo>
                        <a:pt x="3" y="0"/>
                      </a:lnTo>
                      <a:lnTo>
                        <a:pt x="2" y="0"/>
                      </a:lnTo>
                      <a:lnTo>
                        <a:pt x="1" y="0"/>
                      </a:lnTo>
                      <a:lnTo>
                        <a:pt x="1" y="1"/>
                      </a:lnTo>
                      <a:lnTo>
                        <a:pt x="1" y="2"/>
                      </a:lnTo>
                      <a:lnTo>
                        <a:pt x="0" y="2"/>
                      </a:lnTo>
                      <a:lnTo>
                        <a:pt x="0" y="3"/>
                      </a:lnTo>
                      <a:lnTo>
                        <a:pt x="1" y="3"/>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0" name="Freeform 842">
                  <a:extLst>
                    <a:ext uri="{FF2B5EF4-FFF2-40B4-BE49-F238E27FC236}">
                      <a16:creationId xmlns:a16="http://schemas.microsoft.com/office/drawing/2014/main" id="{311DC624-F193-64FE-C149-ECF85AD4B544}"/>
                    </a:ext>
                  </a:extLst>
                </p:cNvPr>
                <p:cNvSpPr>
                  <a:spLocks/>
                </p:cNvSpPr>
                <p:nvPr/>
              </p:nvSpPr>
              <p:spPr bwMode="auto">
                <a:xfrm>
                  <a:off x="913" y="1924"/>
                  <a:ext cx="26" cy="46"/>
                </a:xfrm>
                <a:custGeom>
                  <a:avLst/>
                  <a:gdLst>
                    <a:gd name="T0" fmla="*/ 16 w 36"/>
                    <a:gd name="T1" fmla="*/ 3 h 65"/>
                    <a:gd name="T2" fmla="*/ 17 w 36"/>
                    <a:gd name="T3" fmla="*/ 4 h 65"/>
                    <a:gd name="T4" fmla="*/ 17 w 36"/>
                    <a:gd name="T5" fmla="*/ 6 h 65"/>
                    <a:gd name="T6" fmla="*/ 16 w 36"/>
                    <a:gd name="T7" fmla="*/ 8 h 65"/>
                    <a:gd name="T8" fmla="*/ 15 w 36"/>
                    <a:gd name="T9" fmla="*/ 9 h 65"/>
                    <a:gd name="T10" fmla="*/ 14 w 36"/>
                    <a:gd name="T11" fmla="*/ 11 h 65"/>
                    <a:gd name="T12" fmla="*/ 12 w 36"/>
                    <a:gd name="T13" fmla="*/ 13 h 65"/>
                    <a:gd name="T14" fmla="*/ 9 w 36"/>
                    <a:gd name="T15" fmla="*/ 16 h 65"/>
                    <a:gd name="T16" fmla="*/ 8 w 36"/>
                    <a:gd name="T17" fmla="*/ 17 h 65"/>
                    <a:gd name="T18" fmla="*/ 6 w 36"/>
                    <a:gd name="T19" fmla="*/ 19 h 65"/>
                    <a:gd name="T20" fmla="*/ 4 w 36"/>
                    <a:gd name="T21" fmla="*/ 21 h 65"/>
                    <a:gd name="T22" fmla="*/ 2 w 36"/>
                    <a:gd name="T23" fmla="*/ 23 h 65"/>
                    <a:gd name="T24" fmla="*/ 1 w 36"/>
                    <a:gd name="T25" fmla="*/ 25 h 65"/>
                    <a:gd name="T26" fmla="*/ 0 w 36"/>
                    <a:gd name="T27" fmla="*/ 27 h 65"/>
                    <a:gd name="T28" fmla="*/ 0 w 36"/>
                    <a:gd name="T29" fmla="*/ 29 h 65"/>
                    <a:gd name="T30" fmla="*/ 1 w 36"/>
                    <a:gd name="T31" fmla="*/ 32 h 65"/>
                    <a:gd name="T32" fmla="*/ 3 w 36"/>
                    <a:gd name="T33" fmla="*/ 31 h 65"/>
                    <a:gd name="T34" fmla="*/ 1 w 36"/>
                    <a:gd name="T35" fmla="*/ 30 h 65"/>
                    <a:gd name="T36" fmla="*/ 1 w 36"/>
                    <a:gd name="T37" fmla="*/ 28 h 65"/>
                    <a:gd name="T38" fmla="*/ 2 w 36"/>
                    <a:gd name="T39" fmla="*/ 27 h 65"/>
                    <a:gd name="T40" fmla="*/ 3 w 36"/>
                    <a:gd name="T41" fmla="*/ 25 h 65"/>
                    <a:gd name="T42" fmla="*/ 4 w 36"/>
                    <a:gd name="T43" fmla="*/ 23 h 65"/>
                    <a:gd name="T44" fmla="*/ 6 w 36"/>
                    <a:gd name="T45" fmla="*/ 21 h 65"/>
                    <a:gd name="T46" fmla="*/ 8 w 36"/>
                    <a:gd name="T47" fmla="*/ 20 h 65"/>
                    <a:gd name="T48" fmla="*/ 9 w 36"/>
                    <a:gd name="T49" fmla="*/ 18 h 65"/>
                    <a:gd name="T50" fmla="*/ 12 w 36"/>
                    <a:gd name="T51" fmla="*/ 16 h 65"/>
                    <a:gd name="T52" fmla="*/ 14 w 36"/>
                    <a:gd name="T53" fmla="*/ 14 h 65"/>
                    <a:gd name="T54" fmla="*/ 15 w 36"/>
                    <a:gd name="T55" fmla="*/ 12 h 65"/>
                    <a:gd name="T56" fmla="*/ 17 w 36"/>
                    <a:gd name="T57" fmla="*/ 10 h 65"/>
                    <a:gd name="T58" fmla="*/ 18 w 36"/>
                    <a:gd name="T59" fmla="*/ 8 h 65"/>
                    <a:gd name="T60" fmla="*/ 19 w 36"/>
                    <a:gd name="T61" fmla="*/ 5 h 65"/>
                    <a:gd name="T62" fmla="*/ 18 w 36"/>
                    <a:gd name="T63" fmla="*/ 3 h 65"/>
                    <a:gd name="T64" fmla="*/ 17 w 36"/>
                    <a:gd name="T65" fmla="*/ 1 h 65"/>
                    <a:gd name="T66" fmla="*/ 17 w 36"/>
                    <a:gd name="T67" fmla="*/ 1 h 65"/>
                    <a:gd name="T68" fmla="*/ 16 w 36"/>
                    <a:gd name="T69" fmla="*/ 0 h 65"/>
                    <a:gd name="T70" fmla="*/ 16 w 36"/>
                    <a:gd name="T71" fmla="*/ 1 h 65"/>
                    <a:gd name="T72" fmla="*/ 16 w 36"/>
                    <a:gd name="T73" fmla="*/ 1 h 65"/>
                    <a:gd name="T74" fmla="*/ 16 w 36"/>
                    <a:gd name="T75" fmla="*/ 1 h 65"/>
                    <a:gd name="T76" fmla="*/ 16 w 36"/>
                    <a:gd name="T77" fmla="*/ 1 h 65"/>
                    <a:gd name="T78" fmla="*/ 16 w 36"/>
                    <a:gd name="T79" fmla="*/ 2 h 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 h="65">
                      <a:moveTo>
                        <a:pt x="31" y="4"/>
                      </a:moveTo>
                      <a:lnTo>
                        <a:pt x="31" y="5"/>
                      </a:lnTo>
                      <a:lnTo>
                        <a:pt x="32" y="7"/>
                      </a:lnTo>
                      <a:lnTo>
                        <a:pt x="32" y="8"/>
                      </a:lnTo>
                      <a:lnTo>
                        <a:pt x="32" y="10"/>
                      </a:lnTo>
                      <a:lnTo>
                        <a:pt x="32" y="12"/>
                      </a:lnTo>
                      <a:lnTo>
                        <a:pt x="31" y="14"/>
                      </a:lnTo>
                      <a:lnTo>
                        <a:pt x="31" y="15"/>
                      </a:lnTo>
                      <a:lnTo>
                        <a:pt x="30" y="17"/>
                      </a:lnTo>
                      <a:lnTo>
                        <a:pt x="29" y="19"/>
                      </a:lnTo>
                      <a:lnTo>
                        <a:pt x="27" y="21"/>
                      </a:lnTo>
                      <a:lnTo>
                        <a:pt x="26" y="23"/>
                      </a:lnTo>
                      <a:lnTo>
                        <a:pt x="24" y="24"/>
                      </a:lnTo>
                      <a:lnTo>
                        <a:pt x="22" y="26"/>
                      </a:lnTo>
                      <a:lnTo>
                        <a:pt x="21" y="28"/>
                      </a:lnTo>
                      <a:lnTo>
                        <a:pt x="18" y="31"/>
                      </a:lnTo>
                      <a:lnTo>
                        <a:pt x="17" y="32"/>
                      </a:lnTo>
                      <a:lnTo>
                        <a:pt x="15" y="34"/>
                      </a:lnTo>
                      <a:lnTo>
                        <a:pt x="12" y="36"/>
                      </a:lnTo>
                      <a:lnTo>
                        <a:pt x="11" y="38"/>
                      </a:lnTo>
                      <a:lnTo>
                        <a:pt x="9" y="40"/>
                      </a:lnTo>
                      <a:lnTo>
                        <a:pt x="7" y="42"/>
                      </a:lnTo>
                      <a:lnTo>
                        <a:pt x="6" y="44"/>
                      </a:lnTo>
                      <a:lnTo>
                        <a:pt x="4" y="46"/>
                      </a:lnTo>
                      <a:lnTo>
                        <a:pt x="2" y="48"/>
                      </a:lnTo>
                      <a:lnTo>
                        <a:pt x="2" y="50"/>
                      </a:lnTo>
                      <a:lnTo>
                        <a:pt x="1" y="52"/>
                      </a:lnTo>
                      <a:lnTo>
                        <a:pt x="0" y="54"/>
                      </a:lnTo>
                      <a:lnTo>
                        <a:pt x="0" y="56"/>
                      </a:lnTo>
                      <a:lnTo>
                        <a:pt x="0" y="58"/>
                      </a:lnTo>
                      <a:lnTo>
                        <a:pt x="1" y="61"/>
                      </a:lnTo>
                      <a:lnTo>
                        <a:pt x="1" y="63"/>
                      </a:lnTo>
                      <a:lnTo>
                        <a:pt x="2" y="65"/>
                      </a:lnTo>
                      <a:lnTo>
                        <a:pt x="5" y="62"/>
                      </a:lnTo>
                      <a:lnTo>
                        <a:pt x="4" y="61"/>
                      </a:lnTo>
                      <a:lnTo>
                        <a:pt x="3" y="59"/>
                      </a:lnTo>
                      <a:lnTo>
                        <a:pt x="3" y="58"/>
                      </a:lnTo>
                      <a:lnTo>
                        <a:pt x="3" y="57"/>
                      </a:lnTo>
                      <a:lnTo>
                        <a:pt x="3" y="55"/>
                      </a:lnTo>
                      <a:lnTo>
                        <a:pt x="4" y="54"/>
                      </a:lnTo>
                      <a:lnTo>
                        <a:pt x="4" y="52"/>
                      </a:lnTo>
                      <a:lnTo>
                        <a:pt x="5" y="50"/>
                      </a:lnTo>
                      <a:lnTo>
                        <a:pt x="7" y="49"/>
                      </a:lnTo>
                      <a:lnTo>
                        <a:pt x="8" y="47"/>
                      </a:lnTo>
                      <a:lnTo>
                        <a:pt x="9" y="45"/>
                      </a:lnTo>
                      <a:lnTo>
                        <a:pt x="11" y="43"/>
                      </a:lnTo>
                      <a:lnTo>
                        <a:pt x="13" y="41"/>
                      </a:lnTo>
                      <a:lnTo>
                        <a:pt x="15" y="40"/>
                      </a:lnTo>
                      <a:lnTo>
                        <a:pt x="17" y="38"/>
                      </a:lnTo>
                      <a:lnTo>
                        <a:pt x="18" y="36"/>
                      </a:lnTo>
                      <a:lnTo>
                        <a:pt x="21" y="34"/>
                      </a:lnTo>
                      <a:lnTo>
                        <a:pt x="22" y="32"/>
                      </a:lnTo>
                      <a:lnTo>
                        <a:pt x="24" y="30"/>
                      </a:lnTo>
                      <a:lnTo>
                        <a:pt x="26" y="28"/>
                      </a:lnTo>
                      <a:lnTo>
                        <a:pt x="28" y="26"/>
                      </a:lnTo>
                      <a:lnTo>
                        <a:pt x="29" y="24"/>
                      </a:lnTo>
                      <a:lnTo>
                        <a:pt x="31" y="22"/>
                      </a:lnTo>
                      <a:lnTo>
                        <a:pt x="32" y="20"/>
                      </a:lnTo>
                      <a:lnTo>
                        <a:pt x="34" y="17"/>
                      </a:lnTo>
                      <a:lnTo>
                        <a:pt x="34" y="15"/>
                      </a:lnTo>
                      <a:lnTo>
                        <a:pt x="35" y="13"/>
                      </a:lnTo>
                      <a:lnTo>
                        <a:pt x="36" y="10"/>
                      </a:lnTo>
                      <a:lnTo>
                        <a:pt x="36" y="8"/>
                      </a:lnTo>
                      <a:lnTo>
                        <a:pt x="35" y="5"/>
                      </a:lnTo>
                      <a:lnTo>
                        <a:pt x="34" y="4"/>
                      </a:lnTo>
                      <a:lnTo>
                        <a:pt x="32" y="1"/>
                      </a:lnTo>
                      <a:lnTo>
                        <a:pt x="32" y="0"/>
                      </a:lnTo>
                      <a:lnTo>
                        <a:pt x="31" y="0"/>
                      </a:lnTo>
                      <a:lnTo>
                        <a:pt x="31" y="1"/>
                      </a:lnTo>
                      <a:lnTo>
                        <a:pt x="30" y="2"/>
                      </a:lnTo>
                      <a:lnTo>
                        <a:pt x="30" y="3"/>
                      </a:lnTo>
                      <a:lnTo>
                        <a:pt x="30" y="4"/>
                      </a:lnTo>
                      <a:lnTo>
                        <a:pt x="3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1" name="Freeform 843">
                  <a:extLst>
                    <a:ext uri="{FF2B5EF4-FFF2-40B4-BE49-F238E27FC236}">
                      <a16:creationId xmlns:a16="http://schemas.microsoft.com/office/drawing/2014/main" id="{CD9011BD-A8F4-FFB5-B666-981019482AE8}"/>
                    </a:ext>
                  </a:extLst>
                </p:cNvPr>
                <p:cNvSpPr>
                  <a:spLocks/>
                </p:cNvSpPr>
                <p:nvPr/>
              </p:nvSpPr>
              <p:spPr bwMode="auto">
                <a:xfrm>
                  <a:off x="919" y="1923"/>
                  <a:ext cx="16" cy="19"/>
                </a:xfrm>
                <a:custGeom>
                  <a:avLst/>
                  <a:gdLst>
                    <a:gd name="T0" fmla="*/ 1 w 24"/>
                    <a:gd name="T1" fmla="*/ 13 h 26"/>
                    <a:gd name="T2" fmla="*/ 1 w 24"/>
                    <a:gd name="T3" fmla="*/ 14 h 26"/>
                    <a:gd name="T4" fmla="*/ 2 w 24"/>
                    <a:gd name="T5" fmla="*/ 13 h 26"/>
                    <a:gd name="T6" fmla="*/ 3 w 24"/>
                    <a:gd name="T7" fmla="*/ 13 h 26"/>
                    <a:gd name="T8" fmla="*/ 3 w 24"/>
                    <a:gd name="T9" fmla="*/ 12 h 26"/>
                    <a:gd name="T10" fmla="*/ 5 w 24"/>
                    <a:gd name="T11" fmla="*/ 11 h 26"/>
                    <a:gd name="T12" fmla="*/ 5 w 24"/>
                    <a:gd name="T13" fmla="*/ 10 h 26"/>
                    <a:gd name="T14" fmla="*/ 6 w 24"/>
                    <a:gd name="T15" fmla="*/ 8 h 26"/>
                    <a:gd name="T16" fmla="*/ 6 w 24"/>
                    <a:gd name="T17" fmla="*/ 7 h 26"/>
                    <a:gd name="T18" fmla="*/ 7 w 24"/>
                    <a:gd name="T19" fmla="*/ 5 h 26"/>
                    <a:gd name="T20" fmla="*/ 8 w 24"/>
                    <a:gd name="T21" fmla="*/ 4 h 26"/>
                    <a:gd name="T22" fmla="*/ 9 w 24"/>
                    <a:gd name="T23" fmla="*/ 3 h 26"/>
                    <a:gd name="T24" fmla="*/ 9 w 24"/>
                    <a:gd name="T25" fmla="*/ 2 h 26"/>
                    <a:gd name="T26" fmla="*/ 9 w 24"/>
                    <a:gd name="T27" fmla="*/ 2 h 26"/>
                    <a:gd name="T28" fmla="*/ 9 w 24"/>
                    <a:gd name="T29" fmla="*/ 2 h 26"/>
                    <a:gd name="T30" fmla="*/ 10 w 24"/>
                    <a:gd name="T31" fmla="*/ 2 h 26"/>
                    <a:gd name="T32" fmla="*/ 11 w 24"/>
                    <a:gd name="T33" fmla="*/ 1 h 26"/>
                    <a:gd name="T34" fmla="*/ 10 w 24"/>
                    <a:gd name="T35" fmla="*/ 0 h 26"/>
                    <a:gd name="T36" fmla="*/ 9 w 24"/>
                    <a:gd name="T37" fmla="*/ 0 h 26"/>
                    <a:gd name="T38" fmla="*/ 9 w 24"/>
                    <a:gd name="T39" fmla="*/ 0 h 26"/>
                    <a:gd name="T40" fmla="*/ 7 w 24"/>
                    <a:gd name="T41" fmla="*/ 1 h 26"/>
                    <a:gd name="T42" fmla="*/ 7 w 24"/>
                    <a:gd name="T43" fmla="*/ 2 h 26"/>
                    <a:gd name="T44" fmla="*/ 6 w 24"/>
                    <a:gd name="T45" fmla="*/ 3 h 26"/>
                    <a:gd name="T46" fmla="*/ 6 w 24"/>
                    <a:gd name="T47" fmla="*/ 4 h 26"/>
                    <a:gd name="T48" fmla="*/ 5 w 24"/>
                    <a:gd name="T49" fmla="*/ 6 h 26"/>
                    <a:gd name="T50" fmla="*/ 5 w 24"/>
                    <a:gd name="T51" fmla="*/ 7 h 26"/>
                    <a:gd name="T52" fmla="*/ 3 w 24"/>
                    <a:gd name="T53" fmla="*/ 9 h 26"/>
                    <a:gd name="T54" fmla="*/ 3 w 24"/>
                    <a:gd name="T55" fmla="*/ 10 h 26"/>
                    <a:gd name="T56" fmla="*/ 2 w 24"/>
                    <a:gd name="T57" fmla="*/ 11 h 26"/>
                    <a:gd name="T58" fmla="*/ 2 w 24"/>
                    <a:gd name="T59" fmla="*/ 11 h 26"/>
                    <a:gd name="T60" fmla="*/ 2 w 24"/>
                    <a:gd name="T61" fmla="*/ 12 h 26"/>
                    <a:gd name="T62" fmla="*/ 1 w 24"/>
                    <a:gd name="T63" fmla="*/ 11 h 26"/>
                    <a:gd name="T64" fmla="*/ 1 w 24"/>
                    <a:gd name="T65" fmla="*/ 11 h 26"/>
                    <a:gd name="T66" fmla="*/ 1 w 24"/>
                    <a:gd name="T67" fmla="*/ 11 h 26"/>
                    <a:gd name="T68" fmla="*/ 1 w 24"/>
                    <a:gd name="T69" fmla="*/ 11 h 26"/>
                    <a:gd name="T70" fmla="*/ 0 w 24"/>
                    <a:gd name="T71" fmla="*/ 11 h 26"/>
                    <a:gd name="T72" fmla="*/ 0 w 24"/>
                    <a:gd name="T73" fmla="*/ 11 h 26"/>
                    <a:gd name="T74" fmla="*/ 0 w 24"/>
                    <a:gd name="T75" fmla="*/ 12 h 26"/>
                    <a:gd name="T76" fmla="*/ 0 w 24"/>
                    <a:gd name="T77" fmla="*/ 12 h 26"/>
                    <a:gd name="T78" fmla="*/ 0 w 24"/>
                    <a:gd name="T79" fmla="*/ 13 h 2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 h="26">
                      <a:moveTo>
                        <a:pt x="0" y="24"/>
                      </a:moveTo>
                      <a:lnTo>
                        <a:pt x="1" y="25"/>
                      </a:lnTo>
                      <a:lnTo>
                        <a:pt x="2" y="25"/>
                      </a:lnTo>
                      <a:lnTo>
                        <a:pt x="3" y="26"/>
                      </a:lnTo>
                      <a:lnTo>
                        <a:pt x="4" y="26"/>
                      </a:lnTo>
                      <a:lnTo>
                        <a:pt x="5" y="25"/>
                      </a:lnTo>
                      <a:lnTo>
                        <a:pt x="6" y="25"/>
                      </a:lnTo>
                      <a:lnTo>
                        <a:pt x="7" y="24"/>
                      </a:lnTo>
                      <a:lnTo>
                        <a:pt x="8" y="23"/>
                      </a:lnTo>
                      <a:lnTo>
                        <a:pt x="8" y="22"/>
                      </a:lnTo>
                      <a:lnTo>
                        <a:pt x="9" y="21"/>
                      </a:lnTo>
                      <a:lnTo>
                        <a:pt x="10" y="20"/>
                      </a:lnTo>
                      <a:lnTo>
                        <a:pt x="11" y="19"/>
                      </a:lnTo>
                      <a:lnTo>
                        <a:pt x="12" y="18"/>
                      </a:lnTo>
                      <a:lnTo>
                        <a:pt x="12" y="16"/>
                      </a:lnTo>
                      <a:lnTo>
                        <a:pt x="13" y="15"/>
                      </a:lnTo>
                      <a:lnTo>
                        <a:pt x="14" y="13"/>
                      </a:lnTo>
                      <a:lnTo>
                        <a:pt x="14" y="12"/>
                      </a:lnTo>
                      <a:lnTo>
                        <a:pt x="15" y="11"/>
                      </a:lnTo>
                      <a:lnTo>
                        <a:pt x="16" y="10"/>
                      </a:lnTo>
                      <a:lnTo>
                        <a:pt x="17" y="8"/>
                      </a:lnTo>
                      <a:lnTo>
                        <a:pt x="18" y="8"/>
                      </a:lnTo>
                      <a:lnTo>
                        <a:pt x="18" y="6"/>
                      </a:lnTo>
                      <a:lnTo>
                        <a:pt x="19" y="6"/>
                      </a:lnTo>
                      <a:lnTo>
                        <a:pt x="19" y="5"/>
                      </a:lnTo>
                      <a:lnTo>
                        <a:pt x="20" y="4"/>
                      </a:lnTo>
                      <a:lnTo>
                        <a:pt x="21" y="4"/>
                      </a:lnTo>
                      <a:lnTo>
                        <a:pt x="22" y="4"/>
                      </a:lnTo>
                      <a:lnTo>
                        <a:pt x="22" y="5"/>
                      </a:lnTo>
                      <a:lnTo>
                        <a:pt x="24" y="2"/>
                      </a:lnTo>
                      <a:lnTo>
                        <a:pt x="24" y="1"/>
                      </a:lnTo>
                      <a:lnTo>
                        <a:pt x="23" y="0"/>
                      </a:lnTo>
                      <a:lnTo>
                        <a:pt x="22" y="0"/>
                      </a:lnTo>
                      <a:lnTo>
                        <a:pt x="21" y="0"/>
                      </a:lnTo>
                      <a:lnTo>
                        <a:pt x="19" y="0"/>
                      </a:lnTo>
                      <a:lnTo>
                        <a:pt x="18" y="1"/>
                      </a:lnTo>
                      <a:lnTo>
                        <a:pt x="17" y="2"/>
                      </a:lnTo>
                      <a:lnTo>
                        <a:pt x="16" y="3"/>
                      </a:lnTo>
                      <a:lnTo>
                        <a:pt x="16" y="4"/>
                      </a:lnTo>
                      <a:lnTo>
                        <a:pt x="14" y="5"/>
                      </a:lnTo>
                      <a:lnTo>
                        <a:pt x="14" y="6"/>
                      </a:lnTo>
                      <a:lnTo>
                        <a:pt x="13" y="8"/>
                      </a:lnTo>
                      <a:lnTo>
                        <a:pt x="12" y="10"/>
                      </a:lnTo>
                      <a:lnTo>
                        <a:pt x="11" y="11"/>
                      </a:lnTo>
                      <a:lnTo>
                        <a:pt x="10" y="13"/>
                      </a:lnTo>
                      <a:lnTo>
                        <a:pt x="10" y="14"/>
                      </a:lnTo>
                      <a:lnTo>
                        <a:pt x="9" y="15"/>
                      </a:lnTo>
                      <a:lnTo>
                        <a:pt x="8" y="16"/>
                      </a:lnTo>
                      <a:lnTo>
                        <a:pt x="8" y="17"/>
                      </a:lnTo>
                      <a:lnTo>
                        <a:pt x="7" y="18"/>
                      </a:lnTo>
                      <a:lnTo>
                        <a:pt x="6" y="19"/>
                      </a:lnTo>
                      <a:lnTo>
                        <a:pt x="5" y="20"/>
                      </a:lnTo>
                      <a:lnTo>
                        <a:pt x="5" y="21"/>
                      </a:lnTo>
                      <a:lnTo>
                        <a:pt x="4" y="21"/>
                      </a:lnTo>
                      <a:lnTo>
                        <a:pt x="4" y="22"/>
                      </a:lnTo>
                      <a:lnTo>
                        <a:pt x="3" y="22"/>
                      </a:lnTo>
                      <a:lnTo>
                        <a:pt x="3" y="21"/>
                      </a:lnTo>
                      <a:lnTo>
                        <a:pt x="2" y="21"/>
                      </a:lnTo>
                      <a:lnTo>
                        <a:pt x="2" y="20"/>
                      </a:lnTo>
                      <a:lnTo>
                        <a:pt x="1" y="20"/>
                      </a:lnTo>
                      <a:lnTo>
                        <a:pt x="0" y="20"/>
                      </a:lnTo>
                      <a:lnTo>
                        <a:pt x="0" y="21"/>
                      </a:lnTo>
                      <a:lnTo>
                        <a:pt x="0" y="22"/>
                      </a:lnTo>
                      <a:lnTo>
                        <a:pt x="0" y="23"/>
                      </a:lnTo>
                      <a:lnTo>
                        <a:pt x="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2" name="Freeform 844">
                  <a:extLst>
                    <a:ext uri="{FF2B5EF4-FFF2-40B4-BE49-F238E27FC236}">
                      <a16:creationId xmlns:a16="http://schemas.microsoft.com/office/drawing/2014/main" id="{4EB6C136-5DCC-165D-FBA8-7AA7D97058DD}"/>
                    </a:ext>
                  </a:extLst>
                </p:cNvPr>
                <p:cNvSpPr>
                  <a:spLocks/>
                </p:cNvSpPr>
                <p:nvPr/>
              </p:nvSpPr>
              <p:spPr bwMode="auto">
                <a:xfrm>
                  <a:off x="906" y="1890"/>
                  <a:ext cx="17" cy="50"/>
                </a:xfrm>
                <a:custGeom>
                  <a:avLst/>
                  <a:gdLst>
                    <a:gd name="T0" fmla="*/ 11 w 23"/>
                    <a:gd name="T1" fmla="*/ 1 h 71"/>
                    <a:gd name="T2" fmla="*/ 10 w 23"/>
                    <a:gd name="T3" fmla="*/ 6 h 71"/>
                    <a:gd name="T4" fmla="*/ 10 w 23"/>
                    <a:gd name="T5" fmla="*/ 11 h 71"/>
                    <a:gd name="T6" fmla="*/ 9 w 23"/>
                    <a:gd name="T7" fmla="*/ 14 h 71"/>
                    <a:gd name="T8" fmla="*/ 7 w 23"/>
                    <a:gd name="T9" fmla="*/ 16 h 71"/>
                    <a:gd name="T10" fmla="*/ 7 w 23"/>
                    <a:gd name="T11" fmla="*/ 18 h 71"/>
                    <a:gd name="T12" fmla="*/ 5 w 23"/>
                    <a:gd name="T13" fmla="*/ 19 h 71"/>
                    <a:gd name="T14" fmla="*/ 4 w 23"/>
                    <a:gd name="T15" fmla="*/ 19 h 71"/>
                    <a:gd name="T16" fmla="*/ 3 w 23"/>
                    <a:gd name="T17" fmla="*/ 20 h 71"/>
                    <a:gd name="T18" fmla="*/ 1 w 23"/>
                    <a:gd name="T19" fmla="*/ 20 h 71"/>
                    <a:gd name="T20" fmla="*/ 1 w 23"/>
                    <a:gd name="T21" fmla="*/ 21 h 71"/>
                    <a:gd name="T22" fmla="*/ 0 w 23"/>
                    <a:gd name="T23" fmla="*/ 23 h 71"/>
                    <a:gd name="T24" fmla="*/ 1 w 23"/>
                    <a:gd name="T25" fmla="*/ 24 h 71"/>
                    <a:gd name="T26" fmla="*/ 2 w 23"/>
                    <a:gd name="T27" fmla="*/ 26 h 71"/>
                    <a:gd name="T28" fmla="*/ 4 w 23"/>
                    <a:gd name="T29" fmla="*/ 27 h 71"/>
                    <a:gd name="T30" fmla="*/ 7 w 23"/>
                    <a:gd name="T31" fmla="*/ 31 h 71"/>
                    <a:gd name="T32" fmla="*/ 10 w 23"/>
                    <a:gd name="T33" fmla="*/ 35 h 71"/>
                    <a:gd name="T34" fmla="*/ 9 w 23"/>
                    <a:gd name="T35" fmla="*/ 31 h 71"/>
                    <a:gd name="T36" fmla="*/ 6 w 23"/>
                    <a:gd name="T37" fmla="*/ 27 h 71"/>
                    <a:gd name="T38" fmla="*/ 4 w 23"/>
                    <a:gd name="T39" fmla="*/ 25 h 71"/>
                    <a:gd name="T40" fmla="*/ 3 w 23"/>
                    <a:gd name="T41" fmla="*/ 23 h 71"/>
                    <a:gd name="T42" fmla="*/ 2 w 23"/>
                    <a:gd name="T43" fmla="*/ 23 h 71"/>
                    <a:gd name="T44" fmla="*/ 2 w 23"/>
                    <a:gd name="T45" fmla="*/ 23 h 71"/>
                    <a:gd name="T46" fmla="*/ 3 w 23"/>
                    <a:gd name="T47" fmla="*/ 23 h 71"/>
                    <a:gd name="T48" fmla="*/ 4 w 23"/>
                    <a:gd name="T49" fmla="*/ 21 h 71"/>
                    <a:gd name="T50" fmla="*/ 5 w 23"/>
                    <a:gd name="T51" fmla="*/ 21 h 71"/>
                    <a:gd name="T52" fmla="*/ 7 w 23"/>
                    <a:gd name="T53" fmla="*/ 20 h 71"/>
                    <a:gd name="T54" fmla="*/ 9 w 23"/>
                    <a:gd name="T55" fmla="*/ 18 h 71"/>
                    <a:gd name="T56" fmla="*/ 10 w 23"/>
                    <a:gd name="T57" fmla="*/ 16 h 71"/>
                    <a:gd name="T58" fmla="*/ 12 w 23"/>
                    <a:gd name="T59" fmla="*/ 13 h 71"/>
                    <a:gd name="T60" fmla="*/ 12 w 23"/>
                    <a:gd name="T61" fmla="*/ 9 h 71"/>
                    <a:gd name="T62" fmla="*/ 13 w 23"/>
                    <a:gd name="T63" fmla="*/ 4 h 71"/>
                    <a:gd name="T64" fmla="*/ 12 w 23"/>
                    <a:gd name="T65" fmla="*/ 2 h 71"/>
                    <a:gd name="T66" fmla="*/ 13 w 23"/>
                    <a:gd name="T67" fmla="*/ 1 h 71"/>
                    <a:gd name="T68" fmla="*/ 13 w 23"/>
                    <a:gd name="T69" fmla="*/ 1 h 71"/>
                    <a:gd name="T70" fmla="*/ 12 w 23"/>
                    <a:gd name="T71" fmla="*/ 0 h 71"/>
                    <a:gd name="T72" fmla="*/ 12 w 23"/>
                    <a:gd name="T73" fmla="*/ 0 h 71"/>
                    <a:gd name="T74" fmla="*/ 12 w 23"/>
                    <a:gd name="T75" fmla="*/ 0 h 71"/>
                    <a:gd name="T76" fmla="*/ 12 w 23"/>
                    <a:gd name="T77" fmla="*/ 0 h 71"/>
                    <a:gd name="T78" fmla="*/ 11 w 23"/>
                    <a:gd name="T79" fmla="*/ 1 h 71"/>
                    <a:gd name="T80" fmla="*/ 11 w 23"/>
                    <a:gd name="T81" fmla="*/ 1 h 71"/>
                    <a:gd name="T82" fmla="*/ 12 w 23"/>
                    <a:gd name="T83" fmla="*/ 0 h 7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3" h="71">
                      <a:moveTo>
                        <a:pt x="22" y="0"/>
                      </a:moveTo>
                      <a:lnTo>
                        <a:pt x="20" y="2"/>
                      </a:lnTo>
                      <a:lnTo>
                        <a:pt x="20" y="8"/>
                      </a:lnTo>
                      <a:lnTo>
                        <a:pt x="19" y="13"/>
                      </a:lnTo>
                      <a:lnTo>
                        <a:pt x="19" y="18"/>
                      </a:lnTo>
                      <a:lnTo>
                        <a:pt x="18" y="22"/>
                      </a:lnTo>
                      <a:lnTo>
                        <a:pt x="17" y="25"/>
                      </a:lnTo>
                      <a:lnTo>
                        <a:pt x="16" y="28"/>
                      </a:lnTo>
                      <a:lnTo>
                        <a:pt x="16" y="31"/>
                      </a:lnTo>
                      <a:lnTo>
                        <a:pt x="14" y="33"/>
                      </a:lnTo>
                      <a:lnTo>
                        <a:pt x="13" y="35"/>
                      </a:lnTo>
                      <a:lnTo>
                        <a:pt x="12" y="36"/>
                      </a:lnTo>
                      <a:lnTo>
                        <a:pt x="11" y="37"/>
                      </a:lnTo>
                      <a:lnTo>
                        <a:pt x="10" y="38"/>
                      </a:lnTo>
                      <a:lnTo>
                        <a:pt x="9" y="39"/>
                      </a:lnTo>
                      <a:lnTo>
                        <a:pt x="7" y="39"/>
                      </a:lnTo>
                      <a:lnTo>
                        <a:pt x="6" y="40"/>
                      </a:lnTo>
                      <a:lnTo>
                        <a:pt x="5" y="40"/>
                      </a:lnTo>
                      <a:lnTo>
                        <a:pt x="4" y="41"/>
                      </a:lnTo>
                      <a:lnTo>
                        <a:pt x="3" y="41"/>
                      </a:lnTo>
                      <a:lnTo>
                        <a:pt x="2" y="41"/>
                      </a:lnTo>
                      <a:lnTo>
                        <a:pt x="2" y="42"/>
                      </a:lnTo>
                      <a:lnTo>
                        <a:pt x="0" y="43"/>
                      </a:lnTo>
                      <a:lnTo>
                        <a:pt x="0" y="45"/>
                      </a:lnTo>
                      <a:lnTo>
                        <a:pt x="1" y="47"/>
                      </a:lnTo>
                      <a:lnTo>
                        <a:pt x="1" y="48"/>
                      </a:lnTo>
                      <a:lnTo>
                        <a:pt x="2" y="50"/>
                      </a:lnTo>
                      <a:lnTo>
                        <a:pt x="4" y="52"/>
                      </a:lnTo>
                      <a:lnTo>
                        <a:pt x="5" y="54"/>
                      </a:lnTo>
                      <a:lnTo>
                        <a:pt x="7" y="56"/>
                      </a:lnTo>
                      <a:lnTo>
                        <a:pt x="9" y="59"/>
                      </a:lnTo>
                      <a:lnTo>
                        <a:pt x="12" y="63"/>
                      </a:lnTo>
                      <a:lnTo>
                        <a:pt x="14" y="66"/>
                      </a:lnTo>
                      <a:lnTo>
                        <a:pt x="18" y="71"/>
                      </a:lnTo>
                      <a:lnTo>
                        <a:pt x="20" y="68"/>
                      </a:lnTo>
                      <a:lnTo>
                        <a:pt x="16" y="63"/>
                      </a:lnTo>
                      <a:lnTo>
                        <a:pt x="13" y="60"/>
                      </a:lnTo>
                      <a:lnTo>
                        <a:pt x="11" y="56"/>
                      </a:lnTo>
                      <a:lnTo>
                        <a:pt x="9" y="53"/>
                      </a:lnTo>
                      <a:lnTo>
                        <a:pt x="7" y="51"/>
                      </a:lnTo>
                      <a:lnTo>
                        <a:pt x="6" y="49"/>
                      </a:lnTo>
                      <a:lnTo>
                        <a:pt x="5" y="47"/>
                      </a:lnTo>
                      <a:lnTo>
                        <a:pt x="4" y="46"/>
                      </a:lnTo>
                      <a:lnTo>
                        <a:pt x="4" y="45"/>
                      </a:lnTo>
                      <a:lnTo>
                        <a:pt x="5" y="45"/>
                      </a:lnTo>
                      <a:lnTo>
                        <a:pt x="6" y="45"/>
                      </a:lnTo>
                      <a:lnTo>
                        <a:pt x="7" y="43"/>
                      </a:lnTo>
                      <a:lnTo>
                        <a:pt x="9" y="43"/>
                      </a:lnTo>
                      <a:lnTo>
                        <a:pt x="10" y="43"/>
                      </a:lnTo>
                      <a:lnTo>
                        <a:pt x="12" y="41"/>
                      </a:lnTo>
                      <a:lnTo>
                        <a:pt x="13" y="41"/>
                      </a:lnTo>
                      <a:lnTo>
                        <a:pt x="14" y="39"/>
                      </a:lnTo>
                      <a:lnTo>
                        <a:pt x="16" y="37"/>
                      </a:lnTo>
                      <a:lnTo>
                        <a:pt x="17" y="35"/>
                      </a:lnTo>
                      <a:lnTo>
                        <a:pt x="18" y="33"/>
                      </a:lnTo>
                      <a:lnTo>
                        <a:pt x="19" y="30"/>
                      </a:lnTo>
                      <a:lnTo>
                        <a:pt x="21" y="27"/>
                      </a:lnTo>
                      <a:lnTo>
                        <a:pt x="21" y="23"/>
                      </a:lnTo>
                      <a:lnTo>
                        <a:pt x="22" y="19"/>
                      </a:lnTo>
                      <a:lnTo>
                        <a:pt x="22" y="14"/>
                      </a:lnTo>
                      <a:lnTo>
                        <a:pt x="23" y="8"/>
                      </a:lnTo>
                      <a:lnTo>
                        <a:pt x="23" y="2"/>
                      </a:lnTo>
                      <a:lnTo>
                        <a:pt x="22" y="4"/>
                      </a:lnTo>
                      <a:lnTo>
                        <a:pt x="23" y="2"/>
                      </a:lnTo>
                      <a:lnTo>
                        <a:pt x="23" y="1"/>
                      </a:lnTo>
                      <a:lnTo>
                        <a:pt x="22" y="1"/>
                      </a:lnTo>
                      <a:lnTo>
                        <a:pt x="22" y="0"/>
                      </a:lnTo>
                      <a:lnTo>
                        <a:pt x="21" y="0"/>
                      </a:lnTo>
                      <a:lnTo>
                        <a:pt x="21" y="1"/>
                      </a:lnTo>
                      <a:lnTo>
                        <a:pt x="20" y="1"/>
                      </a:lnTo>
                      <a:lnTo>
                        <a:pt x="20" y="2"/>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3" name="Freeform 845">
                  <a:extLst>
                    <a:ext uri="{FF2B5EF4-FFF2-40B4-BE49-F238E27FC236}">
                      <a16:creationId xmlns:a16="http://schemas.microsoft.com/office/drawing/2014/main" id="{331F3B74-272C-5EF1-908E-141AF01B9CBF}"/>
                    </a:ext>
                  </a:extLst>
                </p:cNvPr>
                <p:cNvSpPr>
                  <a:spLocks/>
                </p:cNvSpPr>
                <p:nvPr/>
              </p:nvSpPr>
              <p:spPr bwMode="auto">
                <a:xfrm>
                  <a:off x="922" y="1873"/>
                  <a:ext cx="19" cy="20"/>
                </a:xfrm>
                <a:custGeom>
                  <a:avLst/>
                  <a:gdLst>
                    <a:gd name="T0" fmla="*/ 12 w 29"/>
                    <a:gd name="T1" fmla="*/ 1 h 28"/>
                    <a:gd name="T2" fmla="*/ 11 w 29"/>
                    <a:gd name="T3" fmla="*/ 1 h 28"/>
                    <a:gd name="T4" fmla="*/ 10 w 29"/>
                    <a:gd name="T5" fmla="*/ 1 h 28"/>
                    <a:gd name="T6" fmla="*/ 10 w 29"/>
                    <a:gd name="T7" fmla="*/ 3 h 28"/>
                    <a:gd name="T8" fmla="*/ 9 w 29"/>
                    <a:gd name="T9" fmla="*/ 3 h 28"/>
                    <a:gd name="T10" fmla="*/ 9 w 29"/>
                    <a:gd name="T11" fmla="*/ 4 h 28"/>
                    <a:gd name="T12" fmla="*/ 8 w 29"/>
                    <a:gd name="T13" fmla="*/ 5 h 28"/>
                    <a:gd name="T14" fmla="*/ 7 w 29"/>
                    <a:gd name="T15" fmla="*/ 6 h 28"/>
                    <a:gd name="T16" fmla="*/ 6 w 29"/>
                    <a:gd name="T17" fmla="*/ 7 h 28"/>
                    <a:gd name="T18" fmla="*/ 5 w 29"/>
                    <a:gd name="T19" fmla="*/ 8 h 28"/>
                    <a:gd name="T20" fmla="*/ 5 w 29"/>
                    <a:gd name="T21" fmla="*/ 9 h 28"/>
                    <a:gd name="T22" fmla="*/ 3 w 29"/>
                    <a:gd name="T23" fmla="*/ 10 h 28"/>
                    <a:gd name="T24" fmla="*/ 3 w 29"/>
                    <a:gd name="T25" fmla="*/ 11 h 28"/>
                    <a:gd name="T26" fmla="*/ 1 w 29"/>
                    <a:gd name="T27" fmla="*/ 11 h 28"/>
                    <a:gd name="T28" fmla="*/ 1 w 29"/>
                    <a:gd name="T29" fmla="*/ 11 h 28"/>
                    <a:gd name="T30" fmla="*/ 0 w 29"/>
                    <a:gd name="T31" fmla="*/ 11 h 28"/>
                    <a:gd name="T32" fmla="*/ 1 w 29"/>
                    <a:gd name="T33" fmla="*/ 14 h 28"/>
                    <a:gd name="T34" fmla="*/ 1 w 29"/>
                    <a:gd name="T35" fmla="*/ 14 h 28"/>
                    <a:gd name="T36" fmla="*/ 3 w 29"/>
                    <a:gd name="T37" fmla="*/ 14 h 28"/>
                    <a:gd name="T38" fmla="*/ 3 w 29"/>
                    <a:gd name="T39" fmla="*/ 13 h 28"/>
                    <a:gd name="T40" fmla="*/ 5 w 29"/>
                    <a:gd name="T41" fmla="*/ 11 h 28"/>
                    <a:gd name="T42" fmla="*/ 6 w 29"/>
                    <a:gd name="T43" fmla="*/ 11 h 28"/>
                    <a:gd name="T44" fmla="*/ 7 w 29"/>
                    <a:gd name="T45" fmla="*/ 10 h 28"/>
                    <a:gd name="T46" fmla="*/ 7 w 29"/>
                    <a:gd name="T47" fmla="*/ 9 h 28"/>
                    <a:gd name="T48" fmla="*/ 9 w 29"/>
                    <a:gd name="T49" fmla="*/ 7 h 28"/>
                    <a:gd name="T50" fmla="*/ 9 w 29"/>
                    <a:gd name="T51" fmla="*/ 6 h 28"/>
                    <a:gd name="T52" fmla="*/ 10 w 29"/>
                    <a:gd name="T53" fmla="*/ 5 h 28"/>
                    <a:gd name="T54" fmla="*/ 10 w 29"/>
                    <a:gd name="T55" fmla="*/ 4 h 28"/>
                    <a:gd name="T56" fmla="*/ 12 w 29"/>
                    <a:gd name="T57" fmla="*/ 4 h 28"/>
                    <a:gd name="T58" fmla="*/ 12 w 29"/>
                    <a:gd name="T59" fmla="*/ 3 h 28"/>
                    <a:gd name="T60" fmla="*/ 12 w 29"/>
                    <a:gd name="T61" fmla="*/ 2 h 28"/>
                    <a:gd name="T62" fmla="*/ 12 w 29"/>
                    <a:gd name="T63" fmla="*/ 1 h 28"/>
                    <a:gd name="T64" fmla="*/ 12 w 29"/>
                    <a:gd name="T65" fmla="*/ 2 h 28"/>
                    <a:gd name="T66" fmla="*/ 12 w 29"/>
                    <a:gd name="T67" fmla="*/ 1 h 28"/>
                    <a:gd name="T68" fmla="*/ 12 w 29"/>
                    <a:gd name="T69" fmla="*/ 1 h 28"/>
                    <a:gd name="T70" fmla="*/ 12 w 29"/>
                    <a:gd name="T71" fmla="*/ 1 h 28"/>
                    <a:gd name="T72" fmla="*/ 12 w 29"/>
                    <a:gd name="T73" fmla="*/ 1 h 28"/>
                    <a:gd name="T74" fmla="*/ 12 w 29"/>
                    <a:gd name="T75" fmla="*/ 0 h 28"/>
                    <a:gd name="T76" fmla="*/ 12 w 29"/>
                    <a:gd name="T77" fmla="*/ 1 h 28"/>
                    <a:gd name="T78" fmla="*/ 12 w 29"/>
                    <a:gd name="T79" fmla="*/ 2 h 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 h="28">
                      <a:moveTo>
                        <a:pt x="27" y="4"/>
                      </a:moveTo>
                      <a:lnTo>
                        <a:pt x="27" y="1"/>
                      </a:lnTo>
                      <a:lnTo>
                        <a:pt x="26" y="2"/>
                      </a:lnTo>
                      <a:lnTo>
                        <a:pt x="25" y="3"/>
                      </a:lnTo>
                      <a:lnTo>
                        <a:pt x="24" y="4"/>
                      </a:lnTo>
                      <a:lnTo>
                        <a:pt x="24" y="5"/>
                      </a:lnTo>
                      <a:lnTo>
                        <a:pt x="23" y="6"/>
                      </a:lnTo>
                      <a:lnTo>
                        <a:pt x="22" y="6"/>
                      </a:lnTo>
                      <a:lnTo>
                        <a:pt x="21" y="7"/>
                      </a:lnTo>
                      <a:lnTo>
                        <a:pt x="20" y="8"/>
                      </a:lnTo>
                      <a:lnTo>
                        <a:pt x="20" y="10"/>
                      </a:lnTo>
                      <a:lnTo>
                        <a:pt x="19" y="10"/>
                      </a:lnTo>
                      <a:lnTo>
                        <a:pt x="17" y="11"/>
                      </a:lnTo>
                      <a:lnTo>
                        <a:pt x="17" y="13"/>
                      </a:lnTo>
                      <a:lnTo>
                        <a:pt x="15" y="14"/>
                      </a:lnTo>
                      <a:lnTo>
                        <a:pt x="14" y="14"/>
                      </a:lnTo>
                      <a:lnTo>
                        <a:pt x="14" y="16"/>
                      </a:lnTo>
                      <a:lnTo>
                        <a:pt x="12" y="16"/>
                      </a:lnTo>
                      <a:lnTo>
                        <a:pt x="11" y="18"/>
                      </a:lnTo>
                      <a:lnTo>
                        <a:pt x="10" y="18"/>
                      </a:lnTo>
                      <a:lnTo>
                        <a:pt x="9" y="19"/>
                      </a:lnTo>
                      <a:lnTo>
                        <a:pt x="7" y="20"/>
                      </a:lnTo>
                      <a:lnTo>
                        <a:pt x="7" y="21"/>
                      </a:lnTo>
                      <a:lnTo>
                        <a:pt x="6" y="22"/>
                      </a:lnTo>
                      <a:lnTo>
                        <a:pt x="4" y="22"/>
                      </a:lnTo>
                      <a:lnTo>
                        <a:pt x="3" y="22"/>
                      </a:lnTo>
                      <a:lnTo>
                        <a:pt x="2" y="23"/>
                      </a:lnTo>
                      <a:lnTo>
                        <a:pt x="1" y="23"/>
                      </a:lnTo>
                      <a:lnTo>
                        <a:pt x="0" y="23"/>
                      </a:lnTo>
                      <a:lnTo>
                        <a:pt x="0" y="28"/>
                      </a:lnTo>
                      <a:lnTo>
                        <a:pt x="1" y="28"/>
                      </a:lnTo>
                      <a:lnTo>
                        <a:pt x="2" y="28"/>
                      </a:lnTo>
                      <a:lnTo>
                        <a:pt x="3" y="27"/>
                      </a:lnTo>
                      <a:lnTo>
                        <a:pt x="4" y="27"/>
                      </a:lnTo>
                      <a:lnTo>
                        <a:pt x="6" y="26"/>
                      </a:lnTo>
                      <a:lnTo>
                        <a:pt x="7" y="25"/>
                      </a:lnTo>
                      <a:lnTo>
                        <a:pt x="8" y="25"/>
                      </a:lnTo>
                      <a:lnTo>
                        <a:pt x="9" y="24"/>
                      </a:lnTo>
                      <a:lnTo>
                        <a:pt x="10" y="23"/>
                      </a:lnTo>
                      <a:lnTo>
                        <a:pt x="12" y="22"/>
                      </a:lnTo>
                      <a:lnTo>
                        <a:pt x="13" y="21"/>
                      </a:lnTo>
                      <a:lnTo>
                        <a:pt x="14" y="20"/>
                      </a:lnTo>
                      <a:lnTo>
                        <a:pt x="15" y="19"/>
                      </a:lnTo>
                      <a:lnTo>
                        <a:pt x="16" y="18"/>
                      </a:lnTo>
                      <a:lnTo>
                        <a:pt x="17" y="17"/>
                      </a:lnTo>
                      <a:lnTo>
                        <a:pt x="19" y="16"/>
                      </a:lnTo>
                      <a:lnTo>
                        <a:pt x="20" y="14"/>
                      </a:lnTo>
                      <a:lnTo>
                        <a:pt x="22" y="13"/>
                      </a:lnTo>
                      <a:lnTo>
                        <a:pt x="22" y="11"/>
                      </a:lnTo>
                      <a:lnTo>
                        <a:pt x="24" y="10"/>
                      </a:lnTo>
                      <a:lnTo>
                        <a:pt x="25" y="8"/>
                      </a:lnTo>
                      <a:lnTo>
                        <a:pt x="26" y="8"/>
                      </a:lnTo>
                      <a:lnTo>
                        <a:pt x="27" y="7"/>
                      </a:lnTo>
                      <a:lnTo>
                        <a:pt x="27" y="6"/>
                      </a:lnTo>
                      <a:lnTo>
                        <a:pt x="28" y="6"/>
                      </a:lnTo>
                      <a:lnTo>
                        <a:pt x="28" y="5"/>
                      </a:lnTo>
                      <a:lnTo>
                        <a:pt x="29" y="4"/>
                      </a:lnTo>
                      <a:lnTo>
                        <a:pt x="29" y="1"/>
                      </a:lnTo>
                      <a:lnTo>
                        <a:pt x="29" y="4"/>
                      </a:lnTo>
                      <a:lnTo>
                        <a:pt x="29" y="3"/>
                      </a:lnTo>
                      <a:lnTo>
                        <a:pt x="29" y="2"/>
                      </a:lnTo>
                      <a:lnTo>
                        <a:pt x="29" y="1"/>
                      </a:lnTo>
                      <a:lnTo>
                        <a:pt x="28" y="1"/>
                      </a:lnTo>
                      <a:lnTo>
                        <a:pt x="28" y="0"/>
                      </a:lnTo>
                      <a:lnTo>
                        <a:pt x="27" y="1"/>
                      </a:lnTo>
                      <a:lnTo>
                        <a:pt x="2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4" name="Freeform 846">
                  <a:extLst>
                    <a:ext uri="{FF2B5EF4-FFF2-40B4-BE49-F238E27FC236}">
                      <a16:creationId xmlns:a16="http://schemas.microsoft.com/office/drawing/2014/main" id="{BE5BF9C5-922D-F918-D4FD-FA45BD1029AB}"/>
                    </a:ext>
                  </a:extLst>
                </p:cNvPr>
                <p:cNvSpPr>
                  <a:spLocks/>
                </p:cNvSpPr>
                <p:nvPr/>
              </p:nvSpPr>
              <p:spPr bwMode="auto">
                <a:xfrm>
                  <a:off x="906" y="1872"/>
                  <a:ext cx="35" cy="15"/>
                </a:xfrm>
                <a:custGeom>
                  <a:avLst/>
                  <a:gdLst>
                    <a:gd name="T0" fmla="*/ 0 w 51"/>
                    <a:gd name="T1" fmla="*/ 7 h 21"/>
                    <a:gd name="T2" fmla="*/ 2 w 51"/>
                    <a:gd name="T3" fmla="*/ 9 h 21"/>
                    <a:gd name="T4" fmla="*/ 3 w 51"/>
                    <a:gd name="T5" fmla="*/ 10 h 21"/>
                    <a:gd name="T6" fmla="*/ 6 w 51"/>
                    <a:gd name="T7" fmla="*/ 11 h 21"/>
                    <a:gd name="T8" fmla="*/ 8 w 51"/>
                    <a:gd name="T9" fmla="*/ 11 h 21"/>
                    <a:gd name="T10" fmla="*/ 9 w 51"/>
                    <a:gd name="T11" fmla="*/ 10 h 21"/>
                    <a:gd name="T12" fmla="*/ 10 w 51"/>
                    <a:gd name="T13" fmla="*/ 9 h 21"/>
                    <a:gd name="T14" fmla="*/ 12 w 51"/>
                    <a:gd name="T15" fmla="*/ 8 h 21"/>
                    <a:gd name="T16" fmla="*/ 13 w 51"/>
                    <a:gd name="T17" fmla="*/ 6 h 21"/>
                    <a:gd name="T18" fmla="*/ 14 w 51"/>
                    <a:gd name="T19" fmla="*/ 6 h 21"/>
                    <a:gd name="T20" fmla="*/ 16 w 51"/>
                    <a:gd name="T21" fmla="*/ 4 h 21"/>
                    <a:gd name="T22" fmla="*/ 17 w 51"/>
                    <a:gd name="T23" fmla="*/ 4 h 21"/>
                    <a:gd name="T24" fmla="*/ 19 w 51"/>
                    <a:gd name="T25" fmla="*/ 3 h 21"/>
                    <a:gd name="T26" fmla="*/ 19 w 51"/>
                    <a:gd name="T27" fmla="*/ 2 h 21"/>
                    <a:gd name="T28" fmla="*/ 21 w 51"/>
                    <a:gd name="T29" fmla="*/ 2 h 21"/>
                    <a:gd name="T30" fmla="*/ 22 w 51"/>
                    <a:gd name="T31" fmla="*/ 2 h 21"/>
                    <a:gd name="T32" fmla="*/ 23 w 51"/>
                    <a:gd name="T33" fmla="*/ 3 h 21"/>
                    <a:gd name="T34" fmla="*/ 23 w 51"/>
                    <a:gd name="T35" fmla="*/ 1 h 21"/>
                    <a:gd name="T36" fmla="*/ 22 w 51"/>
                    <a:gd name="T37" fmla="*/ 0 h 21"/>
                    <a:gd name="T38" fmla="*/ 20 w 51"/>
                    <a:gd name="T39" fmla="*/ 0 h 21"/>
                    <a:gd name="T40" fmla="*/ 19 w 51"/>
                    <a:gd name="T41" fmla="*/ 1 h 21"/>
                    <a:gd name="T42" fmla="*/ 17 w 51"/>
                    <a:gd name="T43" fmla="*/ 1 h 21"/>
                    <a:gd name="T44" fmla="*/ 16 w 51"/>
                    <a:gd name="T45" fmla="*/ 2 h 21"/>
                    <a:gd name="T46" fmla="*/ 14 w 51"/>
                    <a:gd name="T47" fmla="*/ 4 h 21"/>
                    <a:gd name="T48" fmla="*/ 13 w 51"/>
                    <a:gd name="T49" fmla="*/ 4 h 21"/>
                    <a:gd name="T50" fmla="*/ 12 w 51"/>
                    <a:gd name="T51" fmla="*/ 6 h 21"/>
                    <a:gd name="T52" fmla="*/ 10 w 51"/>
                    <a:gd name="T53" fmla="*/ 6 h 21"/>
                    <a:gd name="T54" fmla="*/ 10 w 51"/>
                    <a:gd name="T55" fmla="*/ 8 h 21"/>
                    <a:gd name="T56" fmla="*/ 8 w 51"/>
                    <a:gd name="T57" fmla="*/ 8 h 21"/>
                    <a:gd name="T58" fmla="*/ 7 w 51"/>
                    <a:gd name="T59" fmla="*/ 9 h 21"/>
                    <a:gd name="T60" fmla="*/ 5 w 51"/>
                    <a:gd name="T61" fmla="*/ 9 h 21"/>
                    <a:gd name="T62" fmla="*/ 3 w 51"/>
                    <a:gd name="T63" fmla="*/ 8 h 21"/>
                    <a:gd name="T64" fmla="*/ 2 w 51"/>
                    <a:gd name="T65" fmla="*/ 6 h 21"/>
                    <a:gd name="T66" fmla="*/ 1 w 51"/>
                    <a:gd name="T67" fmla="*/ 6 h 21"/>
                    <a:gd name="T68" fmla="*/ 1 w 51"/>
                    <a:gd name="T69" fmla="*/ 6 h 21"/>
                    <a:gd name="T70" fmla="*/ 1 w 51"/>
                    <a:gd name="T71" fmla="*/ 6 h 21"/>
                    <a:gd name="T72" fmla="*/ 1 w 51"/>
                    <a:gd name="T73" fmla="*/ 6 h 21"/>
                    <a:gd name="T74" fmla="*/ 1 w 51"/>
                    <a:gd name="T75" fmla="*/ 6 h 21"/>
                    <a:gd name="T76" fmla="*/ 0 w 51"/>
                    <a:gd name="T77" fmla="*/ 6 h 21"/>
                    <a:gd name="T78" fmla="*/ 0 w 51"/>
                    <a:gd name="T79" fmla="*/ 6 h 21"/>
                    <a:gd name="T80" fmla="*/ 0 w 51"/>
                    <a:gd name="T81" fmla="*/ 6 h 21"/>
                    <a:gd name="T82" fmla="*/ 0 w 51"/>
                    <a:gd name="T83" fmla="*/ 6 h 21"/>
                    <a:gd name="T84" fmla="*/ 0 w 51"/>
                    <a:gd name="T85" fmla="*/ 7 h 21"/>
                    <a:gd name="T86" fmla="*/ 1 w 51"/>
                    <a:gd name="T87" fmla="*/ 8 h 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 h="21">
                      <a:moveTo>
                        <a:pt x="1" y="15"/>
                      </a:moveTo>
                      <a:lnTo>
                        <a:pt x="0" y="14"/>
                      </a:lnTo>
                      <a:lnTo>
                        <a:pt x="3" y="16"/>
                      </a:lnTo>
                      <a:lnTo>
                        <a:pt x="5" y="17"/>
                      </a:lnTo>
                      <a:lnTo>
                        <a:pt x="7" y="19"/>
                      </a:lnTo>
                      <a:lnTo>
                        <a:pt x="8" y="20"/>
                      </a:lnTo>
                      <a:lnTo>
                        <a:pt x="11" y="20"/>
                      </a:lnTo>
                      <a:lnTo>
                        <a:pt x="13" y="21"/>
                      </a:lnTo>
                      <a:lnTo>
                        <a:pt x="14" y="21"/>
                      </a:lnTo>
                      <a:lnTo>
                        <a:pt x="16" y="21"/>
                      </a:lnTo>
                      <a:lnTo>
                        <a:pt x="18" y="20"/>
                      </a:lnTo>
                      <a:lnTo>
                        <a:pt x="19" y="19"/>
                      </a:lnTo>
                      <a:lnTo>
                        <a:pt x="21" y="19"/>
                      </a:lnTo>
                      <a:lnTo>
                        <a:pt x="22" y="17"/>
                      </a:lnTo>
                      <a:lnTo>
                        <a:pt x="24" y="17"/>
                      </a:lnTo>
                      <a:lnTo>
                        <a:pt x="26" y="16"/>
                      </a:lnTo>
                      <a:lnTo>
                        <a:pt x="27" y="15"/>
                      </a:lnTo>
                      <a:lnTo>
                        <a:pt x="28" y="13"/>
                      </a:lnTo>
                      <a:lnTo>
                        <a:pt x="30" y="12"/>
                      </a:lnTo>
                      <a:lnTo>
                        <a:pt x="31" y="11"/>
                      </a:lnTo>
                      <a:lnTo>
                        <a:pt x="32" y="10"/>
                      </a:lnTo>
                      <a:lnTo>
                        <a:pt x="33" y="9"/>
                      </a:lnTo>
                      <a:lnTo>
                        <a:pt x="35" y="7"/>
                      </a:lnTo>
                      <a:lnTo>
                        <a:pt x="36" y="7"/>
                      </a:lnTo>
                      <a:lnTo>
                        <a:pt x="38" y="6"/>
                      </a:lnTo>
                      <a:lnTo>
                        <a:pt x="39" y="5"/>
                      </a:lnTo>
                      <a:lnTo>
                        <a:pt x="40" y="4"/>
                      </a:lnTo>
                      <a:lnTo>
                        <a:pt x="41" y="4"/>
                      </a:lnTo>
                      <a:lnTo>
                        <a:pt x="43" y="4"/>
                      </a:lnTo>
                      <a:lnTo>
                        <a:pt x="44" y="4"/>
                      </a:lnTo>
                      <a:lnTo>
                        <a:pt x="45" y="4"/>
                      </a:lnTo>
                      <a:lnTo>
                        <a:pt x="47" y="4"/>
                      </a:lnTo>
                      <a:lnTo>
                        <a:pt x="48" y="5"/>
                      </a:lnTo>
                      <a:lnTo>
                        <a:pt x="50" y="6"/>
                      </a:lnTo>
                      <a:lnTo>
                        <a:pt x="51" y="2"/>
                      </a:lnTo>
                      <a:lnTo>
                        <a:pt x="49" y="1"/>
                      </a:lnTo>
                      <a:lnTo>
                        <a:pt x="48" y="1"/>
                      </a:lnTo>
                      <a:lnTo>
                        <a:pt x="46" y="0"/>
                      </a:lnTo>
                      <a:lnTo>
                        <a:pt x="44" y="0"/>
                      </a:lnTo>
                      <a:lnTo>
                        <a:pt x="42" y="0"/>
                      </a:lnTo>
                      <a:lnTo>
                        <a:pt x="41" y="0"/>
                      </a:lnTo>
                      <a:lnTo>
                        <a:pt x="39" y="1"/>
                      </a:lnTo>
                      <a:lnTo>
                        <a:pt x="38" y="1"/>
                      </a:lnTo>
                      <a:lnTo>
                        <a:pt x="36" y="2"/>
                      </a:lnTo>
                      <a:lnTo>
                        <a:pt x="35" y="3"/>
                      </a:lnTo>
                      <a:lnTo>
                        <a:pt x="33" y="4"/>
                      </a:lnTo>
                      <a:lnTo>
                        <a:pt x="32" y="5"/>
                      </a:lnTo>
                      <a:lnTo>
                        <a:pt x="30" y="7"/>
                      </a:lnTo>
                      <a:lnTo>
                        <a:pt x="29" y="7"/>
                      </a:lnTo>
                      <a:lnTo>
                        <a:pt x="28" y="9"/>
                      </a:lnTo>
                      <a:lnTo>
                        <a:pt x="27" y="10"/>
                      </a:lnTo>
                      <a:lnTo>
                        <a:pt x="25" y="11"/>
                      </a:lnTo>
                      <a:lnTo>
                        <a:pt x="23" y="12"/>
                      </a:lnTo>
                      <a:lnTo>
                        <a:pt x="22" y="13"/>
                      </a:lnTo>
                      <a:lnTo>
                        <a:pt x="21" y="14"/>
                      </a:lnTo>
                      <a:lnTo>
                        <a:pt x="20" y="15"/>
                      </a:lnTo>
                      <a:lnTo>
                        <a:pt x="18" y="16"/>
                      </a:lnTo>
                      <a:lnTo>
                        <a:pt x="17" y="16"/>
                      </a:lnTo>
                      <a:lnTo>
                        <a:pt x="16" y="17"/>
                      </a:lnTo>
                      <a:lnTo>
                        <a:pt x="14" y="17"/>
                      </a:lnTo>
                      <a:lnTo>
                        <a:pt x="13" y="17"/>
                      </a:lnTo>
                      <a:lnTo>
                        <a:pt x="11" y="17"/>
                      </a:lnTo>
                      <a:lnTo>
                        <a:pt x="10" y="16"/>
                      </a:lnTo>
                      <a:lnTo>
                        <a:pt x="8" y="16"/>
                      </a:lnTo>
                      <a:lnTo>
                        <a:pt x="6" y="14"/>
                      </a:lnTo>
                      <a:lnTo>
                        <a:pt x="5" y="13"/>
                      </a:lnTo>
                      <a:lnTo>
                        <a:pt x="3" y="11"/>
                      </a:lnTo>
                      <a:lnTo>
                        <a:pt x="2" y="11"/>
                      </a:lnTo>
                      <a:lnTo>
                        <a:pt x="3" y="11"/>
                      </a:lnTo>
                      <a:lnTo>
                        <a:pt x="2" y="11"/>
                      </a:lnTo>
                      <a:lnTo>
                        <a:pt x="1" y="11"/>
                      </a:lnTo>
                      <a:lnTo>
                        <a:pt x="0" y="11"/>
                      </a:lnTo>
                      <a:lnTo>
                        <a:pt x="0" y="12"/>
                      </a:lnTo>
                      <a:lnTo>
                        <a:pt x="0" y="13"/>
                      </a:lnTo>
                      <a:lnTo>
                        <a:pt x="0" y="14"/>
                      </a:lnTo>
                      <a:lnTo>
                        <a:pt x="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5" name="Freeform 847">
                  <a:extLst>
                    <a:ext uri="{FF2B5EF4-FFF2-40B4-BE49-F238E27FC236}">
                      <a16:creationId xmlns:a16="http://schemas.microsoft.com/office/drawing/2014/main" id="{468188AF-9F1F-312A-2DD3-B27A5E52D70D}"/>
                    </a:ext>
                  </a:extLst>
                </p:cNvPr>
                <p:cNvSpPr>
                  <a:spLocks/>
                </p:cNvSpPr>
                <p:nvPr/>
              </p:nvSpPr>
              <p:spPr bwMode="auto">
                <a:xfrm>
                  <a:off x="899" y="1771"/>
                  <a:ext cx="37" cy="112"/>
                </a:xfrm>
                <a:custGeom>
                  <a:avLst/>
                  <a:gdLst>
                    <a:gd name="T0" fmla="*/ 25 w 54"/>
                    <a:gd name="T1" fmla="*/ 1 h 158"/>
                    <a:gd name="T2" fmla="*/ 21 w 54"/>
                    <a:gd name="T3" fmla="*/ 0 h 158"/>
                    <a:gd name="T4" fmla="*/ 17 w 54"/>
                    <a:gd name="T5" fmla="*/ 1 h 158"/>
                    <a:gd name="T6" fmla="*/ 13 w 54"/>
                    <a:gd name="T7" fmla="*/ 3 h 158"/>
                    <a:gd name="T8" fmla="*/ 10 w 54"/>
                    <a:gd name="T9" fmla="*/ 6 h 158"/>
                    <a:gd name="T10" fmla="*/ 8 w 54"/>
                    <a:gd name="T11" fmla="*/ 12 h 158"/>
                    <a:gd name="T12" fmla="*/ 5 w 54"/>
                    <a:gd name="T13" fmla="*/ 18 h 158"/>
                    <a:gd name="T14" fmla="*/ 3 w 54"/>
                    <a:gd name="T15" fmla="*/ 24 h 158"/>
                    <a:gd name="T16" fmla="*/ 2 w 54"/>
                    <a:gd name="T17" fmla="*/ 31 h 158"/>
                    <a:gd name="T18" fmla="*/ 1 w 54"/>
                    <a:gd name="T19" fmla="*/ 39 h 158"/>
                    <a:gd name="T20" fmla="*/ 0 w 54"/>
                    <a:gd name="T21" fmla="*/ 46 h 158"/>
                    <a:gd name="T22" fmla="*/ 0 w 54"/>
                    <a:gd name="T23" fmla="*/ 53 h 158"/>
                    <a:gd name="T24" fmla="*/ 0 w 54"/>
                    <a:gd name="T25" fmla="*/ 60 h 158"/>
                    <a:gd name="T26" fmla="*/ 1 w 54"/>
                    <a:gd name="T27" fmla="*/ 67 h 158"/>
                    <a:gd name="T28" fmla="*/ 1 w 54"/>
                    <a:gd name="T29" fmla="*/ 72 h 158"/>
                    <a:gd name="T30" fmla="*/ 3 w 54"/>
                    <a:gd name="T31" fmla="*/ 76 h 158"/>
                    <a:gd name="T32" fmla="*/ 5 w 54"/>
                    <a:gd name="T33" fmla="*/ 79 h 158"/>
                    <a:gd name="T34" fmla="*/ 5 w 54"/>
                    <a:gd name="T35" fmla="*/ 77 h 158"/>
                    <a:gd name="T36" fmla="*/ 3 w 54"/>
                    <a:gd name="T37" fmla="*/ 73 h 158"/>
                    <a:gd name="T38" fmla="*/ 2 w 54"/>
                    <a:gd name="T39" fmla="*/ 68 h 158"/>
                    <a:gd name="T40" fmla="*/ 1 w 54"/>
                    <a:gd name="T41" fmla="*/ 63 h 158"/>
                    <a:gd name="T42" fmla="*/ 1 w 54"/>
                    <a:gd name="T43" fmla="*/ 57 h 158"/>
                    <a:gd name="T44" fmla="*/ 1 w 54"/>
                    <a:gd name="T45" fmla="*/ 50 h 158"/>
                    <a:gd name="T46" fmla="*/ 2 w 54"/>
                    <a:gd name="T47" fmla="*/ 43 h 158"/>
                    <a:gd name="T48" fmla="*/ 3 w 54"/>
                    <a:gd name="T49" fmla="*/ 35 h 158"/>
                    <a:gd name="T50" fmla="*/ 3 w 54"/>
                    <a:gd name="T51" fmla="*/ 28 h 158"/>
                    <a:gd name="T52" fmla="*/ 5 w 54"/>
                    <a:gd name="T53" fmla="*/ 21 h 158"/>
                    <a:gd name="T54" fmla="*/ 8 w 54"/>
                    <a:gd name="T55" fmla="*/ 16 h 158"/>
                    <a:gd name="T56" fmla="*/ 10 w 54"/>
                    <a:gd name="T57" fmla="*/ 11 h 158"/>
                    <a:gd name="T58" fmla="*/ 13 w 54"/>
                    <a:gd name="T59" fmla="*/ 6 h 158"/>
                    <a:gd name="T60" fmla="*/ 16 w 54"/>
                    <a:gd name="T61" fmla="*/ 4 h 158"/>
                    <a:gd name="T62" fmla="*/ 19 w 54"/>
                    <a:gd name="T63" fmla="*/ 2 h 158"/>
                    <a:gd name="T64" fmla="*/ 23 w 54"/>
                    <a:gd name="T65" fmla="*/ 2 h 158"/>
                    <a:gd name="T66" fmla="*/ 25 w 54"/>
                    <a:gd name="T67" fmla="*/ 3 h 158"/>
                    <a:gd name="T68" fmla="*/ 25 w 54"/>
                    <a:gd name="T69" fmla="*/ 3 h 158"/>
                    <a:gd name="T70" fmla="*/ 25 w 54"/>
                    <a:gd name="T71" fmla="*/ 3 h 158"/>
                    <a:gd name="T72" fmla="*/ 25 w 54"/>
                    <a:gd name="T73" fmla="*/ 3 h 158"/>
                    <a:gd name="T74" fmla="*/ 25 w 54"/>
                    <a:gd name="T75" fmla="*/ 3 h 158"/>
                    <a:gd name="T76" fmla="*/ 25 w 54"/>
                    <a:gd name="T77" fmla="*/ 3 h 158"/>
                    <a:gd name="T78" fmla="*/ 25 w 54"/>
                    <a:gd name="T79" fmla="*/ 3 h 158"/>
                    <a:gd name="T80" fmla="*/ 25 w 54"/>
                    <a:gd name="T81" fmla="*/ 2 h 158"/>
                    <a:gd name="T82" fmla="*/ 25 w 54"/>
                    <a:gd name="T83" fmla="*/ 1 h 158"/>
                    <a:gd name="T84" fmla="*/ 25 w 54"/>
                    <a:gd name="T85" fmla="*/ 1 h 158"/>
                    <a:gd name="T86" fmla="*/ 25 w 54"/>
                    <a:gd name="T87" fmla="*/ 1 h 158"/>
                    <a:gd name="T88" fmla="*/ 25 w 54"/>
                    <a:gd name="T89" fmla="*/ 1 h 1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4" h="158">
                      <a:moveTo>
                        <a:pt x="52" y="2"/>
                      </a:moveTo>
                      <a:lnTo>
                        <a:pt x="53" y="2"/>
                      </a:lnTo>
                      <a:lnTo>
                        <a:pt x="48" y="1"/>
                      </a:lnTo>
                      <a:lnTo>
                        <a:pt x="44" y="0"/>
                      </a:lnTo>
                      <a:lnTo>
                        <a:pt x="40" y="0"/>
                      </a:lnTo>
                      <a:lnTo>
                        <a:pt x="36" y="1"/>
                      </a:lnTo>
                      <a:lnTo>
                        <a:pt x="32" y="3"/>
                      </a:lnTo>
                      <a:lnTo>
                        <a:pt x="28" y="6"/>
                      </a:lnTo>
                      <a:lnTo>
                        <a:pt x="25" y="9"/>
                      </a:lnTo>
                      <a:lnTo>
                        <a:pt x="22" y="13"/>
                      </a:lnTo>
                      <a:lnTo>
                        <a:pt x="18" y="18"/>
                      </a:lnTo>
                      <a:lnTo>
                        <a:pt x="16" y="24"/>
                      </a:lnTo>
                      <a:lnTo>
                        <a:pt x="13" y="29"/>
                      </a:lnTo>
                      <a:lnTo>
                        <a:pt x="11" y="35"/>
                      </a:lnTo>
                      <a:lnTo>
                        <a:pt x="9" y="42"/>
                      </a:lnTo>
                      <a:lnTo>
                        <a:pt x="7" y="48"/>
                      </a:lnTo>
                      <a:lnTo>
                        <a:pt x="5" y="55"/>
                      </a:lnTo>
                      <a:lnTo>
                        <a:pt x="4" y="62"/>
                      </a:lnTo>
                      <a:lnTo>
                        <a:pt x="3" y="70"/>
                      </a:lnTo>
                      <a:lnTo>
                        <a:pt x="1" y="77"/>
                      </a:lnTo>
                      <a:lnTo>
                        <a:pt x="1" y="84"/>
                      </a:lnTo>
                      <a:lnTo>
                        <a:pt x="0" y="91"/>
                      </a:lnTo>
                      <a:lnTo>
                        <a:pt x="0" y="99"/>
                      </a:lnTo>
                      <a:lnTo>
                        <a:pt x="0" y="106"/>
                      </a:lnTo>
                      <a:lnTo>
                        <a:pt x="0" y="113"/>
                      </a:lnTo>
                      <a:lnTo>
                        <a:pt x="0" y="120"/>
                      </a:lnTo>
                      <a:lnTo>
                        <a:pt x="1" y="126"/>
                      </a:lnTo>
                      <a:lnTo>
                        <a:pt x="1" y="132"/>
                      </a:lnTo>
                      <a:lnTo>
                        <a:pt x="2" y="138"/>
                      </a:lnTo>
                      <a:lnTo>
                        <a:pt x="3" y="142"/>
                      </a:lnTo>
                      <a:lnTo>
                        <a:pt x="5" y="147"/>
                      </a:lnTo>
                      <a:lnTo>
                        <a:pt x="6" y="151"/>
                      </a:lnTo>
                      <a:lnTo>
                        <a:pt x="8" y="155"/>
                      </a:lnTo>
                      <a:lnTo>
                        <a:pt x="11" y="158"/>
                      </a:lnTo>
                      <a:lnTo>
                        <a:pt x="13" y="154"/>
                      </a:lnTo>
                      <a:lnTo>
                        <a:pt x="11" y="152"/>
                      </a:lnTo>
                      <a:lnTo>
                        <a:pt x="9" y="149"/>
                      </a:lnTo>
                      <a:lnTo>
                        <a:pt x="8" y="145"/>
                      </a:lnTo>
                      <a:lnTo>
                        <a:pt x="6" y="141"/>
                      </a:lnTo>
                      <a:lnTo>
                        <a:pt x="5" y="136"/>
                      </a:lnTo>
                      <a:lnTo>
                        <a:pt x="4" y="131"/>
                      </a:lnTo>
                      <a:lnTo>
                        <a:pt x="3" y="125"/>
                      </a:lnTo>
                      <a:lnTo>
                        <a:pt x="3" y="119"/>
                      </a:lnTo>
                      <a:lnTo>
                        <a:pt x="3" y="113"/>
                      </a:lnTo>
                      <a:lnTo>
                        <a:pt x="3" y="106"/>
                      </a:lnTo>
                      <a:lnTo>
                        <a:pt x="3" y="99"/>
                      </a:lnTo>
                      <a:lnTo>
                        <a:pt x="3" y="92"/>
                      </a:lnTo>
                      <a:lnTo>
                        <a:pt x="4" y="85"/>
                      </a:lnTo>
                      <a:lnTo>
                        <a:pt x="5" y="77"/>
                      </a:lnTo>
                      <a:lnTo>
                        <a:pt x="6" y="71"/>
                      </a:lnTo>
                      <a:lnTo>
                        <a:pt x="7" y="63"/>
                      </a:lnTo>
                      <a:lnTo>
                        <a:pt x="8" y="56"/>
                      </a:lnTo>
                      <a:lnTo>
                        <a:pt x="10" y="50"/>
                      </a:lnTo>
                      <a:lnTo>
                        <a:pt x="12" y="43"/>
                      </a:lnTo>
                      <a:lnTo>
                        <a:pt x="14" y="36"/>
                      </a:lnTo>
                      <a:lnTo>
                        <a:pt x="16" y="31"/>
                      </a:lnTo>
                      <a:lnTo>
                        <a:pt x="18" y="25"/>
                      </a:lnTo>
                      <a:lnTo>
                        <a:pt x="21" y="21"/>
                      </a:lnTo>
                      <a:lnTo>
                        <a:pt x="24" y="16"/>
                      </a:lnTo>
                      <a:lnTo>
                        <a:pt x="27" y="12"/>
                      </a:lnTo>
                      <a:lnTo>
                        <a:pt x="30" y="9"/>
                      </a:lnTo>
                      <a:lnTo>
                        <a:pt x="33" y="7"/>
                      </a:lnTo>
                      <a:lnTo>
                        <a:pt x="37" y="5"/>
                      </a:lnTo>
                      <a:lnTo>
                        <a:pt x="40" y="4"/>
                      </a:lnTo>
                      <a:lnTo>
                        <a:pt x="44" y="4"/>
                      </a:lnTo>
                      <a:lnTo>
                        <a:pt x="48" y="4"/>
                      </a:lnTo>
                      <a:lnTo>
                        <a:pt x="52" y="6"/>
                      </a:lnTo>
                      <a:lnTo>
                        <a:pt x="53" y="6"/>
                      </a:lnTo>
                      <a:lnTo>
                        <a:pt x="52" y="6"/>
                      </a:lnTo>
                      <a:lnTo>
                        <a:pt x="53" y="6"/>
                      </a:lnTo>
                      <a:lnTo>
                        <a:pt x="53" y="5"/>
                      </a:lnTo>
                      <a:lnTo>
                        <a:pt x="54" y="5"/>
                      </a:lnTo>
                      <a:lnTo>
                        <a:pt x="54" y="4"/>
                      </a:lnTo>
                      <a:lnTo>
                        <a:pt x="54" y="3"/>
                      </a:lnTo>
                      <a:lnTo>
                        <a:pt x="53" y="3"/>
                      </a:lnTo>
                      <a:lnTo>
                        <a:pt x="53" y="2"/>
                      </a:lnTo>
                      <a:lnTo>
                        <a:pt x="5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6" name="Freeform 848">
                  <a:extLst>
                    <a:ext uri="{FF2B5EF4-FFF2-40B4-BE49-F238E27FC236}">
                      <a16:creationId xmlns:a16="http://schemas.microsoft.com/office/drawing/2014/main" id="{60D2A3B1-0247-BA5E-E15E-86379DA80391}"/>
                    </a:ext>
                  </a:extLst>
                </p:cNvPr>
                <p:cNvSpPr>
                  <a:spLocks/>
                </p:cNvSpPr>
                <p:nvPr/>
              </p:nvSpPr>
              <p:spPr bwMode="auto">
                <a:xfrm>
                  <a:off x="935" y="1755"/>
                  <a:ext cx="20" cy="19"/>
                </a:xfrm>
                <a:custGeom>
                  <a:avLst/>
                  <a:gdLst>
                    <a:gd name="T0" fmla="*/ 12 w 29"/>
                    <a:gd name="T1" fmla="*/ 2 h 27"/>
                    <a:gd name="T2" fmla="*/ 12 w 29"/>
                    <a:gd name="T3" fmla="*/ 3 h 27"/>
                    <a:gd name="T4" fmla="*/ 12 w 29"/>
                    <a:gd name="T5" fmla="*/ 3 h 27"/>
                    <a:gd name="T6" fmla="*/ 12 w 29"/>
                    <a:gd name="T7" fmla="*/ 4 h 27"/>
                    <a:gd name="T8" fmla="*/ 10 w 29"/>
                    <a:gd name="T9" fmla="*/ 4 h 27"/>
                    <a:gd name="T10" fmla="*/ 10 w 29"/>
                    <a:gd name="T11" fmla="*/ 6 h 27"/>
                    <a:gd name="T12" fmla="*/ 9 w 29"/>
                    <a:gd name="T13" fmla="*/ 6 h 27"/>
                    <a:gd name="T14" fmla="*/ 8 w 29"/>
                    <a:gd name="T15" fmla="*/ 8 h 27"/>
                    <a:gd name="T16" fmla="*/ 6 w 29"/>
                    <a:gd name="T17" fmla="*/ 8 h 27"/>
                    <a:gd name="T18" fmla="*/ 6 w 29"/>
                    <a:gd name="T19" fmla="*/ 9 h 27"/>
                    <a:gd name="T20" fmla="*/ 4 w 29"/>
                    <a:gd name="T21" fmla="*/ 10 h 27"/>
                    <a:gd name="T22" fmla="*/ 3 w 29"/>
                    <a:gd name="T23" fmla="*/ 11 h 27"/>
                    <a:gd name="T24" fmla="*/ 2 w 29"/>
                    <a:gd name="T25" fmla="*/ 11 h 27"/>
                    <a:gd name="T26" fmla="*/ 1 w 29"/>
                    <a:gd name="T27" fmla="*/ 11 h 27"/>
                    <a:gd name="T28" fmla="*/ 1 w 29"/>
                    <a:gd name="T29" fmla="*/ 11 h 27"/>
                    <a:gd name="T30" fmla="*/ 0 w 29"/>
                    <a:gd name="T31" fmla="*/ 12 h 27"/>
                    <a:gd name="T32" fmla="*/ 1 w 29"/>
                    <a:gd name="T33" fmla="*/ 13 h 27"/>
                    <a:gd name="T34" fmla="*/ 1 w 29"/>
                    <a:gd name="T35" fmla="*/ 13 h 27"/>
                    <a:gd name="T36" fmla="*/ 2 w 29"/>
                    <a:gd name="T37" fmla="*/ 13 h 27"/>
                    <a:gd name="T38" fmla="*/ 3 w 29"/>
                    <a:gd name="T39" fmla="*/ 13 h 27"/>
                    <a:gd name="T40" fmla="*/ 4 w 29"/>
                    <a:gd name="T41" fmla="*/ 12 h 27"/>
                    <a:gd name="T42" fmla="*/ 6 w 29"/>
                    <a:gd name="T43" fmla="*/ 11 h 27"/>
                    <a:gd name="T44" fmla="*/ 6 w 29"/>
                    <a:gd name="T45" fmla="*/ 11 h 27"/>
                    <a:gd name="T46" fmla="*/ 8 w 29"/>
                    <a:gd name="T47" fmla="*/ 9 h 27"/>
                    <a:gd name="T48" fmla="*/ 9 w 29"/>
                    <a:gd name="T49" fmla="*/ 9 h 27"/>
                    <a:gd name="T50" fmla="*/ 10 w 29"/>
                    <a:gd name="T51" fmla="*/ 8 h 27"/>
                    <a:gd name="T52" fmla="*/ 12 w 29"/>
                    <a:gd name="T53" fmla="*/ 6 h 27"/>
                    <a:gd name="T54" fmla="*/ 12 w 29"/>
                    <a:gd name="T55" fmla="*/ 6 h 27"/>
                    <a:gd name="T56" fmla="*/ 13 w 29"/>
                    <a:gd name="T57" fmla="*/ 4 h 27"/>
                    <a:gd name="T58" fmla="*/ 14 w 29"/>
                    <a:gd name="T59" fmla="*/ 4 h 27"/>
                    <a:gd name="T60" fmla="*/ 14 w 29"/>
                    <a:gd name="T61" fmla="*/ 2 h 27"/>
                    <a:gd name="T62" fmla="*/ 14 w 29"/>
                    <a:gd name="T63" fmla="*/ 1 h 27"/>
                    <a:gd name="T64" fmla="*/ 13 w 29"/>
                    <a:gd name="T65" fmla="*/ 0 h 27"/>
                    <a:gd name="T66" fmla="*/ 13 w 29"/>
                    <a:gd name="T67" fmla="*/ 0 h 27"/>
                    <a:gd name="T68" fmla="*/ 13 w 29"/>
                    <a:gd name="T69" fmla="*/ 0 h 27"/>
                    <a:gd name="T70" fmla="*/ 12 w 29"/>
                    <a:gd name="T71" fmla="*/ 0 h 27"/>
                    <a:gd name="T72" fmla="*/ 12 w 29"/>
                    <a:gd name="T73" fmla="*/ 1 h 27"/>
                    <a:gd name="T74" fmla="*/ 12 w 29"/>
                    <a:gd name="T75" fmla="*/ 1 h 27"/>
                    <a:gd name="T76" fmla="*/ 12 w 29"/>
                    <a:gd name="T77" fmla="*/ 1 h 27"/>
                    <a:gd name="T78" fmla="*/ 12 w 29"/>
                    <a:gd name="T79" fmla="*/ 1 h 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 h="27">
                      <a:moveTo>
                        <a:pt x="26" y="3"/>
                      </a:moveTo>
                      <a:lnTo>
                        <a:pt x="26" y="4"/>
                      </a:lnTo>
                      <a:lnTo>
                        <a:pt x="26" y="5"/>
                      </a:lnTo>
                      <a:lnTo>
                        <a:pt x="25" y="6"/>
                      </a:lnTo>
                      <a:lnTo>
                        <a:pt x="25" y="7"/>
                      </a:lnTo>
                      <a:lnTo>
                        <a:pt x="24" y="7"/>
                      </a:lnTo>
                      <a:lnTo>
                        <a:pt x="24" y="8"/>
                      </a:lnTo>
                      <a:lnTo>
                        <a:pt x="22" y="9"/>
                      </a:lnTo>
                      <a:lnTo>
                        <a:pt x="22" y="10"/>
                      </a:lnTo>
                      <a:lnTo>
                        <a:pt x="21" y="11"/>
                      </a:lnTo>
                      <a:lnTo>
                        <a:pt x="19" y="12"/>
                      </a:lnTo>
                      <a:lnTo>
                        <a:pt x="19" y="13"/>
                      </a:lnTo>
                      <a:lnTo>
                        <a:pt x="17" y="14"/>
                      </a:lnTo>
                      <a:lnTo>
                        <a:pt x="16" y="15"/>
                      </a:lnTo>
                      <a:lnTo>
                        <a:pt x="14" y="15"/>
                      </a:lnTo>
                      <a:lnTo>
                        <a:pt x="13" y="16"/>
                      </a:lnTo>
                      <a:lnTo>
                        <a:pt x="12" y="17"/>
                      </a:lnTo>
                      <a:lnTo>
                        <a:pt x="11" y="18"/>
                      </a:lnTo>
                      <a:lnTo>
                        <a:pt x="9" y="19"/>
                      </a:lnTo>
                      <a:lnTo>
                        <a:pt x="8" y="20"/>
                      </a:lnTo>
                      <a:lnTo>
                        <a:pt x="7" y="20"/>
                      </a:lnTo>
                      <a:lnTo>
                        <a:pt x="6" y="21"/>
                      </a:lnTo>
                      <a:lnTo>
                        <a:pt x="5" y="21"/>
                      </a:lnTo>
                      <a:lnTo>
                        <a:pt x="4" y="22"/>
                      </a:lnTo>
                      <a:lnTo>
                        <a:pt x="3" y="22"/>
                      </a:lnTo>
                      <a:lnTo>
                        <a:pt x="2" y="23"/>
                      </a:lnTo>
                      <a:lnTo>
                        <a:pt x="1" y="23"/>
                      </a:lnTo>
                      <a:lnTo>
                        <a:pt x="0" y="24"/>
                      </a:lnTo>
                      <a:lnTo>
                        <a:pt x="1" y="27"/>
                      </a:lnTo>
                      <a:lnTo>
                        <a:pt x="2" y="27"/>
                      </a:lnTo>
                      <a:lnTo>
                        <a:pt x="3" y="26"/>
                      </a:lnTo>
                      <a:lnTo>
                        <a:pt x="4" y="26"/>
                      </a:lnTo>
                      <a:lnTo>
                        <a:pt x="5" y="26"/>
                      </a:lnTo>
                      <a:lnTo>
                        <a:pt x="6" y="25"/>
                      </a:lnTo>
                      <a:lnTo>
                        <a:pt x="7" y="24"/>
                      </a:lnTo>
                      <a:lnTo>
                        <a:pt x="8" y="24"/>
                      </a:lnTo>
                      <a:lnTo>
                        <a:pt x="9" y="23"/>
                      </a:lnTo>
                      <a:lnTo>
                        <a:pt x="11" y="22"/>
                      </a:lnTo>
                      <a:lnTo>
                        <a:pt x="12" y="22"/>
                      </a:lnTo>
                      <a:lnTo>
                        <a:pt x="13" y="21"/>
                      </a:lnTo>
                      <a:lnTo>
                        <a:pt x="14" y="20"/>
                      </a:lnTo>
                      <a:lnTo>
                        <a:pt x="16" y="19"/>
                      </a:lnTo>
                      <a:lnTo>
                        <a:pt x="17" y="18"/>
                      </a:lnTo>
                      <a:lnTo>
                        <a:pt x="19" y="18"/>
                      </a:lnTo>
                      <a:lnTo>
                        <a:pt x="20" y="16"/>
                      </a:lnTo>
                      <a:lnTo>
                        <a:pt x="21" y="15"/>
                      </a:lnTo>
                      <a:lnTo>
                        <a:pt x="22" y="14"/>
                      </a:lnTo>
                      <a:lnTo>
                        <a:pt x="24" y="13"/>
                      </a:lnTo>
                      <a:lnTo>
                        <a:pt x="24" y="12"/>
                      </a:lnTo>
                      <a:lnTo>
                        <a:pt x="25" y="12"/>
                      </a:lnTo>
                      <a:lnTo>
                        <a:pt x="26" y="10"/>
                      </a:lnTo>
                      <a:lnTo>
                        <a:pt x="27" y="9"/>
                      </a:lnTo>
                      <a:lnTo>
                        <a:pt x="28" y="8"/>
                      </a:lnTo>
                      <a:lnTo>
                        <a:pt x="29" y="7"/>
                      </a:lnTo>
                      <a:lnTo>
                        <a:pt x="29" y="6"/>
                      </a:lnTo>
                      <a:lnTo>
                        <a:pt x="29" y="4"/>
                      </a:lnTo>
                      <a:lnTo>
                        <a:pt x="29" y="3"/>
                      </a:lnTo>
                      <a:lnTo>
                        <a:pt x="29" y="2"/>
                      </a:lnTo>
                      <a:lnTo>
                        <a:pt x="28" y="0"/>
                      </a:lnTo>
                      <a:lnTo>
                        <a:pt x="27" y="0"/>
                      </a:lnTo>
                      <a:lnTo>
                        <a:pt x="26" y="0"/>
                      </a:lnTo>
                      <a:lnTo>
                        <a:pt x="26" y="2"/>
                      </a:lnTo>
                      <a:lnTo>
                        <a:pt x="25" y="2"/>
                      </a:lnTo>
                      <a:lnTo>
                        <a:pt x="26" y="2"/>
                      </a:lnTo>
                      <a:lnTo>
                        <a:pt x="2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7" name="Freeform 849">
                  <a:extLst>
                    <a:ext uri="{FF2B5EF4-FFF2-40B4-BE49-F238E27FC236}">
                      <a16:creationId xmlns:a16="http://schemas.microsoft.com/office/drawing/2014/main" id="{B7024E2F-C303-903A-EB32-9DE902D30694}"/>
                    </a:ext>
                  </a:extLst>
                </p:cNvPr>
                <p:cNvSpPr>
                  <a:spLocks/>
                </p:cNvSpPr>
                <p:nvPr/>
              </p:nvSpPr>
              <p:spPr bwMode="auto">
                <a:xfrm>
                  <a:off x="927" y="1704"/>
                  <a:ext cx="28" cy="53"/>
                </a:xfrm>
                <a:custGeom>
                  <a:avLst/>
                  <a:gdLst>
                    <a:gd name="T0" fmla="*/ 1 w 39"/>
                    <a:gd name="T1" fmla="*/ 1 h 74"/>
                    <a:gd name="T2" fmla="*/ 1 w 39"/>
                    <a:gd name="T3" fmla="*/ 4 h 74"/>
                    <a:gd name="T4" fmla="*/ 3 w 39"/>
                    <a:gd name="T5" fmla="*/ 5 h 74"/>
                    <a:gd name="T6" fmla="*/ 4 w 39"/>
                    <a:gd name="T7" fmla="*/ 7 h 74"/>
                    <a:gd name="T8" fmla="*/ 6 w 39"/>
                    <a:gd name="T9" fmla="*/ 9 h 74"/>
                    <a:gd name="T10" fmla="*/ 6 w 39"/>
                    <a:gd name="T11" fmla="*/ 11 h 74"/>
                    <a:gd name="T12" fmla="*/ 8 w 39"/>
                    <a:gd name="T13" fmla="*/ 14 h 74"/>
                    <a:gd name="T14" fmla="*/ 9 w 39"/>
                    <a:gd name="T15" fmla="*/ 15 h 74"/>
                    <a:gd name="T16" fmla="*/ 10 w 39"/>
                    <a:gd name="T17" fmla="*/ 18 h 74"/>
                    <a:gd name="T18" fmla="*/ 11 w 39"/>
                    <a:gd name="T19" fmla="*/ 20 h 74"/>
                    <a:gd name="T20" fmla="*/ 12 w 39"/>
                    <a:gd name="T21" fmla="*/ 22 h 74"/>
                    <a:gd name="T22" fmla="*/ 13 w 39"/>
                    <a:gd name="T23" fmla="*/ 25 h 74"/>
                    <a:gd name="T24" fmla="*/ 14 w 39"/>
                    <a:gd name="T25" fmla="*/ 27 h 74"/>
                    <a:gd name="T26" fmla="*/ 16 w 39"/>
                    <a:gd name="T27" fmla="*/ 30 h 74"/>
                    <a:gd name="T28" fmla="*/ 17 w 39"/>
                    <a:gd name="T29" fmla="*/ 33 h 74"/>
                    <a:gd name="T30" fmla="*/ 17 w 39"/>
                    <a:gd name="T31" fmla="*/ 35 h 74"/>
                    <a:gd name="T32" fmla="*/ 19 w 39"/>
                    <a:gd name="T33" fmla="*/ 38 h 74"/>
                    <a:gd name="T34" fmla="*/ 19 w 39"/>
                    <a:gd name="T35" fmla="*/ 35 h 74"/>
                    <a:gd name="T36" fmla="*/ 19 w 39"/>
                    <a:gd name="T37" fmla="*/ 33 h 74"/>
                    <a:gd name="T38" fmla="*/ 17 w 39"/>
                    <a:gd name="T39" fmla="*/ 30 h 74"/>
                    <a:gd name="T40" fmla="*/ 17 w 39"/>
                    <a:gd name="T41" fmla="*/ 28 h 74"/>
                    <a:gd name="T42" fmla="*/ 15 w 39"/>
                    <a:gd name="T43" fmla="*/ 25 h 74"/>
                    <a:gd name="T44" fmla="*/ 14 w 39"/>
                    <a:gd name="T45" fmla="*/ 23 h 74"/>
                    <a:gd name="T46" fmla="*/ 13 w 39"/>
                    <a:gd name="T47" fmla="*/ 20 h 74"/>
                    <a:gd name="T48" fmla="*/ 12 w 39"/>
                    <a:gd name="T49" fmla="*/ 18 h 74"/>
                    <a:gd name="T50" fmla="*/ 11 w 39"/>
                    <a:gd name="T51" fmla="*/ 15 h 74"/>
                    <a:gd name="T52" fmla="*/ 10 w 39"/>
                    <a:gd name="T53" fmla="*/ 13 h 74"/>
                    <a:gd name="T54" fmla="*/ 9 w 39"/>
                    <a:gd name="T55" fmla="*/ 11 h 74"/>
                    <a:gd name="T56" fmla="*/ 7 w 39"/>
                    <a:gd name="T57" fmla="*/ 9 h 74"/>
                    <a:gd name="T58" fmla="*/ 6 w 39"/>
                    <a:gd name="T59" fmla="*/ 7 h 74"/>
                    <a:gd name="T60" fmla="*/ 4 w 39"/>
                    <a:gd name="T61" fmla="*/ 5 h 74"/>
                    <a:gd name="T62" fmla="*/ 4 w 39"/>
                    <a:gd name="T63" fmla="*/ 3 h 74"/>
                    <a:gd name="T64" fmla="*/ 2 w 39"/>
                    <a:gd name="T65" fmla="*/ 1 h 74"/>
                    <a:gd name="T66" fmla="*/ 0 w 39"/>
                    <a:gd name="T67" fmla="*/ 1 h 74"/>
                    <a:gd name="T68" fmla="*/ 1 w 39"/>
                    <a:gd name="T69" fmla="*/ 0 h 74"/>
                    <a:gd name="T70" fmla="*/ 1 w 39"/>
                    <a:gd name="T71" fmla="*/ 0 h 74"/>
                    <a:gd name="T72" fmla="*/ 1 w 39"/>
                    <a:gd name="T73" fmla="*/ 0 h 74"/>
                    <a:gd name="T74" fmla="*/ 1 w 39"/>
                    <a:gd name="T75" fmla="*/ 0 h 74"/>
                    <a:gd name="T76" fmla="*/ 0 w 39"/>
                    <a:gd name="T77" fmla="*/ 1 h 74"/>
                    <a:gd name="T78" fmla="*/ 0 w 39"/>
                    <a:gd name="T79" fmla="*/ 1 h 74"/>
                    <a:gd name="T80" fmla="*/ 0 w 39"/>
                    <a:gd name="T81" fmla="*/ 1 h 74"/>
                    <a:gd name="T82" fmla="*/ 1 w 39"/>
                    <a:gd name="T83" fmla="*/ 1 h 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9" h="74">
                      <a:moveTo>
                        <a:pt x="3" y="2"/>
                      </a:moveTo>
                      <a:lnTo>
                        <a:pt x="1" y="3"/>
                      </a:lnTo>
                      <a:lnTo>
                        <a:pt x="2" y="5"/>
                      </a:lnTo>
                      <a:lnTo>
                        <a:pt x="3" y="7"/>
                      </a:lnTo>
                      <a:lnTo>
                        <a:pt x="4" y="8"/>
                      </a:lnTo>
                      <a:lnTo>
                        <a:pt x="6" y="10"/>
                      </a:lnTo>
                      <a:lnTo>
                        <a:pt x="7" y="12"/>
                      </a:lnTo>
                      <a:lnTo>
                        <a:pt x="8" y="14"/>
                      </a:lnTo>
                      <a:lnTo>
                        <a:pt x="9" y="16"/>
                      </a:lnTo>
                      <a:lnTo>
                        <a:pt x="11" y="18"/>
                      </a:lnTo>
                      <a:lnTo>
                        <a:pt x="12" y="20"/>
                      </a:lnTo>
                      <a:lnTo>
                        <a:pt x="12" y="22"/>
                      </a:lnTo>
                      <a:lnTo>
                        <a:pt x="14" y="24"/>
                      </a:lnTo>
                      <a:lnTo>
                        <a:pt x="15" y="26"/>
                      </a:lnTo>
                      <a:lnTo>
                        <a:pt x="16" y="28"/>
                      </a:lnTo>
                      <a:lnTo>
                        <a:pt x="17" y="30"/>
                      </a:lnTo>
                      <a:lnTo>
                        <a:pt x="18" y="32"/>
                      </a:lnTo>
                      <a:lnTo>
                        <a:pt x="19" y="35"/>
                      </a:lnTo>
                      <a:lnTo>
                        <a:pt x="20" y="37"/>
                      </a:lnTo>
                      <a:lnTo>
                        <a:pt x="21" y="39"/>
                      </a:lnTo>
                      <a:lnTo>
                        <a:pt x="22" y="41"/>
                      </a:lnTo>
                      <a:lnTo>
                        <a:pt x="24" y="43"/>
                      </a:lnTo>
                      <a:lnTo>
                        <a:pt x="24" y="46"/>
                      </a:lnTo>
                      <a:lnTo>
                        <a:pt x="25" y="49"/>
                      </a:lnTo>
                      <a:lnTo>
                        <a:pt x="27" y="51"/>
                      </a:lnTo>
                      <a:lnTo>
                        <a:pt x="28" y="53"/>
                      </a:lnTo>
                      <a:lnTo>
                        <a:pt x="29" y="56"/>
                      </a:lnTo>
                      <a:lnTo>
                        <a:pt x="30" y="58"/>
                      </a:lnTo>
                      <a:lnTo>
                        <a:pt x="31" y="61"/>
                      </a:lnTo>
                      <a:lnTo>
                        <a:pt x="32" y="64"/>
                      </a:lnTo>
                      <a:lnTo>
                        <a:pt x="33" y="66"/>
                      </a:lnTo>
                      <a:lnTo>
                        <a:pt x="34" y="69"/>
                      </a:lnTo>
                      <a:lnTo>
                        <a:pt x="36" y="72"/>
                      </a:lnTo>
                      <a:lnTo>
                        <a:pt x="36" y="74"/>
                      </a:lnTo>
                      <a:lnTo>
                        <a:pt x="39" y="73"/>
                      </a:lnTo>
                      <a:lnTo>
                        <a:pt x="38" y="69"/>
                      </a:lnTo>
                      <a:lnTo>
                        <a:pt x="37" y="67"/>
                      </a:lnTo>
                      <a:lnTo>
                        <a:pt x="36" y="64"/>
                      </a:lnTo>
                      <a:lnTo>
                        <a:pt x="35" y="61"/>
                      </a:lnTo>
                      <a:lnTo>
                        <a:pt x="34" y="59"/>
                      </a:lnTo>
                      <a:lnTo>
                        <a:pt x="33" y="56"/>
                      </a:lnTo>
                      <a:lnTo>
                        <a:pt x="32" y="54"/>
                      </a:lnTo>
                      <a:lnTo>
                        <a:pt x="31" y="51"/>
                      </a:lnTo>
                      <a:lnTo>
                        <a:pt x="29" y="49"/>
                      </a:lnTo>
                      <a:lnTo>
                        <a:pt x="28" y="47"/>
                      </a:lnTo>
                      <a:lnTo>
                        <a:pt x="27" y="44"/>
                      </a:lnTo>
                      <a:lnTo>
                        <a:pt x="26" y="41"/>
                      </a:lnTo>
                      <a:lnTo>
                        <a:pt x="25" y="39"/>
                      </a:lnTo>
                      <a:lnTo>
                        <a:pt x="24" y="37"/>
                      </a:lnTo>
                      <a:lnTo>
                        <a:pt x="23" y="35"/>
                      </a:lnTo>
                      <a:lnTo>
                        <a:pt x="22" y="32"/>
                      </a:lnTo>
                      <a:lnTo>
                        <a:pt x="21" y="30"/>
                      </a:lnTo>
                      <a:lnTo>
                        <a:pt x="20" y="28"/>
                      </a:lnTo>
                      <a:lnTo>
                        <a:pt x="19" y="25"/>
                      </a:lnTo>
                      <a:lnTo>
                        <a:pt x="17" y="24"/>
                      </a:lnTo>
                      <a:lnTo>
                        <a:pt x="17" y="22"/>
                      </a:lnTo>
                      <a:lnTo>
                        <a:pt x="15" y="20"/>
                      </a:lnTo>
                      <a:lnTo>
                        <a:pt x="14" y="17"/>
                      </a:lnTo>
                      <a:lnTo>
                        <a:pt x="13" y="15"/>
                      </a:lnTo>
                      <a:lnTo>
                        <a:pt x="12" y="14"/>
                      </a:lnTo>
                      <a:lnTo>
                        <a:pt x="11" y="12"/>
                      </a:lnTo>
                      <a:lnTo>
                        <a:pt x="9" y="10"/>
                      </a:lnTo>
                      <a:lnTo>
                        <a:pt x="8" y="8"/>
                      </a:lnTo>
                      <a:lnTo>
                        <a:pt x="7" y="6"/>
                      </a:lnTo>
                      <a:lnTo>
                        <a:pt x="5" y="4"/>
                      </a:lnTo>
                      <a:lnTo>
                        <a:pt x="4" y="2"/>
                      </a:lnTo>
                      <a:lnTo>
                        <a:pt x="2" y="0"/>
                      </a:lnTo>
                      <a:lnTo>
                        <a:pt x="0" y="2"/>
                      </a:lnTo>
                      <a:lnTo>
                        <a:pt x="2" y="0"/>
                      </a:lnTo>
                      <a:lnTo>
                        <a:pt x="1" y="0"/>
                      </a:lnTo>
                      <a:lnTo>
                        <a:pt x="0" y="1"/>
                      </a:lnTo>
                      <a:lnTo>
                        <a:pt x="0" y="2"/>
                      </a:lnTo>
                      <a:lnTo>
                        <a:pt x="0" y="3"/>
                      </a:lnTo>
                      <a:lnTo>
                        <a:pt x="1" y="3"/>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8" name="Freeform 850">
                  <a:extLst>
                    <a:ext uri="{FF2B5EF4-FFF2-40B4-BE49-F238E27FC236}">
                      <a16:creationId xmlns:a16="http://schemas.microsoft.com/office/drawing/2014/main" id="{6230398E-73AE-8AB6-C8C2-65F2180D8ACD}"/>
                    </a:ext>
                  </a:extLst>
                </p:cNvPr>
                <p:cNvSpPr>
                  <a:spLocks/>
                </p:cNvSpPr>
                <p:nvPr/>
              </p:nvSpPr>
              <p:spPr bwMode="auto">
                <a:xfrm>
                  <a:off x="908" y="1705"/>
                  <a:ext cx="22" cy="29"/>
                </a:xfrm>
                <a:custGeom>
                  <a:avLst/>
                  <a:gdLst>
                    <a:gd name="T0" fmla="*/ 0 w 31"/>
                    <a:gd name="T1" fmla="*/ 6 h 41"/>
                    <a:gd name="T2" fmla="*/ 0 w 31"/>
                    <a:gd name="T3" fmla="*/ 8 h 41"/>
                    <a:gd name="T4" fmla="*/ 1 w 31"/>
                    <a:gd name="T5" fmla="*/ 11 h 41"/>
                    <a:gd name="T6" fmla="*/ 1 w 31"/>
                    <a:gd name="T7" fmla="*/ 13 h 41"/>
                    <a:gd name="T8" fmla="*/ 3 w 31"/>
                    <a:gd name="T9" fmla="*/ 16 h 41"/>
                    <a:gd name="T10" fmla="*/ 4 w 31"/>
                    <a:gd name="T11" fmla="*/ 18 h 41"/>
                    <a:gd name="T12" fmla="*/ 5 w 31"/>
                    <a:gd name="T13" fmla="*/ 19 h 41"/>
                    <a:gd name="T14" fmla="*/ 6 w 31"/>
                    <a:gd name="T15" fmla="*/ 21 h 41"/>
                    <a:gd name="T16" fmla="*/ 8 w 31"/>
                    <a:gd name="T17" fmla="*/ 21 h 41"/>
                    <a:gd name="T18" fmla="*/ 9 w 31"/>
                    <a:gd name="T19" fmla="*/ 21 h 41"/>
                    <a:gd name="T20" fmla="*/ 11 w 31"/>
                    <a:gd name="T21" fmla="*/ 20 h 41"/>
                    <a:gd name="T22" fmla="*/ 12 w 31"/>
                    <a:gd name="T23" fmla="*/ 18 h 41"/>
                    <a:gd name="T24" fmla="*/ 13 w 31"/>
                    <a:gd name="T25" fmla="*/ 16 h 41"/>
                    <a:gd name="T26" fmla="*/ 14 w 31"/>
                    <a:gd name="T27" fmla="*/ 13 h 41"/>
                    <a:gd name="T28" fmla="*/ 15 w 31"/>
                    <a:gd name="T29" fmla="*/ 9 h 41"/>
                    <a:gd name="T30" fmla="*/ 15 w 31"/>
                    <a:gd name="T31" fmla="*/ 6 h 41"/>
                    <a:gd name="T32" fmla="*/ 16 w 31"/>
                    <a:gd name="T33" fmla="*/ 1 h 41"/>
                    <a:gd name="T34" fmla="*/ 14 w 31"/>
                    <a:gd name="T35" fmla="*/ 3 h 41"/>
                    <a:gd name="T36" fmla="*/ 13 w 31"/>
                    <a:gd name="T37" fmla="*/ 8 h 41"/>
                    <a:gd name="T38" fmla="*/ 13 w 31"/>
                    <a:gd name="T39" fmla="*/ 11 h 41"/>
                    <a:gd name="T40" fmla="*/ 12 w 31"/>
                    <a:gd name="T41" fmla="*/ 14 h 41"/>
                    <a:gd name="T42" fmla="*/ 11 w 31"/>
                    <a:gd name="T43" fmla="*/ 16 h 41"/>
                    <a:gd name="T44" fmla="*/ 10 w 31"/>
                    <a:gd name="T45" fmla="*/ 18 h 41"/>
                    <a:gd name="T46" fmla="*/ 9 w 31"/>
                    <a:gd name="T47" fmla="*/ 18 h 41"/>
                    <a:gd name="T48" fmla="*/ 9 w 31"/>
                    <a:gd name="T49" fmla="*/ 18 h 41"/>
                    <a:gd name="T50" fmla="*/ 8 w 31"/>
                    <a:gd name="T51" fmla="*/ 18 h 41"/>
                    <a:gd name="T52" fmla="*/ 6 w 31"/>
                    <a:gd name="T53" fmla="*/ 18 h 41"/>
                    <a:gd name="T54" fmla="*/ 5 w 31"/>
                    <a:gd name="T55" fmla="*/ 17 h 41"/>
                    <a:gd name="T56" fmla="*/ 4 w 31"/>
                    <a:gd name="T57" fmla="*/ 16 h 41"/>
                    <a:gd name="T58" fmla="*/ 4 w 31"/>
                    <a:gd name="T59" fmla="*/ 14 h 41"/>
                    <a:gd name="T60" fmla="*/ 3 w 31"/>
                    <a:gd name="T61" fmla="*/ 11 h 41"/>
                    <a:gd name="T62" fmla="*/ 2 w 31"/>
                    <a:gd name="T63" fmla="*/ 9 h 41"/>
                    <a:gd name="T64" fmla="*/ 2 w 31"/>
                    <a:gd name="T65" fmla="*/ 7 h 41"/>
                    <a:gd name="T66" fmla="*/ 1 w 31"/>
                    <a:gd name="T67" fmla="*/ 4 h 41"/>
                    <a:gd name="T68" fmla="*/ 1 w 31"/>
                    <a:gd name="T69" fmla="*/ 6 h 41"/>
                    <a:gd name="T70" fmla="*/ 1 w 31"/>
                    <a:gd name="T71" fmla="*/ 5 h 41"/>
                    <a:gd name="T72" fmla="*/ 1 w 31"/>
                    <a:gd name="T73" fmla="*/ 4 h 41"/>
                    <a:gd name="T74" fmla="*/ 1 w 31"/>
                    <a:gd name="T75" fmla="*/ 4 h 41"/>
                    <a:gd name="T76" fmla="*/ 1 w 31"/>
                    <a:gd name="T77" fmla="*/ 4 h 41"/>
                    <a:gd name="T78" fmla="*/ 0 w 31"/>
                    <a:gd name="T79" fmla="*/ 5 h 41"/>
                    <a:gd name="T80" fmla="*/ 0 w 31"/>
                    <a:gd name="T81" fmla="*/ 6 h 41"/>
                    <a:gd name="T82" fmla="*/ 1 w 31"/>
                    <a:gd name="T83" fmla="*/ 6 h 4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1" h="41">
                      <a:moveTo>
                        <a:pt x="2" y="13"/>
                      </a:moveTo>
                      <a:lnTo>
                        <a:pt x="0" y="11"/>
                      </a:lnTo>
                      <a:lnTo>
                        <a:pt x="0" y="14"/>
                      </a:lnTo>
                      <a:lnTo>
                        <a:pt x="0" y="17"/>
                      </a:lnTo>
                      <a:lnTo>
                        <a:pt x="1" y="20"/>
                      </a:lnTo>
                      <a:lnTo>
                        <a:pt x="2" y="23"/>
                      </a:lnTo>
                      <a:lnTo>
                        <a:pt x="2" y="25"/>
                      </a:lnTo>
                      <a:lnTo>
                        <a:pt x="3" y="27"/>
                      </a:lnTo>
                      <a:lnTo>
                        <a:pt x="4" y="29"/>
                      </a:lnTo>
                      <a:lnTo>
                        <a:pt x="5" y="32"/>
                      </a:lnTo>
                      <a:lnTo>
                        <a:pt x="6" y="33"/>
                      </a:lnTo>
                      <a:lnTo>
                        <a:pt x="7" y="35"/>
                      </a:lnTo>
                      <a:lnTo>
                        <a:pt x="9" y="37"/>
                      </a:lnTo>
                      <a:lnTo>
                        <a:pt x="10" y="38"/>
                      </a:lnTo>
                      <a:lnTo>
                        <a:pt x="11" y="40"/>
                      </a:lnTo>
                      <a:lnTo>
                        <a:pt x="13" y="41"/>
                      </a:lnTo>
                      <a:lnTo>
                        <a:pt x="14" y="41"/>
                      </a:lnTo>
                      <a:lnTo>
                        <a:pt x="15" y="41"/>
                      </a:lnTo>
                      <a:lnTo>
                        <a:pt x="17" y="41"/>
                      </a:lnTo>
                      <a:lnTo>
                        <a:pt x="18" y="41"/>
                      </a:lnTo>
                      <a:lnTo>
                        <a:pt x="20" y="41"/>
                      </a:lnTo>
                      <a:lnTo>
                        <a:pt x="21" y="40"/>
                      </a:lnTo>
                      <a:lnTo>
                        <a:pt x="22" y="38"/>
                      </a:lnTo>
                      <a:lnTo>
                        <a:pt x="24" y="36"/>
                      </a:lnTo>
                      <a:lnTo>
                        <a:pt x="25" y="34"/>
                      </a:lnTo>
                      <a:lnTo>
                        <a:pt x="26" y="32"/>
                      </a:lnTo>
                      <a:lnTo>
                        <a:pt x="27" y="29"/>
                      </a:lnTo>
                      <a:lnTo>
                        <a:pt x="28" y="27"/>
                      </a:lnTo>
                      <a:lnTo>
                        <a:pt x="29" y="23"/>
                      </a:lnTo>
                      <a:lnTo>
                        <a:pt x="29" y="19"/>
                      </a:lnTo>
                      <a:lnTo>
                        <a:pt x="30" y="15"/>
                      </a:lnTo>
                      <a:lnTo>
                        <a:pt x="30" y="11"/>
                      </a:lnTo>
                      <a:lnTo>
                        <a:pt x="31" y="6"/>
                      </a:lnTo>
                      <a:lnTo>
                        <a:pt x="31" y="1"/>
                      </a:lnTo>
                      <a:lnTo>
                        <a:pt x="28" y="0"/>
                      </a:lnTo>
                      <a:lnTo>
                        <a:pt x="28" y="6"/>
                      </a:lnTo>
                      <a:lnTo>
                        <a:pt x="27" y="11"/>
                      </a:lnTo>
                      <a:lnTo>
                        <a:pt x="27" y="15"/>
                      </a:lnTo>
                      <a:lnTo>
                        <a:pt x="26" y="19"/>
                      </a:lnTo>
                      <a:lnTo>
                        <a:pt x="25" y="22"/>
                      </a:lnTo>
                      <a:lnTo>
                        <a:pt x="25" y="25"/>
                      </a:lnTo>
                      <a:lnTo>
                        <a:pt x="24" y="28"/>
                      </a:lnTo>
                      <a:lnTo>
                        <a:pt x="24" y="30"/>
                      </a:lnTo>
                      <a:lnTo>
                        <a:pt x="22" y="32"/>
                      </a:lnTo>
                      <a:lnTo>
                        <a:pt x="21" y="34"/>
                      </a:lnTo>
                      <a:lnTo>
                        <a:pt x="20" y="35"/>
                      </a:lnTo>
                      <a:lnTo>
                        <a:pt x="20" y="36"/>
                      </a:lnTo>
                      <a:lnTo>
                        <a:pt x="19" y="37"/>
                      </a:lnTo>
                      <a:lnTo>
                        <a:pt x="18" y="37"/>
                      </a:lnTo>
                      <a:lnTo>
                        <a:pt x="17" y="37"/>
                      </a:lnTo>
                      <a:lnTo>
                        <a:pt x="15" y="37"/>
                      </a:lnTo>
                      <a:lnTo>
                        <a:pt x="14" y="37"/>
                      </a:lnTo>
                      <a:lnTo>
                        <a:pt x="13" y="36"/>
                      </a:lnTo>
                      <a:lnTo>
                        <a:pt x="12" y="35"/>
                      </a:lnTo>
                      <a:lnTo>
                        <a:pt x="10" y="34"/>
                      </a:lnTo>
                      <a:lnTo>
                        <a:pt x="10" y="33"/>
                      </a:lnTo>
                      <a:lnTo>
                        <a:pt x="9" y="31"/>
                      </a:lnTo>
                      <a:lnTo>
                        <a:pt x="8" y="29"/>
                      </a:lnTo>
                      <a:lnTo>
                        <a:pt x="7" y="28"/>
                      </a:lnTo>
                      <a:lnTo>
                        <a:pt x="6" y="26"/>
                      </a:lnTo>
                      <a:lnTo>
                        <a:pt x="5" y="23"/>
                      </a:lnTo>
                      <a:lnTo>
                        <a:pt x="5" y="21"/>
                      </a:lnTo>
                      <a:lnTo>
                        <a:pt x="4" y="19"/>
                      </a:lnTo>
                      <a:lnTo>
                        <a:pt x="4" y="17"/>
                      </a:lnTo>
                      <a:lnTo>
                        <a:pt x="4" y="14"/>
                      </a:lnTo>
                      <a:lnTo>
                        <a:pt x="4" y="11"/>
                      </a:lnTo>
                      <a:lnTo>
                        <a:pt x="1" y="9"/>
                      </a:lnTo>
                      <a:lnTo>
                        <a:pt x="3" y="11"/>
                      </a:lnTo>
                      <a:lnTo>
                        <a:pt x="3" y="10"/>
                      </a:lnTo>
                      <a:lnTo>
                        <a:pt x="2" y="9"/>
                      </a:lnTo>
                      <a:lnTo>
                        <a:pt x="1" y="9"/>
                      </a:lnTo>
                      <a:lnTo>
                        <a:pt x="0" y="10"/>
                      </a:lnTo>
                      <a:lnTo>
                        <a:pt x="0" y="11"/>
                      </a:lnTo>
                      <a:lnTo>
                        <a:pt x="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59" name="Freeform 851">
                  <a:extLst>
                    <a:ext uri="{FF2B5EF4-FFF2-40B4-BE49-F238E27FC236}">
                      <a16:creationId xmlns:a16="http://schemas.microsoft.com/office/drawing/2014/main" id="{C7069004-33A8-8A3A-B2B1-D732498BC683}"/>
                    </a:ext>
                  </a:extLst>
                </p:cNvPr>
                <p:cNvSpPr>
                  <a:spLocks/>
                </p:cNvSpPr>
                <p:nvPr/>
              </p:nvSpPr>
              <p:spPr bwMode="auto">
                <a:xfrm>
                  <a:off x="772" y="1711"/>
                  <a:ext cx="138" cy="121"/>
                </a:xfrm>
                <a:custGeom>
                  <a:avLst/>
                  <a:gdLst>
                    <a:gd name="T0" fmla="*/ 2 w 199"/>
                    <a:gd name="T1" fmla="*/ 84 h 169"/>
                    <a:gd name="T2" fmla="*/ 7 w 199"/>
                    <a:gd name="T3" fmla="*/ 87 h 169"/>
                    <a:gd name="T4" fmla="*/ 12 w 199"/>
                    <a:gd name="T5" fmla="*/ 87 h 169"/>
                    <a:gd name="T6" fmla="*/ 18 w 199"/>
                    <a:gd name="T7" fmla="*/ 84 h 169"/>
                    <a:gd name="T8" fmla="*/ 24 w 199"/>
                    <a:gd name="T9" fmla="*/ 81 h 169"/>
                    <a:gd name="T10" fmla="*/ 31 w 199"/>
                    <a:gd name="T11" fmla="*/ 75 h 169"/>
                    <a:gd name="T12" fmla="*/ 37 w 199"/>
                    <a:gd name="T13" fmla="*/ 69 h 169"/>
                    <a:gd name="T14" fmla="*/ 44 w 199"/>
                    <a:gd name="T15" fmla="*/ 62 h 169"/>
                    <a:gd name="T16" fmla="*/ 51 w 199"/>
                    <a:gd name="T17" fmla="*/ 54 h 169"/>
                    <a:gd name="T18" fmla="*/ 58 w 199"/>
                    <a:gd name="T19" fmla="*/ 46 h 169"/>
                    <a:gd name="T20" fmla="*/ 64 w 199"/>
                    <a:gd name="T21" fmla="*/ 38 h 169"/>
                    <a:gd name="T22" fmla="*/ 71 w 199"/>
                    <a:gd name="T23" fmla="*/ 30 h 169"/>
                    <a:gd name="T24" fmla="*/ 77 w 199"/>
                    <a:gd name="T25" fmla="*/ 22 h 169"/>
                    <a:gd name="T26" fmla="*/ 83 w 199"/>
                    <a:gd name="T27" fmla="*/ 15 h 169"/>
                    <a:gd name="T28" fmla="*/ 89 w 199"/>
                    <a:gd name="T29" fmla="*/ 9 h 169"/>
                    <a:gd name="T30" fmla="*/ 94 w 199"/>
                    <a:gd name="T31" fmla="*/ 4 h 169"/>
                    <a:gd name="T32" fmla="*/ 95 w 199"/>
                    <a:gd name="T33" fmla="*/ 0 h 169"/>
                    <a:gd name="T34" fmla="*/ 90 w 199"/>
                    <a:gd name="T35" fmla="*/ 4 h 169"/>
                    <a:gd name="T36" fmla="*/ 85 w 199"/>
                    <a:gd name="T37" fmla="*/ 10 h 169"/>
                    <a:gd name="T38" fmla="*/ 79 w 199"/>
                    <a:gd name="T39" fmla="*/ 16 h 169"/>
                    <a:gd name="T40" fmla="*/ 73 w 199"/>
                    <a:gd name="T41" fmla="*/ 24 h 169"/>
                    <a:gd name="T42" fmla="*/ 67 w 199"/>
                    <a:gd name="T43" fmla="*/ 32 h 169"/>
                    <a:gd name="T44" fmla="*/ 60 w 199"/>
                    <a:gd name="T45" fmla="*/ 41 h 169"/>
                    <a:gd name="T46" fmla="*/ 53 w 199"/>
                    <a:gd name="T47" fmla="*/ 49 h 169"/>
                    <a:gd name="T48" fmla="*/ 46 w 199"/>
                    <a:gd name="T49" fmla="*/ 57 h 169"/>
                    <a:gd name="T50" fmla="*/ 40 w 199"/>
                    <a:gd name="T51" fmla="*/ 64 h 169"/>
                    <a:gd name="T52" fmla="*/ 33 w 199"/>
                    <a:gd name="T53" fmla="*/ 72 h 169"/>
                    <a:gd name="T54" fmla="*/ 26 w 199"/>
                    <a:gd name="T55" fmla="*/ 77 h 169"/>
                    <a:gd name="T56" fmla="*/ 20 w 199"/>
                    <a:gd name="T57" fmla="*/ 81 h 169"/>
                    <a:gd name="T58" fmla="*/ 15 w 199"/>
                    <a:gd name="T59" fmla="*/ 84 h 169"/>
                    <a:gd name="T60" fmla="*/ 10 w 199"/>
                    <a:gd name="T61" fmla="*/ 84 h 169"/>
                    <a:gd name="T62" fmla="*/ 6 w 199"/>
                    <a:gd name="T63" fmla="*/ 84 h 169"/>
                    <a:gd name="T64" fmla="*/ 1 w 199"/>
                    <a:gd name="T65" fmla="*/ 80 h 169"/>
                    <a:gd name="T66" fmla="*/ 1 w 199"/>
                    <a:gd name="T67" fmla="*/ 80 h 169"/>
                    <a:gd name="T68" fmla="*/ 1 w 199"/>
                    <a:gd name="T69" fmla="*/ 80 h 169"/>
                    <a:gd name="T70" fmla="*/ 1 w 199"/>
                    <a:gd name="T71" fmla="*/ 80 h 169"/>
                    <a:gd name="T72" fmla="*/ 1 w 199"/>
                    <a:gd name="T73" fmla="*/ 80 h 169"/>
                    <a:gd name="T74" fmla="*/ 0 w 199"/>
                    <a:gd name="T75" fmla="*/ 81 h 169"/>
                    <a:gd name="T76" fmla="*/ 1 w 199"/>
                    <a:gd name="T77" fmla="*/ 82 h 169"/>
                    <a:gd name="T78" fmla="*/ 1 w 199"/>
                    <a:gd name="T79" fmla="*/ 82 h 16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99" h="169">
                      <a:moveTo>
                        <a:pt x="1" y="159"/>
                      </a:moveTo>
                      <a:lnTo>
                        <a:pt x="5" y="164"/>
                      </a:lnTo>
                      <a:lnTo>
                        <a:pt x="10" y="167"/>
                      </a:lnTo>
                      <a:lnTo>
                        <a:pt x="15" y="169"/>
                      </a:lnTo>
                      <a:lnTo>
                        <a:pt x="20" y="169"/>
                      </a:lnTo>
                      <a:lnTo>
                        <a:pt x="25" y="169"/>
                      </a:lnTo>
                      <a:lnTo>
                        <a:pt x="31" y="167"/>
                      </a:lnTo>
                      <a:lnTo>
                        <a:pt x="37" y="165"/>
                      </a:lnTo>
                      <a:lnTo>
                        <a:pt x="43" y="162"/>
                      </a:lnTo>
                      <a:lnTo>
                        <a:pt x="50" y="158"/>
                      </a:lnTo>
                      <a:lnTo>
                        <a:pt x="56" y="153"/>
                      </a:lnTo>
                      <a:lnTo>
                        <a:pt x="63" y="147"/>
                      </a:lnTo>
                      <a:lnTo>
                        <a:pt x="70" y="142"/>
                      </a:lnTo>
                      <a:lnTo>
                        <a:pt x="77" y="136"/>
                      </a:lnTo>
                      <a:lnTo>
                        <a:pt x="84" y="129"/>
                      </a:lnTo>
                      <a:lnTo>
                        <a:pt x="91" y="122"/>
                      </a:lnTo>
                      <a:lnTo>
                        <a:pt x="98" y="114"/>
                      </a:lnTo>
                      <a:lnTo>
                        <a:pt x="105" y="106"/>
                      </a:lnTo>
                      <a:lnTo>
                        <a:pt x="112" y="98"/>
                      </a:lnTo>
                      <a:lnTo>
                        <a:pt x="120" y="90"/>
                      </a:lnTo>
                      <a:lnTo>
                        <a:pt x="127" y="82"/>
                      </a:lnTo>
                      <a:lnTo>
                        <a:pt x="134" y="74"/>
                      </a:lnTo>
                      <a:lnTo>
                        <a:pt x="141" y="66"/>
                      </a:lnTo>
                      <a:lnTo>
                        <a:pt x="147" y="58"/>
                      </a:lnTo>
                      <a:lnTo>
                        <a:pt x="154" y="50"/>
                      </a:lnTo>
                      <a:lnTo>
                        <a:pt x="160" y="43"/>
                      </a:lnTo>
                      <a:lnTo>
                        <a:pt x="167" y="36"/>
                      </a:lnTo>
                      <a:lnTo>
                        <a:pt x="173" y="29"/>
                      </a:lnTo>
                      <a:lnTo>
                        <a:pt x="179" y="23"/>
                      </a:lnTo>
                      <a:lnTo>
                        <a:pt x="184" y="17"/>
                      </a:lnTo>
                      <a:lnTo>
                        <a:pt x="190" y="12"/>
                      </a:lnTo>
                      <a:lnTo>
                        <a:pt x="195" y="8"/>
                      </a:lnTo>
                      <a:lnTo>
                        <a:pt x="199" y="4"/>
                      </a:lnTo>
                      <a:lnTo>
                        <a:pt x="197" y="0"/>
                      </a:lnTo>
                      <a:lnTo>
                        <a:pt x="193" y="4"/>
                      </a:lnTo>
                      <a:lnTo>
                        <a:pt x="188" y="9"/>
                      </a:lnTo>
                      <a:lnTo>
                        <a:pt x="182" y="14"/>
                      </a:lnTo>
                      <a:lnTo>
                        <a:pt x="177" y="20"/>
                      </a:lnTo>
                      <a:lnTo>
                        <a:pt x="171" y="26"/>
                      </a:lnTo>
                      <a:lnTo>
                        <a:pt x="165" y="32"/>
                      </a:lnTo>
                      <a:lnTo>
                        <a:pt x="159" y="40"/>
                      </a:lnTo>
                      <a:lnTo>
                        <a:pt x="152" y="47"/>
                      </a:lnTo>
                      <a:lnTo>
                        <a:pt x="145" y="55"/>
                      </a:lnTo>
                      <a:lnTo>
                        <a:pt x="139" y="63"/>
                      </a:lnTo>
                      <a:lnTo>
                        <a:pt x="132" y="71"/>
                      </a:lnTo>
                      <a:lnTo>
                        <a:pt x="125" y="79"/>
                      </a:lnTo>
                      <a:lnTo>
                        <a:pt x="118" y="87"/>
                      </a:lnTo>
                      <a:lnTo>
                        <a:pt x="110" y="95"/>
                      </a:lnTo>
                      <a:lnTo>
                        <a:pt x="103" y="103"/>
                      </a:lnTo>
                      <a:lnTo>
                        <a:pt x="96" y="111"/>
                      </a:lnTo>
                      <a:lnTo>
                        <a:pt x="89" y="118"/>
                      </a:lnTo>
                      <a:lnTo>
                        <a:pt x="82" y="126"/>
                      </a:lnTo>
                      <a:lnTo>
                        <a:pt x="75" y="132"/>
                      </a:lnTo>
                      <a:lnTo>
                        <a:pt x="68" y="139"/>
                      </a:lnTo>
                      <a:lnTo>
                        <a:pt x="61" y="144"/>
                      </a:lnTo>
                      <a:lnTo>
                        <a:pt x="55" y="149"/>
                      </a:lnTo>
                      <a:lnTo>
                        <a:pt x="48" y="154"/>
                      </a:lnTo>
                      <a:lnTo>
                        <a:pt x="42" y="158"/>
                      </a:lnTo>
                      <a:lnTo>
                        <a:pt x="36" y="161"/>
                      </a:lnTo>
                      <a:lnTo>
                        <a:pt x="30" y="163"/>
                      </a:lnTo>
                      <a:lnTo>
                        <a:pt x="25" y="165"/>
                      </a:lnTo>
                      <a:lnTo>
                        <a:pt x="20" y="165"/>
                      </a:lnTo>
                      <a:lnTo>
                        <a:pt x="15" y="164"/>
                      </a:lnTo>
                      <a:lnTo>
                        <a:pt x="11" y="163"/>
                      </a:lnTo>
                      <a:lnTo>
                        <a:pt x="6" y="161"/>
                      </a:lnTo>
                      <a:lnTo>
                        <a:pt x="3" y="157"/>
                      </a:lnTo>
                      <a:lnTo>
                        <a:pt x="3" y="156"/>
                      </a:lnTo>
                      <a:lnTo>
                        <a:pt x="2" y="156"/>
                      </a:lnTo>
                      <a:lnTo>
                        <a:pt x="1" y="156"/>
                      </a:lnTo>
                      <a:lnTo>
                        <a:pt x="1" y="157"/>
                      </a:lnTo>
                      <a:lnTo>
                        <a:pt x="0" y="158"/>
                      </a:lnTo>
                      <a:lnTo>
                        <a:pt x="1"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0" name="Freeform 852">
                  <a:extLst>
                    <a:ext uri="{FF2B5EF4-FFF2-40B4-BE49-F238E27FC236}">
                      <a16:creationId xmlns:a16="http://schemas.microsoft.com/office/drawing/2014/main" id="{8BE76071-CBBE-8C33-2C84-4526E39B37CE}"/>
                    </a:ext>
                  </a:extLst>
                </p:cNvPr>
                <p:cNvSpPr>
                  <a:spLocks/>
                </p:cNvSpPr>
                <p:nvPr/>
              </p:nvSpPr>
              <p:spPr bwMode="auto">
                <a:xfrm>
                  <a:off x="759" y="1806"/>
                  <a:ext cx="14" cy="19"/>
                </a:xfrm>
                <a:custGeom>
                  <a:avLst/>
                  <a:gdLst>
                    <a:gd name="T0" fmla="*/ 1 w 21"/>
                    <a:gd name="T1" fmla="*/ 2 h 26"/>
                    <a:gd name="T2" fmla="*/ 0 w 21"/>
                    <a:gd name="T3" fmla="*/ 2 h 26"/>
                    <a:gd name="T4" fmla="*/ 8 w 21"/>
                    <a:gd name="T5" fmla="*/ 14 h 26"/>
                    <a:gd name="T6" fmla="*/ 9 w 21"/>
                    <a:gd name="T7" fmla="*/ 13 h 26"/>
                    <a:gd name="T8" fmla="*/ 1 w 21"/>
                    <a:gd name="T9" fmla="*/ 1 h 26"/>
                    <a:gd name="T10" fmla="*/ 1 w 21"/>
                    <a:gd name="T11" fmla="*/ 0 h 26"/>
                    <a:gd name="T12" fmla="*/ 1 w 21"/>
                    <a:gd name="T13" fmla="*/ 1 h 26"/>
                    <a:gd name="T14" fmla="*/ 1 w 21"/>
                    <a:gd name="T15" fmla="*/ 0 h 26"/>
                    <a:gd name="T16" fmla="*/ 1 w 21"/>
                    <a:gd name="T17" fmla="*/ 0 h 26"/>
                    <a:gd name="T18" fmla="*/ 1 w 21"/>
                    <a:gd name="T19" fmla="*/ 0 h 26"/>
                    <a:gd name="T20" fmla="*/ 1 w 21"/>
                    <a:gd name="T21" fmla="*/ 0 h 26"/>
                    <a:gd name="T22" fmla="*/ 1 w 21"/>
                    <a:gd name="T23" fmla="*/ 0 h 26"/>
                    <a:gd name="T24" fmla="*/ 0 w 21"/>
                    <a:gd name="T25" fmla="*/ 0 h 26"/>
                    <a:gd name="T26" fmla="*/ 0 w 21"/>
                    <a:gd name="T27" fmla="*/ 1 h 26"/>
                    <a:gd name="T28" fmla="*/ 0 w 21"/>
                    <a:gd name="T29" fmla="*/ 1 h 26"/>
                    <a:gd name="T30" fmla="*/ 0 w 21"/>
                    <a:gd name="T31" fmla="*/ 1 h 26"/>
                    <a:gd name="T32" fmla="*/ 0 w 21"/>
                    <a:gd name="T33" fmla="*/ 1 h 26"/>
                    <a:gd name="T34" fmla="*/ 0 w 21"/>
                    <a:gd name="T35" fmla="*/ 1 h 26"/>
                    <a:gd name="T36" fmla="*/ 0 w 21"/>
                    <a:gd name="T37" fmla="*/ 1 h 26"/>
                    <a:gd name="T38" fmla="*/ 0 w 21"/>
                    <a:gd name="T39" fmla="*/ 1 h 26"/>
                    <a:gd name="T40" fmla="*/ 0 w 21"/>
                    <a:gd name="T41" fmla="*/ 2 h 26"/>
                    <a:gd name="T42" fmla="*/ 1 w 21"/>
                    <a:gd name="T43" fmla="*/ 2 h 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 h="26">
                      <a:moveTo>
                        <a:pt x="1" y="4"/>
                      </a:moveTo>
                      <a:lnTo>
                        <a:pt x="0" y="4"/>
                      </a:lnTo>
                      <a:lnTo>
                        <a:pt x="18" y="26"/>
                      </a:lnTo>
                      <a:lnTo>
                        <a:pt x="21" y="24"/>
                      </a:lnTo>
                      <a:lnTo>
                        <a:pt x="3" y="1"/>
                      </a:lnTo>
                      <a:lnTo>
                        <a:pt x="2" y="0"/>
                      </a:lnTo>
                      <a:lnTo>
                        <a:pt x="3" y="1"/>
                      </a:lnTo>
                      <a:lnTo>
                        <a:pt x="2" y="0"/>
                      </a:lnTo>
                      <a:lnTo>
                        <a:pt x="1" y="0"/>
                      </a:lnTo>
                      <a:lnTo>
                        <a:pt x="0" y="0"/>
                      </a:lnTo>
                      <a:lnTo>
                        <a:pt x="0" y="1"/>
                      </a:lnTo>
                      <a:lnTo>
                        <a:pt x="0" y="2"/>
                      </a:lnTo>
                      <a:lnTo>
                        <a:pt x="0" y="3"/>
                      </a:lnTo>
                      <a:lnTo>
                        <a:pt x="0" y="4"/>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1" name="Freeform 853">
                  <a:extLst>
                    <a:ext uri="{FF2B5EF4-FFF2-40B4-BE49-F238E27FC236}">
                      <a16:creationId xmlns:a16="http://schemas.microsoft.com/office/drawing/2014/main" id="{8BC54214-A961-9922-731C-F91B9005161B}"/>
                    </a:ext>
                  </a:extLst>
                </p:cNvPr>
                <p:cNvSpPr>
                  <a:spLocks/>
                </p:cNvSpPr>
                <p:nvPr/>
              </p:nvSpPr>
              <p:spPr bwMode="auto">
                <a:xfrm>
                  <a:off x="700" y="1799"/>
                  <a:ext cx="60" cy="76"/>
                </a:xfrm>
                <a:custGeom>
                  <a:avLst/>
                  <a:gdLst>
                    <a:gd name="T0" fmla="*/ 1 w 86"/>
                    <a:gd name="T1" fmla="*/ 53 h 108"/>
                    <a:gd name="T2" fmla="*/ 4 w 86"/>
                    <a:gd name="T3" fmla="*/ 53 h 108"/>
                    <a:gd name="T4" fmla="*/ 6 w 86"/>
                    <a:gd name="T5" fmla="*/ 51 h 108"/>
                    <a:gd name="T6" fmla="*/ 8 w 86"/>
                    <a:gd name="T7" fmla="*/ 47 h 108"/>
                    <a:gd name="T8" fmla="*/ 9 w 86"/>
                    <a:gd name="T9" fmla="*/ 42 h 108"/>
                    <a:gd name="T10" fmla="*/ 10 w 86"/>
                    <a:gd name="T11" fmla="*/ 37 h 108"/>
                    <a:gd name="T12" fmla="*/ 10 w 86"/>
                    <a:gd name="T13" fmla="*/ 32 h 108"/>
                    <a:gd name="T14" fmla="*/ 10 w 86"/>
                    <a:gd name="T15" fmla="*/ 26 h 108"/>
                    <a:gd name="T16" fmla="*/ 10 w 86"/>
                    <a:gd name="T17" fmla="*/ 21 h 108"/>
                    <a:gd name="T18" fmla="*/ 11 w 86"/>
                    <a:gd name="T19" fmla="*/ 16 h 108"/>
                    <a:gd name="T20" fmla="*/ 13 w 86"/>
                    <a:gd name="T21" fmla="*/ 11 h 108"/>
                    <a:gd name="T22" fmla="*/ 15 w 86"/>
                    <a:gd name="T23" fmla="*/ 8 h 108"/>
                    <a:gd name="T24" fmla="*/ 17 w 86"/>
                    <a:gd name="T25" fmla="*/ 4 h 108"/>
                    <a:gd name="T26" fmla="*/ 21 w 86"/>
                    <a:gd name="T27" fmla="*/ 3 h 108"/>
                    <a:gd name="T28" fmla="*/ 27 w 86"/>
                    <a:gd name="T29" fmla="*/ 3 h 108"/>
                    <a:gd name="T30" fmla="*/ 33 w 86"/>
                    <a:gd name="T31" fmla="*/ 4 h 108"/>
                    <a:gd name="T32" fmla="*/ 41 w 86"/>
                    <a:gd name="T33" fmla="*/ 7 h 108"/>
                    <a:gd name="T34" fmla="*/ 37 w 86"/>
                    <a:gd name="T35" fmla="*/ 3 h 108"/>
                    <a:gd name="T36" fmla="*/ 30 w 86"/>
                    <a:gd name="T37" fmla="*/ 1 h 108"/>
                    <a:gd name="T38" fmla="*/ 23 w 86"/>
                    <a:gd name="T39" fmla="*/ 0 h 108"/>
                    <a:gd name="T40" fmla="*/ 19 w 86"/>
                    <a:gd name="T41" fmla="*/ 1 h 108"/>
                    <a:gd name="T42" fmla="*/ 15 w 86"/>
                    <a:gd name="T43" fmla="*/ 4 h 108"/>
                    <a:gd name="T44" fmla="*/ 12 w 86"/>
                    <a:gd name="T45" fmla="*/ 8 h 108"/>
                    <a:gd name="T46" fmla="*/ 10 w 86"/>
                    <a:gd name="T47" fmla="*/ 13 h 108"/>
                    <a:gd name="T48" fmla="*/ 9 w 86"/>
                    <a:gd name="T49" fmla="*/ 18 h 108"/>
                    <a:gd name="T50" fmla="*/ 9 w 86"/>
                    <a:gd name="T51" fmla="*/ 24 h 108"/>
                    <a:gd name="T52" fmla="*/ 9 w 86"/>
                    <a:gd name="T53" fmla="*/ 30 h 108"/>
                    <a:gd name="T54" fmla="*/ 8 w 86"/>
                    <a:gd name="T55" fmla="*/ 34 h 108"/>
                    <a:gd name="T56" fmla="*/ 8 w 86"/>
                    <a:gd name="T57" fmla="*/ 39 h 108"/>
                    <a:gd name="T58" fmla="*/ 7 w 86"/>
                    <a:gd name="T59" fmla="*/ 44 h 108"/>
                    <a:gd name="T60" fmla="*/ 6 w 86"/>
                    <a:gd name="T61" fmla="*/ 48 h 108"/>
                    <a:gd name="T62" fmla="*/ 4 w 86"/>
                    <a:gd name="T63" fmla="*/ 51 h 108"/>
                    <a:gd name="T64" fmla="*/ 2 w 86"/>
                    <a:gd name="T65" fmla="*/ 51 h 108"/>
                    <a:gd name="T66" fmla="*/ 1 w 86"/>
                    <a:gd name="T67" fmla="*/ 52 h 108"/>
                    <a:gd name="T68" fmla="*/ 1 w 86"/>
                    <a:gd name="T69" fmla="*/ 52 h 108"/>
                    <a:gd name="T70" fmla="*/ 0 w 86"/>
                    <a:gd name="T71" fmla="*/ 52 h 108"/>
                    <a:gd name="T72" fmla="*/ 0 w 86"/>
                    <a:gd name="T73" fmla="*/ 52 h 108"/>
                    <a:gd name="T74" fmla="*/ 0 w 86"/>
                    <a:gd name="T75" fmla="*/ 53 h 108"/>
                    <a:gd name="T76" fmla="*/ 0 w 86"/>
                    <a:gd name="T77" fmla="*/ 53 h 108"/>
                    <a:gd name="T78" fmla="*/ 0 w 86"/>
                    <a:gd name="T79" fmla="*/ 53 h 108"/>
                    <a:gd name="T80" fmla="*/ 0 w 86"/>
                    <a:gd name="T81" fmla="*/ 53 h 108"/>
                    <a:gd name="T82" fmla="*/ 0 w 86"/>
                    <a:gd name="T83" fmla="*/ 53 h 108"/>
                    <a:gd name="T84" fmla="*/ 1 w 86"/>
                    <a:gd name="T85" fmla="*/ 53 h 108"/>
                    <a:gd name="T86" fmla="*/ 1 w 86"/>
                    <a:gd name="T87" fmla="*/ 53 h 1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6" h="108">
                      <a:moveTo>
                        <a:pt x="0" y="108"/>
                      </a:moveTo>
                      <a:lnTo>
                        <a:pt x="1" y="108"/>
                      </a:lnTo>
                      <a:lnTo>
                        <a:pt x="5" y="108"/>
                      </a:lnTo>
                      <a:lnTo>
                        <a:pt x="8" y="107"/>
                      </a:lnTo>
                      <a:lnTo>
                        <a:pt x="11" y="105"/>
                      </a:lnTo>
                      <a:lnTo>
                        <a:pt x="13" y="102"/>
                      </a:lnTo>
                      <a:lnTo>
                        <a:pt x="15" y="98"/>
                      </a:lnTo>
                      <a:lnTo>
                        <a:pt x="17" y="95"/>
                      </a:lnTo>
                      <a:lnTo>
                        <a:pt x="18" y="91"/>
                      </a:lnTo>
                      <a:lnTo>
                        <a:pt x="19" y="85"/>
                      </a:lnTo>
                      <a:lnTo>
                        <a:pt x="19" y="81"/>
                      </a:lnTo>
                      <a:lnTo>
                        <a:pt x="20" y="76"/>
                      </a:lnTo>
                      <a:lnTo>
                        <a:pt x="20" y="70"/>
                      </a:lnTo>
                      <a:lnTo>
                        <a:pt x="20" y="65"/>
                      </a:lnTo>
                      <a:lnTo>
                        <a:pt x="21" y="59"/>
                      </a:lnTo>
                      <a:lnTo>
                        <a:pt x="21" y="53"/>
                      </a:lnTo>
                      <a:lnTo>
                        <a:pt x="21" y="48"/>
                      </a:lnTo>
                      <a:lnTo>
                        <a:pt x="22" y="42"/>
                      </a:lnTo>
                      <a:lnTo>
                        <a:pt x="23" y="37"/>
                      </a:lnTo>
                      <a:lnTo>
                        <a:pt x="23" y="32"/>
                      </a:lnTo>
                      <a:lnTo>
                        <a:pt x="25" y="27"/>
                      </a:lnTo>
                      <a:lnTo>
                        <a:pt x="26" y="22"/>
                      </a:lnTo>
                      <a:lnTo>
                        <a:pt x="28" y="18"/>
                      </a:lnTo>
                      <a:lnTo>
                        <a:pt x="30" y="15"/>
                      </a:lnTo>
                      <a:lnTo>
                        <a:pt x="32" y="11"/>
                      </a:lnTo>
                      <a:lnTo>
                        <a:pt x="36" y="9"/>
                      </a:lnTo>
                      <a:lnTo>
                        <a:pt x="39" y="7"/>
                      </a:lnTo>
                      <a:lnTo>
                        <a:pt x="43" y="5"/>
                      </a:lnTo>
                      <a:lnTo>
                        <a:pt x="48" y="5"/>
                      </a:lnTo>
                      <a:lnTo>
                        <a:pt x="54" y="5"/>
                      </a:lnTo>
                      <a:lnTo>
                        <a:pt x="60" y="5"/>
                      </a:lnTo>
                      <a:lnTo>
                        <a:pt x="68" y="7"/>
                      </a:lnTo>
                      <a:lnTo>
                        <a:pt x="76" y="10"/>
                      </a:lnTo>
                      <a:lnTo>
                        <a:pt x="85" y="14"/>
                      </a:lnTo>
                      <a:lnTo>
                        <a:pt x="86" y="10"/>
                      </a:lnTo>
                      <a:lnTo>
                        <a:pt x="76" y="6"/>
                      </a:lnTo>
                      <a:lnTo>
                        <a:pt x="68" y="3"/>
                      </a:lnTo>
                      <a:lnTo>
                        <a:pt x="61" y="1"/>
                      </a:lnTo>
                      <a:lnTo>
                        <a:pt x="54" y="0"/>
                      </a:lnTo>
                      <a:lnTo>
                        <a:pt x="48" y="0"/>
                      </a:lnTo>
                      <a:lnTo>
                        <a:pt x="43" y="1"/>
                      </a:lnTo>
                      <a:lnTo>
                        <a:pt x="38" y="3"/>
                      </a:lnTo>
                      <a:lnTo>
                        <a:pt x="34" y="5"/>
                      </a:lnTo>
                      <a:lnTo>
                        <a:pt x="31" y="9"/>
                      </a:lnTo>
                      <a:lnTo>
                        <a:pt x="28" y="12"/>
                      </a:lnTo>
                      <a:lnTo>
                        <a:pt x="25" y="16"/>
                      </a:lnTo>
                      <a:lnTo>
                        <a:pt x="23" y="21"/>
                      </a:lnTo>
                      <a:lnTo>
                        <a:pt x="21" y="26"/>
                      </a:lnTo>
                      <a:lnTo>
                        <a:pt x="20" y="31"/>
                      </a:lnTo>
                      <a:lnTo>
                        <a:pt x="19" y="36"/>
                      </a:lnTo>
                      <a:lnTo>
                        <a:pt x="19" y="42"/>
                      </a:lnTo>
                      <a:lnTo>
                        <a:pt x="18" y="48"/>
                      </a:lnTo>
                      <a:lnTo>
                        <a:pt x="18" y="53"/>
                      </a:lnTo>
                      <a:lnTo>
                        <a:pt x="18" y="59"/>
                      </a:lnTo>
                      <a:lnTo>
                        <a:pt x="17" y="64"/>
                      </a:lnTo>
                      <a:lnTo>
                        <a:pt x="17" y="70"/>
                      </a:lnTo>
                      <a:lnTo>
                        <a:pt x="17" y="75"/>
                      </a:lnTo>
                      <a:lnTo>
                        <a:pt x="16" y="80"/>
                      </a:lnTo>
                      <a:lnTo>
                        <a:pt x="16" y="85"/>
                      </a:lnTo>
                      <a:lnTo>
                        <a:pt x="15" y="89"/>
                      </a:lnTo>
                      <a:lnTo>
                        <a:pt x="14" y="93"/>
                      </a:lnTo>
                      <a:lnTo>
                        <a:pt x="13" y="97"/>
                      </a:lnTo>
                      <a:lnTo>
                        <a:pt x="11" y="99"/>
                      </a:lnTo>
                      <a:lnTo>
                        <a:pt x="9" y="102"/>
                      </a:lnTo>
                      <a:lnTo>
                        <a:pt x="7" y="103"/>
                      </a:lnTo>
                      <a:lnTo>
                        <a:pt x="4" y="104"/>
                      </a:lnTo>
                      <a:lnTo>
                        <a:pt x="1" y="104"/>
                      </a:lnTo>
                      <a:lnTo>
                        <a:pt x="2" y="105"/>
                      </a:lnTo>
                      <a:lnTo>
                        <a:pt x="1" y="104"/>
                      </a:lnTo>
                      <a:lnTo>
                        <a:pt x="1" y="105"/>
                      </a:lnTo>
                      <a:lnTo>
                        <a:pt x="0" y="105"/>
                      </a:lnTo>
                      <a:lnTo>
                        <a:pt x="0" y="106"/>
                      </a:lnTo>
                      <a:lnTo>
                        <a:pt x="0" y="107"/>
                      </a:lnTo>
                      <a:lnTo>
                        <a:pt x="0" y="108"/>
                      </a:lnTo>
                      <a:lnTo>
                        <a:pt x="1" y="108"/>
                      </a:lnTo>
                      <a:lnTo>
                        <a:pt x="0"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2" name="Freeform 854">
                  <a:extLst>
                    <a:ext uri="{FF2B5EF4-FFF2-40B4-BE49-F238E27FC236}">
                      <a16:creationId xmlns:a16="http://schemas.microsoft.com/office/drawing/2014/main" id="{AE1D05FB-40B2-0363-60C6-17BEDA26DA57}"/>
                    </a:ext>
                  </a:extLst>
                </p:cNvPr>
                <p:cNvSpPr>
                  <a:spLocks/>
                </p:cNvSpPr>
                <p:nvPr/>
              </p:nvSpPr>
              <p:spPr bwMode="auto">
                <a:xfrm>
                  <a:off x="629" y="1847"/>
                  <a:ext cx="73" cy="29"/>
                </a:xfrm>
                <a:custGeom>
                  <a:avLst/>
                  <a:gdLst>
                    <a:gd name="T0" fmla="*/ 1 w 105"/>
                    <a:gd name="T1" fmla="*/ 13 h 42"/>
                    <a:gd name="T2" fmla="*/ 2 w 105"/>
                    <a:gd name="T3" fmla="*/ 8 h 42"/>
                    <a:gd name="T4" fmla="*/ 3 w 105"/>
                    <a:gd name="T5" fmla="*/ 6 h 42"/>
                    <a:gd name="T6" fmla="*/ 6 w 105"/>
                    <a:gd name="T7" fmla="*/ 3 h 42"/>
                    <a:gd name="T8" fmla="*/ 8 w 105"/>
                    <a:gd name="T9" fmla="*/ 2 h 42"/>
                    <a:gd name="T10" fmla="*/ 11 w 105"/>
                    <a:gd name="T11" fmla="*/ 2 h 42"/>
                    <a:gd name="T12" fmla="*/ 15 w 105"/>
                    <a:gd name="T13" fmla="*/ 2 h 42"/>
                    <a:gd name="T14" fmla="*/ 19 w 105"/>
                    <a:gd name="T15" fmla="*/ 3 h 42"/>
                    <a:gd name="T16" fmla="*/ 23 w 105"/>
                    <a:gd name="T17" fmla="*/ 5 h 42"/>
                    <a:gd name="T18" fmla="*/ 28 w 105"/>
                    <a:gd name="T19" fmla="*/ 6 h 42"/>
                    <a:gd name="T20" fmla="*/ 32 w 105"/>
                    <a:gd name="T21" fmla="*/ 9 h 42"/>
                    <a:gd name="T22" fmla="*/ 36 w 105"/>
                    <a:gd name="T23" fmla="*/ 11 h 42"/>
                    <a:gd name="T24" fmla="*/ 40 w 105"/>
                    <a:gd name="T25" fmla="*/ 13 h 42"/>
                    <a:gd name="T26" fmla="*/ 44 w 105"/>
                    <a:gd name="T27" fmla="*/ 15 h 42"/>
                    <a:gd name="T28" fmla="*/ 47 w 105"/>
                    <a:gd name="T29" fmla="*/ 18 h 42"/>
                    <a:gd name="T30" fmla="*/ 49 w 105"/>
                    <a:gd name="T31" fmla="*/ 19 h 42"/>
                    <a:gd name="T32" fmla="*/ 50 w 105"/>
                    <a:gd name="T33" fmla="*/ 20 h 42"/>
                    <a:gd name="T34" fmla="*/ 50 w 105"/>
                    <a:gd name="T35" fmla="*/ 18 h 42"/>
                    <a:gd name="T36" fmla="*/ 49 w 105"/>
                    <a:gd name="T37" fmla="*/ 17 h 42"/>
                    <a:gd name="T38" fmla="*/ 45 w 105"/>
                    <a:gd name="T39" fmla="*/ 15 h 42"/>
                    <a:gd name="T40" fmla="*/ 42 w 105"/>
                    <a:gd name="T41" fmla="*/ 12 h 42"/>
                    <a:gd name="T42" fmla="*/ 39 w 105"/>
                    <a:gd name="T43" fmla="*/ 10 h 42"/>
                    <a:gd name="T44" fmla="*/ 35 w 105"/>
                    <a:gd name="T45" fmla="*/ 8 h 42"/>
                    <a:gd name="T46" fmla="*/ 31 w 105"/>
                    <a:gd name="T47" fmla="*/ 6 h 42"/>
                    <a:gd name="T48" fmla="*/ 26 w 105"/>
                    <a:gd name="T49" fmla="*/ 4 h 42"/>
                    <a:gd name="T50" fmla="*/ 22 w 105"/>
                    <a:gd name="T51" fmla="*/ 2 h 42"/>
                    <a:gd name="T52" fmla="*/ 17 w 105"/>
                    <a:gd name="T53" fmla="*/ 1 h 42"/>
                    <a:gd name="T54" fmla="*/ 13 w 105"/>
                    <a:gd name="T55" fmla="*/ 0 h 42"/>
                    <a:gd name="T56" fmla="*/ 9 w 105"/>
                    <a:gd name="T57" fmla="*/ 0 h 42"/>
                    <a:gd name="T58" fmla="*/ 6 w 105"/>
                    <a:gd name="T59" fmla="*/ 1 h 42"/>
                    <a:gd name="T60" fmla="*/ 3 w 105"/>
                    <a:gd name="T61" fmla="*/ 3 h 42"/>
                    <a:gd name="T62" fmla="*/ 1 w 105"/>
                    <a:gd name="T63" fmla="*/ 6 h 42"/>
                    <a:gd name="T64" fmla="*/ 0 w 105"/>
                    <a:gd name="T65" fmla="*/ 10 h 42"/>
                    <a:gd name="T66" fmla="*/ 1 w 105"/>
                    <a:gd name="T67" fmla="*/ 13 h 42"/>
                    <a:gd name="T68" fmla="*/ 0 w 105"/>
                    <a:gd name="T69" fmla="*/ 13 h 42"/>
                    <a:gd name="T70" fmla="*/ 0 w 105"/>
                    <a:gd name="T71" fmla="*/ 14 h 42"/>
                    <a:gd name="T72" fmla="*/ 0 w 105"/>
                    <a:gd name="T73" fmla="*/ 14 h 42"/>
                    <a:gd name="T74" fmla="*/ 1 w 105"/>
                    <a:gd name="T75" fmla="*/ 14 h 42"/>
                    <a:gd name="T76" fmla="*/ 1 w 105"/>
                    <a:gd name="T77" fmla="*/ 14 h 42"/>
                    <a:gd name="T78" fmla="*/ 1 w 105"/>
                    <a:gd name="T79" fmla="*/ 14 h 42"/>
                    <a:gd name="T80" fmla="*/ 1 w 105"/>
                    <a:gd name="T81" fmla="*/ 14 h 42"/>
                    <a:gd name="T82" fmla="*/ 1 w 105"/>
                    <a:gd name="T83" fmla="*/ 14 h 42"/>
                    <a:gd name="T84" fmla="*/ 1 w 105"/>
                    <a:gd name="T85" fmla="*/ 13 h 42"/>
                    <a:gd name="T86" fmla="*/ 1 w 105"/>
                    <a:gd name="T87" fmla="*/ 13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5" h="42">
                      <a:moveTo>
                        <a:pt x="0" y="28"/>
                      </a:moveTo>
                      <a:lnTo>
                        <a:pt x="3" y="28"/>
                      </a:lnTo>
                      <a:lnTo>
                        <a:pt x="3" y="23"/>
                      </a:lnTo>
                      <a:lnTo>
                        <a:pt x="4" y="18"/>
                      </a:lnTo>
                      <a:lnTo>
                        <a:pt x="5" y="15"/>
                      </a:lnTo>
                      <a:lnTo>
                        <a:pt x="7" y="11"/>
                      </a:lnTo>
                      <a:lnTo>
                        <a:pt x="9" y="9"/>
                      </a:lnTo>
                      <a:lnTo>
                        <a:pt x="11" y="7"/>
                      </a:lnTo>
                      <a:lnTo>
                        <a:pt x="13" y="6"/>
                      </a:lnTo>
                      <a:lnTo>
                        <a:pt x="16" y="5"/>
                      </a:lnTo>
                      <a:lnTo>
                        <a:pt x="19" y="4"/>
                      </a:lnTo>
                      <a:lnTo>
                        <a:pt x="23" y="4"/>
                      </a:lnTo>
                      <a:lnTo>
                        <a:pt x="27" y="4"/>
                      </a:lnTo>
                      <a:lnTo>
                        <a:pt x="31" y="5"/>
                      </a:lnTo>
                      <a:lnTo>
                        <a:pt x="35" y="5"/>
                      </a:lnTo>
                      <a:lnTo>
                        <a:pt x="39" y="7"/>
                      </a:lnTo>
                      <a:lnTo>
                        <a:pt x="44" y="8"/>
                      </a:lnTo>
                      <a:lnTo>
                        <a:pt x="48" y="10"/>
                      </a:lnTo>
                      <a:lnTo>
                        <a:pt x="53" y="11"/>
                      </a:lnTo>
                      <a:lnTo>
                        <a:pt x="57" y="13"/>
                      </a:lnTo>
                      <a:lnTo>
                        <a:pt x="61" y="16"/>
                      </a:lnTo>
                      <a:lnTo>
                        <a:pt x="66" y="19"/>
                      </a:lnTo>
                      <a:lnTo>
                        <a:pt x="71" y="21"/>
                      </a:lnTo>
                      <a:lnTo>
                        <a:pt x="75" y="23"/>
                      </a:lnTo>
                      <a:lnTo>
                        <a:pt x="79" y="25"/>
                      </a:lnTo>
                      <a:lnTo>
                        <a:pt x="83" y="28"/>
                      </a:lnTo>
                      <a:lnTo>
                        <a:pt x="86" y="30"/>
                      </a:lnTo>
                      <a:lnTo>
                        <a:pt x="90" y="32"/>
                      </a:lnTo>
                      <a:lnTo>
                        <a:pt x="93" y="35"/>
                      </a:lnTo>
                      <a:lnTo>
                        <a:pt x="96" y="37"/>
                      </a:lnTo>
                      <a:lnTo>
                        <a:pt x="98" y="38"/>
                      </a:lnTo>
                      <a:lnTo>
                        <a:pt x="100" y="40"/>
                      </a:lnTo>
                      <a:lnTo>
                        <a:pt x="101" y="41"/>
                      </a:lnTo>
                      <a:lnTo>
                        <a:pt x="103" y="42"/>
                      </a:lnTo>
                      <a:lnTo>
                        <a:pt x="105" y="38"/>
                      </a:lnTo>
                      <a:lnTo>
                        <a:pt x="103" y="37"/>
                      </a:lnTo>
                      <a:lnTo>
                        <a:pt x="101" y="37"/>
                      </a:lnTo>
                      <a:lnTo>
                        <a:pt x="100" y="35"/>
                      </a:lnTo>
                      <a:lnTo>
                        <a:pt x="97" y="33"/>
                      </a:lnTo>
                      <a:lnTo>
                        <a:pt x="94" y="31"/>
                      </a:lnTo>
                      <a:lnTo>
                        <a:pt x="91" y="29"/>
                      </a:lnTo>
                      <a:lnTo>
                        <a:pt x="88" y="26"/>
                      </a:lnTo>
                      <a:lnTo>
                        <a:pt x="84" y="24"/>
                      </a:lnTo>
                      <a:lnTo>
                        <a:pt x="80" y="21"/>
                      </a:lnTo>
                      <a:lnTo>
                        <a:pt x="76" y="19"/>
                      </a:lnTo>
                      <a:lnTo>
                        <a:pt x="72" y="17"/>
                      </a:lnTo>
                      <a:lnTo>
                        <a:pt x="68" y="15"/>
                      </a:lnTo>
                      <a:lnTo>
                        <a:pt x="63" y="13"/>
                      </a:lnTo>
                      <a:lnTo>
                        <a:pt x="58" y="10"/>
                      </a:lnTo>
                      <a:lnTo>
                        <a:pt x="54" y="8"/>
                      </a:lnTo>
                      <a:lnTo>
                        <a:pt x="49" y="6"/>
                      </a:lnTo>
                      <a:lnTo>
                        <a:pt x="44" y="4"/>
                      </a:lnTo>
                      <a:lnTo>
                        <a:pt x="40" y="3"/>
                      </a:lnTo>
                      <a:lnTo>
                        <a:pt x="36" y="1"/>
                      </a:lnTo>
                      <a:lnTo>
                        <a:pt x="31" y="1"/>
                      </a:lnTo>
                      <a:lnTo>
                        <a:pt x="27" y="0"/>
                      </a:lnTo>
                      <a:lnTo>
                        <a:pt x="23" y="0"/>
                      </a:lnTo>
                      <a:lnTo>
                        <a:pt x="19" y="0"/>
                      </a:lnTo>
                      <a:lnTo>
                        <a:pt x="16" y="1"/>
                      </a:lnTo>
                      <a:lnTo>
                        <a:pt x="12" y="2"/>
                      </a:lnTo>
                      <a:lnTo>
                        <a:pt x="9" y="4"/>
                      </a:lnTo>
                      <a:lnTo>
                        <a:pt x="6" y="6"/>
                      </a:lnTo>
                      <a:lnTo>
                        <a:pt x="4" y="9"/>
                      </a:lnTo>
                      <a:lnTo>
                        <a:pt x="2" y="13"/>
                      </a:lnTo>
                      <a:lnTo>
                        <a:pt x="1" y="17"/>
                      </a:lnTo>
                      <a:lnTo>
                        <a:pt x="0" y="22"/>
                      </a:lnTo>
                      <a:lnTo>
                        <a:pt x="0" y="28"/>
                      </a:lnTo>
                      <a:lnTo>
                        <a:pt x="3" y="28"/>
                      </a:lnTo>
                      <a:lnTo>
                        <a:pt x="0" y="28"/>
                      </a:lnTo>
                      <a:lnTo>
                        <a:pt x="0" y="29"/>
                      </a:lnTo>
                      <a:lnTo>
                        <a:pt x="1" y="29"/>
                      </a:lnTo>
                      <a:lnTo>
                        <a:pt x="2" y="29"/>
                      </a:lnTo>
                      <a:lnTo>
                        <a:pt x="3" y="29"/>
                      </a:lnTo>
                      <a:lnTo>
                        <a:pt x="3" y="28"/>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3" name="Freeform 855">
                  <a:extLst>
                    <a:ext uri="{FF2B5EF4-FFF2-40B4-BE49-F238E27FC236}">
                      <a16:creationId xmlns:a16="http://schemas.microsoft.com/office/drawing/2014/main" id="{A77B0C0F-4EA8-0566-F5E7-B0A8642E209E}"/>
                    </a:ext>
                  </a:extLst>
                </p:cNvPr>
                <p:cNvSpPr>
                  <a:spLocks/>
                </p:cNvSpPr>
                <p:nvPr/>
              </p:nvSpPr>
              <p:spPr bwMode="auto">
                <a:xfrm>
                  <a:off x="628" y="1850"/>
                  <a:ext cx="75" cy="43"/>
                </a:xfrm>
                <a:custGeom>
                  <a:avLst/>
                  <a:gdLst>
                    <a:gd name="T0" fmla="*/ 51 w 107"/>
                    <a:gd name="T1" fmla="*/ 30 h 60"/>
                    <a:gd name="T2" fmla="*/ 51 w 107"/>
                    <a:gd name="T3" fmla="*/ 29 h 60"/>
                    <a:gd name="T4" fmla="*/ 52 w 107"/>
                    <a:gd name="T5" fmla="*/ 29 h 60"/>
                    <a:gd name="T6" fmla="*/ 50 w 107"/>
                    <a:gd name="T7" fmla="*/ 27 h 60"/>
                    <a:gd name="T8" fmla="*/ 47 w 107"/>
                    <a:gd name="T9" fmla="*/ 24 h 60"/>
                    <a:gd name="T10" fmla="*/ 43 w 107"/>
                    <a:gd name="T11" fmla="*/ 21 h 60"/>
                    <a:gd name="T12" fmla="*/ 39 w 107"/>
                    <a:gd name="T13" fmla="*/ 17 h 60"/>
                    <a:gd name="T14" fmla="*/ 34 w 107"/>
                    <a:gd name="T15" fmla="*/ 14 h 60"/>
                    <a:gd name="T16" fmla="*/ 29 w 107"/>
                    <a:gd name="T17" fmla="*/ 10 h 60"/>
                    <a:gd name="T18" fmla="*/ 24 w 107"/>
                    <a:gd name="T19" fmla="*/ 6 h 60"/>
                    <a:gd name="T20" fmla="*/ 19 w 107"/>
                    <a:gd name="T21" fmla="*/ 3 h 60"/>
                    <a:gd name="T22" fmla="*/ 14 w 107"/>
                    <a:gd name="T23" fmla="*/ 1 h 60"/>
                    <a:gd name="T24" fmla="*/ 10 w 107"/>
                    <a:gd name="T25" fmla="*/ 0 h 60"/>
                    <a:gd name="T26" fmla="*/ 6 w 107"/>
                    <a:gd name="T27" fmla="*/ 0 h 60"/>
                    <a:gd name="T28" fmla="*/ 3 w 107"/>
                    <a:gd name="T29" fmla="*/ 1 h 60"/>
                    <a:gd name="T30" fmla="*/ 1 w 107"/>
                    <a:gd name="T31" fmla="*/ 5 h 60"/>
                    <a:gd name="T32" fmla="*/ 0 w 107"/>
                    <a:gd name="T33" fmla="*/ 11 h 60"/>
                    <a:gd name="T34" fmla="*/ 2 w 107"/>
                    <a:gd name="T35" fmla="*/ 8 h 60"/>
                    <a:gd name="T36" fmla="*/ 3 w 107"/>
                    <a:gd name="T37" fmla="*/ 4 h 60"/>
                    <a:gd name="T38" fmla="*/ 5 w 107"/>
                    <a:gd name="T39" fmla="*/ 3 h 60"/>
                    <a:gd name="T40" fmla="*/ 8 w 107"/>
                    <a:gd name="T41" fmla="*/ 2 h 60"/>
                    <a:gd name="T42" fmla="*/ 12 w 107"/>
                    <a:gd name="T43" fmla="*/ 3 h 60"/>
                    <a:gd name="T44" fmla="*/ 16 w 107"/>
                    <a:gd name="T45" fmla="*/ 4 h 60"/>
                    <a:gd name="T46" fmla="*/ 21 w 107"/>
                    <a:gd name="T47" fmla="*/ 6 h 60"/>
                    <a:gd name="T48" fmla="*/ 26 w 107"/>
                    <a:gd name="T49" fmla="*/ 10 h 60"/>
                    <a:gd name="T50" fmla="*/ 31 w 107"/>
                    <a:gd name="T51" fmla="*/ 14 h 60"/>
                    <a:gd name="T52" fmla="*/ 36 w 107"/>
                    <a:gd name="T53" fmla="*/ 17 h 60"/>
                    <a:gd name="T54" fmla="*/ 40 w 107"/>
                    <a:gd name="T55" fmla="*/ 21 h 60"/>
                    <a:gd name="T56" fmla="*/ 44 w 107"/>
                    <a:gd name="T57" fmla="*/ 24 h 60"/>
                    <a:gd name="T58" fmla="*/ 48 w 107"/>
                    <a:gd name="T59" fmla="*/ 27 h 60"/>
                    <a:gd name="T60" fmla="*/ 50 w 107"/>
                    <a:gd name="T61" fmla="*/ 30 h 60"/>
                    <a:gd name="T62" fmla="*/ 51 w 107"/>
                    <a:gd name="T63" fmla="*/ 31 h 60"/>
                    <a:gd name="T64" fmla="*/ 53 w 107"/>
                    <a:gd name="T65" fmla="*/ 29 h 60"/>
                    <a:gd name="T66" fmla="*/ 50 w 107"/>
                    <a:gd name="T67" fmla="*/ 29 h 60"/>
                    <a:gd name="T68" fmla="*/ 52 w 107"/>
                    <a:gd name="T69" fmla="*/ 28 h 60"/>
                    <a:gd name="T70" fmla="*/ 51 w 107"/>
                    <a:gd name="T71" fmla="*/ 28 h 60"/>
                    <a:gd name="T72" fmla="*/ 51 w 107"/>
                    <a:gd name="T73" fmla="*/ 28 h 60"/>
                    <a:gd name="T74" fmla="*/ 51 w 107"/>
                    <a:gd name="T75" fmla="*/ 29 h 60"/>
                    <a:gd name="T76" fmla="*/ 50 w 107"/>
                    <a:gd name="T77" fmla="*/ 29 h 60"/>
                    <a:gd name="T78" fmla="*/ 50 w 107"/>
                    <a:gd name="T79" fmla="*/ 29 h 60"/>
                    <a:gd name="T80" fmla="*/ 50 w 107"/>
                    <a:gd name="T81" fmla="*/ 30 h 60"/>
                    <a:gd name="T82" fmla="*/ 51 w 107"/>
                    <a:gd name="T83" fmla="*/ 30 h 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7" h="60">
                      <a:moveTo>
                        <a:pt x="106" y="57"/>
                      </a:moveTo>
                      <a:lnTo>
                        <a:pt x="104" y="59"/>
                      </a:lnTo>
                      <a:lnTo>
                        <a:pt x="104" y="57"/>
                      </a:lnTo>
                      <a:lnTo>
                        <a:pt x="106" y="56"/>
                      </a:lnTo>
                      <a:lnTo>
                        <a:pt x="104" y="54"/>
                      </a:lnTo>
                      <a:lnTo>
                        <a:pt x="101" y="53"/>
                      </a:lnTo>
                      <a:lnTo>
                        <a:pt x="99" y="50"/>
                      </a:lnTo>
                      <a:lnTo>
                        <a:pt x="96" y="47"/>
                      </a:lnTo>
                      <a:lnTo>
                        <a:pt x="92" y="44"/>
                      </a:lnTo>
                      <a:lnTo>
                        <a:pt x="88" y="41"/>
                      </a:lnTo>
                      <a:lnTo>
                        <a:pt x="84" y="37"/>
                      </a:lnTo>
                      <a:lnTo>
                        <a:pt x="79" y="34"/>
                      </a:lnTo>
                      <a:lnTo>
                        <a:pt x="75" y="30"/>
                      </a:lnTo>
                      <a:lnTo>
                        <a:pt x="70" y="26"/>
                      </a:lnTo>
                      <a:lnTo>
                        <a:pt x="64" y="23"/>
                      </a:lnTo>
                      <a:lnTo>
                        <a:pt x="59" y="19"/>
                      </a:lnTo>
                      <a:lnTo>
                        <a:pt x="54" y="15"/>
                      </a:lnTo>
                      <a:lnTo>
                        <a:pt x="49" y="12"/>
                      </a:lnTo>
                      <a:lnTo>
                        <a:pt x="44" y="9"/>
                      </a:lnTo>
                      <a:lnTo>
                        <a:pt x="39" y="6"/>
                      </a:lnTo>
                      <a:lnTo>
                        <a:pt x="34" y="4"/>
                      </a:lnTo>
                      <a:lnTo>
                        <a:pt x="29" y="2"/>
                      </a:lnTo>
                      <a:lnTo>
                        <a:pt x="25" y="0"/>
                      </a:lnTo>
                      <a:lnTo>
                        <a:pt x="20" y="0"/>
                      </a:lnTo>
                      <a:lnTo>
                        <a:pt x="16" y="0"/>
                      </a:lnTo>
                      <a:lnTo>
                        <a:pt x="12" y="0"/>
                      </a:lnTo>
                      <a:lnTo>
                        <a:pt x="9" y="1"/>
                      </a:lnTo>
                      <a:lnTo>
                        <a:pt x="6" y="3"/>
                      </a:lnTo>
                      <a:lnTo>
                        <a:pt x="4" y="6"/>
                      </a:lnTo>
                      <a:lnTo>
                        <a:pt x="2" y="10"/>
                      </a:lnTo>
                      <a:lnTo>
                        <a:pt x="1" y="15"/>
                      </a:lnTo>
                      <a:lnTo>
                        <a:pt x="0" y="21"/>
                      </a:lnTo>
                      <a:lnTo>
                        <a:pt x="4" y="21"/>
                      </a:lnTo>
                      <a:lnTo>
                        <a:pt x="4" y="16"/>
                      </a:lnTo>
                      <a:lnTo>
                        <a:pt x="5" y="12"/>
                      </a:lnTo>
                      <a:lnTo>
                        <a:pt x="6" y="9"/>
                      </a:lnTo>
                      <a:lnTo>
                        <a:pt x="8" y="6"/>
                      </a:lnTo>
                      <a:lnTo>
                        <a:pt x="10" y="5"/>
                      </a:lnTo>
                      <a:lnTo>
                        <a:pt x="13" y="4"/>
                      </a:lnTo>
                      <a:lnTo>
                        <a:pt x="16" y="4"/>
                      </a:lnTo>
                      <a:lnTo>
                        <a:pt x="20" y="4"/>
                      </a:lnTo>
                      <a:lnTo>
                        <a:pt x="24" y="5"/>
                      </a:lnTo>
                      <a:lnTo>
                        <a:pt x="29" y="6"/>
                      </a:lnTo>
                      <a:lnTo>
                        <a:pt x="33" y="8"/>
                      </a:lnTo>
                      <a:lnTo>
                        <a:pt x="38" y="10"/>
                      </a:lnTo>
                      <a:lnTo>
                        <a:pt x="43" y="13"/>
                      </a:lnTo>
                      <a:lnTo>
                        <a:pt x="48" y="16"/>
                      </a:lnTo>
                      <a:lnTo>
                        <a:pt x="53" y="19"/>
                      </a:lnTo>
                      <a:lnTo>
                        <a:pt x="58" y="23"/>
                      </a:lnTo>
                      <a:lnTo>
                        <a:pt x="63" y="26"/>
                      </a:lnTo>
                      <a:lnTo>
                        <a:pt x="68" y="30"/>
                      </a:lnTo>
                      <a:lnTo>
                        <a:pt x="73" y="34"/>
                      </a:lnTo>
                      <a:lnTo>
                        <a:pt x="78" y="37"/>
                      </a:lnTo>
                      <a:lnTo>
                        <a:pt x="82" y="41"/>
                      </a:lnTo>
                      <a:lnTo>
                        <a:pt x="86" y="44"/>
                      </a:lnTo>
                      <a:lnTo>
                        <a:pt x="90" y="47"/>
                      </a:lnTo>
                      <a:lnTo>
                        <a:pt x="94" y="51"/>
                      </a:lnTo>
                      <a:lnTo>
                        <a:pt x="97" y="53"/>
                      </a:lnTo>
                      <a:lnTo>
                        <a:pt x="99" y="56"/>
                      </a:lnTo>
                      <a:lnTo>
                        <a:pt x="102" y="58"/>
                      </a:lnTo>
                      <a:lnTo>
                        <a:pt x="104" y="59"/>
                      </a:lnTo>
                      <a:lnTo>
                        <a:pt x="104" y="60"/>
                      </a:lnTo>
                      <a:lnTo>
                        <a:pt x="107" y="60"/>
                      </a:lnTo>
                      <a:lnTo>
                        <a:pt x="107" y="57"/>
                      </a:lnTo>
                      <a:lnTo>
                        <a:pt x="106" y="56"/>
                      </a:lnTo>
                      <a:lnTo>
                        <a:pt x="103" y="57"/>
                      </a:lnTo>
                      <a:lnTo>
                        <a:pt x="106" y="56"/>
                      </a:lnTo>
                      <a:lnTo>
                        <a:pt x="106" y="55"/>
                      </a:lnTo>
                      <a:lnTo>
                        <a:pt x="105" y="55"/>
                      </a:lnTo>
                      <a:lnTo>
                        <a:pt x="104" y="55"/>
                      </a:lnTo>
                      <a:lnTo>
                        <a:pt x="104" y="56"/>
                      </a:lnTo>
                      <a:lnTo>
                        <a:pt x="103" y="56"/>
                      </a:lnTo>
                      <a:lnTo>
                        <a:pt x="103" y="57"/>
                      </a:lnTo>
                      <a:lnTo>
                        <a:pt x="102" y="57"/>
                      </a:lnTo>
                      <a:lnTo>
                        <a:pt x="103" y="58"/>
                      </a:lnTo>
                      <a:lnTo>
                        <a:pt x="104" y="59"/>
                      </a:lnTo>
                      <a:lnTo>
                        <a:pt x="106"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4" name="Freeform 856">
                  <a:extLst>
                    <a:ext uri="{FF2B5EF4-FFF2-40B4-BE49-F238E27FC236}">
                      <a16:creationId xmlns:a16="http://schemas.microsoft.com/office/drawing/2014/main" id="{692A4D22-CCC7-1280-08B3-4FBE6CB5D2F8}"/>
                    </a:ext>
                  </a:extLst>
                </p:cNvPr>
                <p:cNvSpPr>
                  <a:spLocks/>
                </p:cNvSpPr>
                <p:nvPr/>
              </p:nvSpPr>
              <p:spPr bwMode="auto">
                <a:xfrm>
                  <a:off x="673" y="1891"/>
                  <a:ext cx="29" cy="11"/>
                </a:xfrm>
                <a:custGeom>
                  <a:avLst/>
                  <a:gdLst>
                    <a:gd name="T0" fmla="*/ 2 w 42"/>
                    <a:gd name="T1" fmla="*/ 6 h 15"/>
                    <a:gd name="T2" fmla="*/ 2 w 42"/>
                    <a:gd name="T3" fmla="*/ 7 h 15"/>
                    <a:gd name="T4" fmla="*/ 2 w 42"/>
                    <a:gd name="T5" fmla="*/ 7 h 15"/>
                    <a:gd name="T6" fmla="*/ 3 w 42"/>
                    <a:gd name="T7" fmla="*/ 6 h 15"/>
                    <a:gd name="T8" fmla="*/ 4 w 42"/>
                    <a:gd name="T9" fmla="*/ 6 h 15"/>
                    <a:gd name="T10" fmla="*/ 6 w 42"/>
                    <a:gd name="T11" fmla="*/ 6 h 15"/>
                    <a:gd name="T12" fmla="*/ 8 w 42"/>
                    <a:gd name="T13" fmla="*/ 6 h 15"/>
                    <a:gd name="T14" fmla="*/ 10 w 42"/>
                    <a:gd name="T15" fmla="*/ 5 h 15"/>
                    <a:gd name="T16" fmla="*/ 11 w 42"/>
                    <a:gd name="T17" fmla="*/ 5 h 15"/>
                    <a:gd name="T18" fmla="*/ 13 w 42"/>
                    <a:gd name="T19" fmla="*/ 5 h 15"/>
                    <a:gd name="T20" fmla="*/ 15 w 42"/>
                    <a:gd name="T21" fmla="*/ 5 h 15"/>
                    <a:gd name="T22" fmla="*/ 16 w 42"/>
                    <a:gd name="T23" fmla="*/ 4 h 15"/>
                    <a:gd name="T24" fmla="*/ 18 w 42"/>
                    <a:gd name="T25" fmla="*/ 4 h 15"/>
                    <a:gd name="T26" fmla="*/ 19 w 42"/>
                    <a:gd name="T27" fmla="*/ 3 h 15"/>
                    <a:gd name="T28" fmla="*/ 20 w 42"/>
                    <a:gd name="T29" fmla="*/ 1 h 15"/>
                    <a:gd name="T30" fmla="*/ 20 w 42"/>
                    <a:gd name="T31" fmla="*/ 0 h 15"/>
                    <a:gd name="T32" fmla="*/ 18 w 42"/>
                    <a:gd name="T33" fmla="*/ 1 h 15"/>
                    <a:gd name="T34" fmla="*/ 18 w 42"/>
                    <a:gd name="T35" fmla="*/ 1 h 15"/>
                    <a:gd name="T36" fmla="*/ 18 w 42"/>
                    <a:gd name="T37" fmla="*/ 1 h 15"/>
                    <a:gd name="T38" fmla="*/ 17 w 42"/>
                    <a:gd name="T39" fmla="*/ 2 h 15"/>
                    <a:gd name="T40" fmla="*/ 15 w 42"/>
                    <a:gd name="T41" fmla="*/ 3 h 15"/>
                    <a:gd name="T42" fmla="*/ 13 w 42"/>
                    <a:gd name="T43" fmla="*/ 3 h 15"/>
                    <a:gd name="T44" fmla="*/ 12 w 42"/>
                    <a:gd name="T45" fmla="*/ 3 h 15"/>
                    <a:gd name="T46" fmla="*/ 10 w 42"/>
                    <a:gd name="T47" fmla="*/ 3 h 15"/>
                    <a:gd name="T48" fmla="*/ 8 w 42"/>
                    <a:gd name="T49" fmla="*/ 3 h 15"/>
                    <a:gd name="T50" fmla="*/ 6 w 42"/>
                    <a:gd name="T51" fmla="*/ 4 h 15"/>
                    <a:gd name="T52" fmla="*/ 5 w 42"/>
                    <a:gd name="T53" fmla="*/ 4 h 15"/>
                    <a:gd name="T54" fmla="*/ 3 w 42"/>
                    <a:gd name="T55" fmla="*/ 4 h 15"/>
                    <a:gd name="T56" fmla="*/ 2 w 42"/>
                    <a:gd name="T57" fmla="*/ 4 h 15"/>
                    <a:gd name="T58" fmla="*/ 1 w 42"/>
                    <a:gd name="T59" fmla="*/ 4 h 15"/>
                    <a:gd name="T60" fmla="*/ 1 w 42"/>
                    <a:gd name="T61" fmla="*/ 5 h 15"/>
                    <a:gd name="T62" fmla="*/ 1 w 42"/>
                    <a:gd name="T63" fmla="*/ 7 h 15"/>
                    <a:gd name="T64" fmla="*/ 1 w 42"/>
                    <a:gd name="T65" fmla="*/ 8 h 15"/>
                    <a:gd name="T66" fmla="*/ 1 w 42"/>
                    <a:gd name="T67" fmla="*/ 8 h 15"/>
                    <a:gd name="T68" fmla="*/ 1 w 42"/>
                    <a:gd name="T69" fmla="*/ 8 h 15"/>
                    <a:gd name="T70" fmla="*/ 2 w 42"/>
                    <a:gd name="T71" fmla="*/ 8 h 15"/>
                    <a:gd name="T72" fmla="*/ 2 w 42"/>
                    <a:gd name="T73" fmla="*/ 7 h 15"/>
                    <a:gd name="T74" fmla="*/ 2 w 42"/>
                    <a:gd name="T75" fmla="*/ 7 h 15"/>
                    <a:gd name="T76" fmla="*/ 2 w 42"/>
                    <a:gd name="T77" fmla="*/ 7 h 15"/>
                    <a:gd name="T78" fmla="*/ 2 w 42"/>
                    <a:gd name="T79" fmla="*/ 6 h 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 h="15">
                      <a:moveTo>
                        <a:pt x="4" y="11"/>
                      </a:moveTo>
                      <a:lnTo>
                        <a:pt x="4" y="11"/>
                      </a:lnTo>
                      <a:lnTo>
                        <a:pt x="4" y="12"/>
                      </a:lnTo>
                      <a:lnTo>
                        <a:pt x="5" y="12"/>
                      </a:lnTo>
                      <a:lnTo>
                        <a:pt x="5" y="11"/>
                      </a:lnTo>
                      <a:lnTo>
                        <a:pt x="6" y="11"/>
                      </a:lnTo>
                      <a:lnTo>
                        <a:pt x="8" y="11"/>
                      </a:lnTo>
                      <a:lnTo>
                        <a:pt x="9" y="11"/>
                      </a:lnTo>
                      <a:lnTo>
                        <a:pt x="10" y="11"/>
                      </a:lnTo>
                      <a:lnTo>
                        <a:pt x="12" y="11"/>
                      </a:lnTo>
                      <a:lnTo>
                        <a:pt x="13" y="11"/>
                      </a:lnTo>
                      <a:lnTo>
                        <a:pt x="16" y="11"/>
                      </a:lnTo>
                      <a:lnTo>
                        <a:pt x="17" y="10"/>
                      </a:lnTo>
                      <a:lnTo>
                        <a:pt x="20" y="10"/>
                      </a:lnTo>
                      <a:lnTo>
                        <a:pt x="21" y="10"/>
                      </a:lnTo>
                      <a:lnTo>
                        <a:pt x="23" y="10"/>
                      </a:lnTo>
                      <a:lnTo>
                        <a:pt x="25" y="10"/>
                      </a:lnTo>
                      <a:lnTo>
                        <a:pt x="27" y="10"/>
                      </a:lnTo>
                      <a:lnTo>
                        <a:pt x="29" y="9"/>
                      </a:lnTo>
                      <a:lnTo>
                        <a:pt x="31" y="9"/>
                      </a:lnTo>
                      <a:lnTo>
                        <a:pt x="32" y="9"/>
                      </a:lnTo>
                      <a:lnTo>
                        <a:pt x="34" y="8"/>
                      </a:lnTo>
                      <a:lnTo>
                        <a:pt x="35" y="8"/>
                      </a:lnTo>
                      <a:lnTo>
                        <a:pt x="37" y="7"/>
                      </a:lnTo>
                      <a:lnTo>
                        <a:pt x="38" y="7"/>
                      </a:lnTo>
                      <a:lnTo>
                        <a:pt x="40" y="6"/>
                      </a:lnTo>
                      <a:lnTo>
                        <a:pt x="41" y="5"/>
                      </a:lnTo>
                      <a:lnTo>
                        <a:pt x="42" y="3"/>
                      </a:lnTo>
                      <a:lnTo>
                        <a:pt x="42" y="2"/>
                      </a:lnTo>
                      <a:lnTo>
                        <a:pt x="42" y="0"/>
                      </a:lnTo>
                      <a:lnTo>
                        <a:pt x="39" y="0"/>
                      </a:lnTo>
                      <a:lnTo>
                        <a:pt x="38" y="1"/>
                      </a:lnTo>
                      <a:lnTo>
                        <a:pt x="38" y="2"/>
                      </a:lnTo>
                      <a:lnTo>
                        <a:pt x="37" y="3"/>
                      </a:lnTo>
                      <a:lnTo>
                        <a:pt x="36" y="3"/>
                      </a:lnTo>
                      <a:lnTo>
                        <a:pt x="35" y="4"/>
                      </a:lnTo>
                      <a:lnTo>
                        <a:pt x="33" y="4"/>
                      </a:lnTo>
                      <a:lnTo>
                        <a:pt x="32" y="5"/>
                      </a:lnTo>
                      <a:lnTo>
                        <a:pt x="30" y="5"/>
                      </a:lnTo>
                      <a:lnTo>
                        <a:pt x="28" y="5"/>
                      </a:lnTo>
                      <a:lnTo>
                        <a:pt x="27" y="6"/>
                      </a:lnTo>
                      <a:lnTo>
                        <a:pt x="25" y="6"/>
                      </a:lnTo>
                      <a:lnTo>
                        <a:pt x="23" y="6"/>
                      </a:lnTo>
                      <a:lnTo>
                        <a:pt x="21" y="6"/>
                      </a:lnTo>
                      <a:lnTo>
                        <a:pt x="19" y="6"/>
                      </a:lnTo>
                      <a:lnTo>
                        <a:pt x="17" y="6"/>
                      </a:lnTo>
                      <a:lnTo>
                        <a:pt x="16" y="7"/>
                      </a:lnTo>
                      <a:lnTo>
                        <a:pt x="13" y="7"/>
                      </a:lnTo>
                      <a:lnTo>
                        <a:pt x="12" y="7"/>
                      </a:lnTo>
                      <a:lnTo>
                        <a:pt x="10" y="7"/>
                      </a:lnTo>
                      <a:lnTo>
                        <a:pt x="8" y="7"/>
                      </a:lnTo>
                      <a:lnTo>
                        <a:pt x="7" y="7"/>
                      </a:lnTo>
                      <a:lnTo>
                        <a:pt x="5" y="7"/>
                      </a:lnTo>
                      <a:lnTo>
                        <a:pt x="3" y="8"/>
                      </a:lnTo>
                      <a:lnTo>
                        <a:pt x="2" y="8"/>
                      </a:lnTo>
                      <a:lnTo>
                        <a:pt x="2" y="9"/>
                      </a:lnTo>
                      <a:lnTo>
                        <a:pt x="1" y="10"/>
                      </a:lnTo>
                      <a:lnTo>
                        <a:pt x="0" y="12"/>
                      </a:lnTo>
                      <a:lnTo>
                        <a:pt x="1" y="13"/>
                      </a:lnTo>
                      <a:lnTo>
                        <a:pt x="2" y="14"/>
                      </a:lnTo>
                      <a:lnTo>
                        <a:pt x="2" y="15"/>
                      </a:lnTo>
                      <a:lnTo>
                        <a:pt x="3" y="15"/>
                      </a:lnTo>
                      <a:lnTo>
                        <a:pt x="4" y="15"/>
                      </a:lnTo>
                      <a:lnTo>
                        <a:pt x="4" y="14"/>
                      </a:lnTo>
                      <a:lnTo>
                        <a:pt x="5" y="14"/>
                      </a:lnTo>
                      <a:lnTo>
                        <a:pt x="5" y="13"/>
                      </a:lnTo>
                      <a:lnTo>
                        <a:pt x="5" y="12"/>
                      </a:lnTo>
                      <a:lnTo>
                        <a:pt x="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5" name="Freeform 857">
                  <a:extLst>
                    <a:ext uri="{FF2B5EF4-FFF2-40B4-BE49-F238E27FC236}">
                      <a16:creationId xmlns:a16="http://schemas.microsoft.com/office/drawing/2014/main" id="{62FB2E5E-A6F4-607A-607C-9D73C0F7B0D6}"/>
                    </a:ext>
                  </a:extLst>
                </p:cNvPr>
                <p:cNvSpPr>
                  <a:spLocks/>
                </p:cNvSpPr>
                <p:nvPr/>
              </p:nvSpPr>
              <p:spPr bwMode="auto">
                <a:xfrm>
                  <a:off x="674" y="1899"/>
                  <a:ext cx="15" cy="19"/>
                </a:xfrm>
                <a:custGeom>
                  <a:avLst/>
                  <a:gdLst>
                    <a:gd name="T0" fmla="*/ 10 w 22"/>
                    <a:gd name="T1" fmla="*/ 11 h 27"/>
                    <a:gd name="T2" fmla="*/ 1 w 22"/>
                    <a:gd name="T3" fmla="*/ 0 h 27"/>
                    <a:gd name="T4" fmla="*/ 0 w 22"/>
                    <a:gd name="T5" fmla="*/ 1 h 27"/>
                    <a:gd name="T6" fmla="*/ 10 w 22"/>
                    <a:gd name="T7" fmla="*/ 13 h 27"/>
                    <a:gd name="T8" fmla="*/ 10 w 22"/>
                    <a:gd name="T9" fmla="*/ 13 h 27"/>
                    <a:gd name="T10" fmla="*/ 10 w 22"/>
                    <a:gd name="T11" fmla="*/ 13 h 27"/>
                    <a:gd name="T12" fmla="*/ 10 w 22"/>
                    <a:gd name="T13" fmla="*/ 13 h 27"/>
                    <a:gd name="T14" fmla="*/ 10 w 22"/>
                    <a:gd name="T15" fmla="*/ 13 h 27"/>
                    <a:gd name="T16" fmla="*/ 10 w 22"/>
                    <a:gd name="T17" fmla="*/ 13 h 27"/>
                    <a:gd name="T18" fmla="*/ 10 w 22"/>
                    <a:gd name="T19" fmla="*/ 13 h 27"/>
                    <a:gd name="T20" fmla="*/ 10 w 22"/>
                    <a:gd name="T21" fmla="*/ 13 h 27"/>
                    <a:gd name="T22" fmla="*/ 10 w 22"/>
                    <a:gd name="T23" fmla="*/ 13 h 27"/>
                    <a:gd name="T24" fmla="*/ 10 w 22"/>
                    <a:gd name="T25" fmla="*/ 13 h 27"/>
                    <a:gd name="T26" fmla="*/ 10 w 22"/>
                    <a:gd name="T27" fmla="*/ 13 h 27"/>
                    <a:gd name="T28" fmla="*/ 10 w 22"/>
                    <a:gd name="T29" fmla="*/ 13 h 27"/>
                    <a:gd name="T30" fmla="*/ 10 w 22"/>
                    <a:gd name="T31" fmla="*/ 13 h 27"/>
                    <a:gd name="T32" fmla="*/ 10 w 22"/>
                    <a:gd name="T33" fmla="*/ 12 h 27"/>
                    <a:gd name="T34" fmla="*/ 10 w 22"/>
                    <a:gd name="T35" fmla="*/ 12 h 27"/>
                    <a:gd name="T36" fmla="*/ 10 w 22"/>
                    <a:gd name="T37" fmla="*/ 12 h 27"/>
                    <a:gd name="T38" fmla="*/ 10 w 22"/>
                    <a:gd name="T39" fmla="*/ 12 h 27"/>
                    <a:gd name="T40" fmla="*/ 10 w 22"/>
                    <a:gd name="T41" fmla="*/ 11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 h="27">
                      <a:moveTo>
                        <a:pt x="22" y="23"/>
                      </a:moveTo>
                      <a:lnTo>
                        <a:pt x="2" y="0"/>
                      </a:lnTo>
                      <a:lnTo>
                        <a:pt x="0" y="3"/>
                      </a:lnTo>
                      <a:lnTo>
                        <a:pt x="20" y="26"/>
                      </a:lnTo>
                      <a:lnTo>
                        <a:pt x="21" y="26"/>
                      </a:lnTo>
                      <a:lnTo>
                        <a:pt x="21" y="27"/>
                      </a:lnTo>
                      <a:lnTo>
                        <a:pt x="21" y="26"/>
                      </a:lnTo>
                      <a:lnTo>
                        <a:pt x="22" y="26"/>
                      </a:lnTo>
                      <a:lnTo>
                        <a:pt x="22" y="25"/>
                      </a:lnTo>
                      <a:lnTo>
                        <a:pt x="22" y="24"/>
                      </a:lnTo>
                      <a:lnTo>
                        <a:pt x="2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6" name="Freeform 858">
                  <a:extLst>
                    <a:ext uri="{FF2B5EF4-FFF2-40B4-BE49-F238E27FC236}">
                      <a16:creationId xmlns:a16="http://schemas.microsoft.com/office/drawing/2014/main" id="{AE2228C6-785B-7AC7-95E0-B62640AF2D06}"/>
                    </a:ext>
                  </a:extLst>
                </p:cNvPr>
                <p:cNvSpPr>
                  <a:spLocks/>
                </p:cNvSpPr>
                <p:nvPr/>
              </p:nvSpPr>
              <p:spPr bwMode="auto">
                <a:xfrm>
                  <a:off x="673" y="1916"/>
                  <a:ext cx="17" cy="24"/>
                </a:xfrm>
                <a:custGeom>
                  <a:avLst/>
                  <a:gdLst>
                    <a:gd name="T0" fmla="*/ 1 w 25"/>
                    <a:gd name="T1" fmla="*/ 17 h 33"/>
                    <a:gd name="T2" fmla="*/ 1 w 25"/>
                    <a:gd name="T3" fmla="*/ 17 h 33"/>
                    <a:gd name="T4" fmla="*/ 2 w 25"/>
                    <a:gd name="T5" fmla="*/ 17 h 33"/>
                    <a:gd name="T6" fmla="*/ 3 w 25"/>
                    <a:gd name="T7" fmla="*/ 16 h 33"/>
                    <a:gd name="T8" fmla="*/ 3 w 25"/>
                    <a:gd name="T9" fmla="*/ 15 h 33"/>
                    <a:gd name="T10" fmla="*/ 5 w 25"/>
                    <a:gd name="T11" fmla="*/ 14 h 33"/>
                    <a:gd name="T12" fmla="*/ 5 w 25"/>
                    <a:gd name="T13" fmla="*/ 12 h 33"/>
                    <a:gd name="T14" fmla="*/ 7 w 25"/>
                    <a:gd name="T15" fmla="*/ 12 h 33"/>
                    <a:gd name="T16" fmla="*/ 8 w 25"/>
                    <a:gd name="T17" fmla="*/ 10 h 33"/>
                    <a:gd name="T18" fmla="*/ 9 w 25"/>
                    <a:gd name="T19" fmla="*/ 9 h 33"/>
                    <a:gd name="T20" fmla="*/ 10 w 25"/>
                    <a:gd name="T21" fmla="*/ 7 h 33"/>
                    <a:gd name="T22" fmla="*/ 10 w 25"/>
                    <a:gd name="T23" fmla="*/ 7 h 33"/>
                    <a:gd name="T24" fmla="*/ 11 w 25"/>
                    <a:gd name="T25" fmla="*/ 5 h 33"/>
                    <a:gd name="T26" fmla="*/ 11 w 25"/>
                    <a:gd name="T27" fmla="*/ 3 h 33"/>
                    <a:gd name="T28" fmla="*/ 12 w 25"/>
                    <a:gd name="T29" fmla="*/ 2 h 33"/>
                    <a:gd name="T30" fmla="*/ 11 w 25"/>
                    <a:gd name="T31" fmla="*/ 1 h 33"/>
                    <a:gd name="T32" fmla="*/ 10 w 25"/>
                    <a:gd name="T33" fmla="*/ 1 h 33"/>
                    <a:gd name="T34" fmla="*/ 10 w 25"/>
                    <a:gd name="T35" fmla="*/ 2 h 33"/>
                    <a:gd name="T36" fmla="*/ 10 w 25"/>
                    <a:gd name="T37" fmla="*/ 3 h 33"/>
                    <a:gd name="T38" fmla="*/ 10 w 25"/>
                    <a:gd name="T39" fmla="*/ 3 h 33"/>
                    <a:gd name="T40" fmla="*/ 10 w 25"/>
                    <a:gd name="T41" fmla="*/ 4 h 33"/>
                    <a:gd name="T42" fmla="*/ 9 w 25"/>
                    <a:gd name="T43" fmla="*/ 5 h 33"/>
                    <a:gd name="T44" fmla="*/ 8 w 25"/>
                    <a:gd name="T45" fmla="*/ 7 h 33"/>
                    <a:gd name="T46" fmla="*/ 7 w 25"/>
                    <a:gd name="T47" fmla="*/ 8 h 33"/>
                    <a:gd name="T48" fmla="*/ 6 w 25"/>
                    <a:gd name="T49" fmla="*/ 9 h 33"/>
                    <a:gd name="T50" fmla="*/ 5 w 25"/>
                    <a:gd name="T51" fmla="*/ 11 h 33"/>
                    <a:gd name="T52" fmla="*/ 4 w 25"/>
                    <a:gd name="T53" fmla="*/ 12 h 33"/>
                    <a:gd name="T54" fmla="*/ 3 w 25"/>
                    <a:gd name="T55" fmla="*/ 12 h 33"/>
                    <a:gd name="T56" fmla="*/ 2 w 25"/>
                    <a:gd name="T57" fmla="*/ 13 h 33"/>
                    <a:gd name="T58" fmla="*/ 1 w 25"/>
                    <a:gd name="T59" fmla="*/ 14 h 33"/>
                    <a:gd name="T60" fmla="*/ 1 w 25"/>
                    <a:gd name="T61" fmla="*/ 15 h 33"/>
                    <a:gd name="T62" fmla="*/ 1 w 25"/>
                    <a:gd name="T63" fmla="*/ 15 h 33"/>
                    <a:gd name="T64" fmla="*/ 1 w 25"/>
                    <a:gd name="T65" fmla="*/ 15 h 33"/>
                    <a:gd name="T66" fmla="*/ 1 w 25"/>
                    <a:gd name="T67" fmla="*/ 15 h 33"/>
                    <a:gd name="T68" fmla="*/ 1 w 25"/>
                    <a:gd name="T69" fmla="*/ 16 h 33"/>
                    <a:gd name="T70" fmla="*/ 0 w 25"/>
                    <a:gd name="T71" fmla="*/ 17 h 33"/>
                    <a:gd name="T72" fmla="*/ 1 w 25"/>
                    <a:gd name="T73" fmla="*/ 17 h 33"/>
                    <a:gd name="T74" fmla="*/ 1 w 25"/>
                    <a:gd name="T75" fmla="*/ 17 h 33"/>
                    <a:gd name="T76" fmla="*/ 1 w 25"/>
                    <a:gd name="T77" fmla="*/ 17 h 33"/>
                    <a:gd name="T78" fmla="*/ 1 w 25"/>
                    <a:gd name="T79" fmla="*/ 17 h 33"/>
                    <a:gd name="T80" fmla="*/ 1 w 25"/>
                    <a:gd name="T81" fmla="*/ 17 h 33"/>
                    <a:gd name="T82" fmla="*/ 1 w 25"/>
                    <a:gd name="T83" fmla="*/ 17 h 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 h="33">
                      <a:moveTo>
                        <a:pt x="1" y="32"/>
                      </a:moveTo>
                      <a:lnTo>
                        <a:pt x="3" y="32"/>
                      </a:lnTo>
                      <a:lnTo>
                        <a:pt x="4" y="31"/>
                      </a:lnTo>
                      <a:lnTo>
                        <a:pt x="5" y="31"/>
                      </a:lnTo>
                      <a:lnTo>
                        <a:pt x="6" y="31"/>
                      </a:lnTo>
                      <a:lnTo>
                        <a:pt x="6" y="30"/>
                      </a:lnTo>
                      <a:lnTo>
                        <a:pt x="7" y="29"/>
                      </a:lnTo>
                      <a:lnTo>
                        <a:pt x="8" y="28"/>
                      </a:lnTo>
                      <a:lnTo>
                        <a:pt x="9" y="27"/>
                      </a:lnTo>
                      <a:lnTo>
                        <a:pt x="10" y="26"/>
                      </a:lnTo>
                      <a:lnTo>
                        <a:pt x="11" y="25"/>
                      </a:lnTo>
                      <a:lnTo>
                        <a:pt x="12" y="24"/>
                      </a:lnTo>
                      <a:lnTo>
                        <a:pt x="13" y="23"/>
                      </a:lnTo>
                      <a:lnTo>
                        <a:pt x="14" y="22"/>
                      </a:lnTo>
                      <a:lnTo>
                        <a:pt x="15" y="21"/>
                      </a:lnTo>
                      <a:lnTo>
                        <a:pt x="17" y="19"/>
                      </a:lnTo>
                      <a:lnTo>
                        <a:pt x="18" y="18"/>
                      </a:lnTo>
                      <a:lnTo>
                        <a:pt x="19" y="17"/>
                      </a:lnTo>
                      <a:lnTo>
                        <a:pt x="20" y="16"/>
                      </a:lnTo>
                      <a:lnTo>
                        <a:pt x="21" y="14"/>
                      </a:lnTo>
                      <a:lnTo>
                        <a:pt x="22" y="13"/>
                      </a:lnTo>
                      <a:lnTo>
                        <a:pt x="22" y="12"/>
                      </a:lnTo>
                      <a:lnTo>
                        <a:pt x="23" y="10"/>
                      </a:lnTo>
                      <a:lnTo>
                        <a:pt x="23" y="9"/>
                      </a:lnTo>
                      <a:lnTo>
                        <a:pt x="24" y="8"/>
                      </a:lnTo>
                      <a:lnTo>
                        <a:pt x="24" y="6"/>
                      </a:lnTo>
                      <a:lnTo>
                        <a:pt x="25" y="5"/>
                      </a:lnTo>
                      <a:lnTo>
                        <a:pt x="25" y="4"/>
                      </a:lnTo>
                      <a:lnTo>
                        <a:pt x="24" y="2"/>
                      </a:lnTo>
                      <a:lnTo>
                        <a:pt x="23" y="1"/>
                      </a:lnTo>
                      <a:lnTo>
                        <a:pt x="23" y="0"/>
                      </a:lnTo>
                      <a:lnTo>
                        <a:pt x="21" y="3"/>
                      </a:lnTo>
                      <a:lnTo>
                        <a:pt x="22" y="4"/>
                      </a:lnTo>
                      <a:lnTo>
                        <a:pt x="22" y="5"/>
                      </a:lnTo>
                      <a:lnTo>
                        <a:pt x="22" y="6"/>
                      </a:lnTo>
                      <a:lnTo>
                        <a:pt x="21" y="6"/>
                      </a:lnTo>
                      <a:lnTo>
                        <a:pt x="21" y="7"/>
                      </a:lnTo>
                      <a:lnTo>
                        <a:pt x="20" y="8"/>
                      </a:lnTo>
                      <a:lnTo>
                        <a:pt x="20" y="9"/>
                      </a:lnTo>
                      <a:lnTo>
                        <a:pt x="19" y="10"/>
                      </a:lnTo>
                      <a:lnTo>
                        <a:pt x="18" y="12"/>
                      </a:lnTo>
                      <a:lnTo>
                        <a:pt x="17" y="13"/>
                      </a:lnTo>
                      <a:lnTo>
                        <a:pt x="17" y="14"/>
                      </a:lnTo>
                      <a:lnTo>
                        <a:pt x="15" y="15"/>
                      </a:lnTo>
                      <a:lnTo>
                        <a:pt x="14" y="16"/>
                      </a:lnTo>
                      <a:lnTo>
                        <a:pt x="13" y="17"/>
                      </a:lnTo>
                      <a:lnTo>
                        <a:pt x="13" y="18"/>
                      </a:lnTo>
                      <a:lnTo>
                        <a:pt x="11" y="20"/>
                      </a:lnTo>
                      <a:lnTo>
                        <a:pt x="10" y="21"/>
                      </a:lnTo>
                      <a:lnTo>
                        <a:pt x="9" y="22"/>
                      </a:lnTo>
                      <a:lnTo>
                        <a:pt x="8" y="22"/>
                      </a:lnTo>
                      <a:lnTo>
                        <a:pt x="7" y="24"/>
                      </a:lnTo>
                      <a:lnTo>
                        <a:pt x="6" y="25"/>
                      </a:lnTo>
                      <a:lnTo>
                        <a:pt x="5" y="25"/>
                      </a:lnTo>
                      <a:lnTo>
                        <a:pt x="5" y="26"/>
                      </a:lnTo>
                      <a:lnTo>
                        <a:pt x="3" y="26"/>
                      </a:lnTo>
                      <a:lnTo>
                        <a:pt x="3" y="27"/>
                      </a:lnTo>
                      <a:lnTo>
                        <a:pt x="2" y="28"/>
                      </a:lnTo>
                      <a:lnTo>
                        <a:pt x="2" y="29"/>
                      </a:lnTo>
                      <a:lnTo>
                        <a:pt x="3" y="29"/>
                      </a:lnTo>
                      <a:lnTo>
                        <a:pt x="2" y="29"/>
                      </a:lnTo>
                      <a:lnTo>
                        <a:pt x="1" y="29"/>
                      </a:lnTo>
                      <a:lnTo>
                        <a:pt x="1" y="30"/>
                      </a:lnTo>
                      <a:lnTo>
                        <a:pt x="1" y="31"/>
                      </a:lnTo>
                      <a:lnTo>
                        <a:pt x="0" y="31"/>
                      </a:lnTo>
                      <a:lnTo>
                        <a:pt x="1" y="31"/>
                      </a:lnTo>
                      <a:lnTo>
                        <a:pt x="1" y="32"/>
                      </a:lnTo>
                      <a:lnTo>
                        <a:pt x="2" y="32"/>
                      </a:lnTo>
                      <a:lnTo>
                        <a:pt x="2" y="33"/>
                      </a:lnTo>
                      <a:lnTo>
                        <a:pt x="3" y="32"/>
                      </a:lnTo>
                      <a:lnTo>
                        <a:pt x="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7" name="Freeform 859">
                  <a:extLst>
                    <a:ext uri="{FF2B5EF4-FFF2-40B4-BE49-F238E27FC236}">
                      <a16:creationId xmlns:a16="http://schemas.microsoft.com/office/drawing/2014/main" id="{395C8166-A3D0-733D-5563-005CB7B813B4}"/>
                    </a:ext>
                  </a:extLst>
                </p:cNvPr>
                <p:cNvSpPr>
                  <a:spLocks/>
                </p:cNvSpPr>
                <p:nvPr/>
              </p:nvSpPr>
              <p:spPr bwMode="auto">
                <a:xfrm>
                  <a:off x="622" y="1880"/>
                  <a:ext cx="54" cy="59"/>
                </a:xfrm>
                <a:custGeom>
                  <a:avLst/>
                  <a:gdLst>
                    <a:gd name="T0" fmla="*/ 1 w 77"/>
                    <a:gd name="T1" fmla="*/ 21 h 83"/>
                    <a:gd name="T2" fmla="*/ 7 w 77"/>
                    <a:gd name="T3" fmla="*/ 15 h 83"/>
                    <a:gd name="T4" fmla="*/ 12 w 77"/>
                    <a:gd name="T5" fmla="*/ 9 h 83"/>
                    <a:gd name="T6" fmla="*/ 15 w 77"/>
                    <a:gd name="T7" fmla="*/ 6 h 83"/>
                    <a:gd name="T8" fmla="*/ 18 w 77"/>
                    <a:gd name="T9" fmla="*/ 3 h 83"/>
                    <a:gd name="T10" fmla="*/ 20 w 77"/>
                    <a:gd name="T11" fmla="*/ 3 h 83"/>
                    <a:gd name="T12" fmla="*/ 22 w 77"/>
                    <a:gd name="T13" fmla="*/ 3 h 83"/>
                    <a:gd name="T14" fmla="*/ 22 w 77"/>
                    <a:gd name="T15" fmla="*/ 3 h 83"/>
                    <a:gd name="T16" fmla="*/ 24 w 77"/>
                    <a:gd name="T17" fmla="*/ 5 h 83"/>
                    <a:gd name="T18" fmla="*/ 24 w 77"/>
                    <a:gd name="T19" fmla="*/ 8 h 83"/>
                    <a:gd name="T20" fmla="*/ 25 w 77"/>
                    <a:gd name="T21" fmla="*/ 11 h 83"/>
                    <a:gd name="T22" fmla="*/ 27 w 77"/>
                    <a:gd name="T23" fmla="*/ 16 h 83"/>
                    <a:gd name="T24" fmla="*/ 27 w 77"/>
                    <a:gd name="T25" fmla="*/ 21 h 83"/>
                    <a:gd name="T26" fmla="*/ 29 w 77"/>
                    <a:gd name="T27" fmla="*/ 26 h 83"/>
                    <a:gd name="T28" fmla="*/ 31 w 77"/>
                    <a:gd name="T29" fmla="*/ 31 h 83"/>
                    <a:gd name="T30" fmla="*/ 34 w 77"/>
                    <a:gd name="T31" fmla="*/ 36 h 83"/>
                    <a:gd name="T32" fmla="*/ 37 w 77"/>
                    <a:gd name="T33" fmla="*/ 42 h 83"/>
                    <a:gd name="T34" fmla="*/ 36 w 77"/>
                    <a:gd name="T35" fmla="*/ 38 h 83"/>
                    <a:gd name="T36" fmla="*/ 34 w 77"/>
                    <a:gd name="T37" fmla="*/ 33 h 83"/>
                    <a:gd name="T38" fmla="*/ 32 w 77"/>
                    <a:gd name="T39" fmla="*/ 27 h 83"/>
                    <a:gd name="T40" fmla="*/ 29 w 77"/>
                    <a:gd name="T41" fmla="*/ 22 h 83"/>
                    <a:gd name="T42" fmla="*/ 29 w 77"/>
                    <a:gd name="T43" fmla="*/ 18 h 83"/>
                    <a:gd name="T44" fmla="*/ 27 w 77"/>
                    <a:gd name="T45" fmla="*/ 13 h 83"/>
                    <a:gd name="T46" fmla="*/ 27 w 77"/>
                    <a:gd name="T47" fmla="*/ 9 h 83"/>
                    <a:gd name="T48" fmla="*/ 25 w 77"/>
                    <a:gd name="T49" fmla="*/ 6 h 83"/>
                    <a:gd name="T50" fmla="*/ 24 w 77"/>
                    <a:gd name="T51" fmla="*/ 3 h 83"/>
                    <a:gd name="T52" fmla="*/ 22 w 77"/>
                    <a:gd name="T53" fmla="*/ 1 h 83"/>
                    <a:gd name="T54" fmla="*/ 21 w 77"/>
                    <a:gd name="T55" fmla="*/ 0 h 83"/>
                    <a:gd name="T56" fmla="*/ 19 w 77"/>
                    <a:gd name="T57" fmla="*/ 1 h 83"/>
                    <a:gd name="T58" fmla="*/ 15 w 77"/>
                    <a:gd name="T59" fmla="*/ 3 h 83"/>
                    <a:gd name="T60" fmla="*/ 13 w 77"/>
                    <a:gd name="T61" fmla="*/ 6 h 83"/>
                    <a:gd name="T62" fmla="*/ 8 w 77"/>
                    <a:gd name="T63" fmla="*/ 10 h 83"/>
                    <a:gd name="T64" fmla="*/ 3 w 77"/>
                    <a:gd name="T65" fmla="*/ 16 h 83"/>
                    <a:gd name="T66" fmla="*/ 1 w 77"/>
                    <a:gd name="T67" fmla="*/ 22 h 83"/>
                    <a:gd name="T68" fmla="*/ 0 w 77"/>
                    <a:gd name="T69" fmla="*/ 20 h 83"/>
                    <a:gd name="T70" fmla="*/ 0 w 77"/>
                    <a:gd name="T71" fmla="*/ 21 h 83"/>
                    <a:gd name="T72" fmla="*/ 0 w 77"/>
                    <a:gd name="T73" fmla="*/ 21 h 83"/>
                    <a:gd name="T74" fmla="*/ 1 w 77"/>
                    <a:gd name="T75" fmla="*/ 21 h 83"/>
                    <a:gd name="T76" fmla="*/ 1 w 77"/>
                    <a:gd name="T77" fmla="*/ 22 h 83"/>
                    <a:gd name="T78" fmla="*/ 1 w 77"/>
                    <a:gd name="T79" fmla="*/ 22 h 83"/>
                    <a:gd name="T80" fmla="*/ 1 w 77"/>
                    <a:gd name="T81" fmla="*/ 22 h 83"/>
                    <a:gd name="T82" fmla="*/ 1 w 77"/>
                    <a:gd name="T83" fmla="*/ 20 h 8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7" h="83">
                      <a:moveTo>
                        <a:pt x="1" y="39"/>
                      </a:moveTo>
                      <a:lnTo>
                        <a:pt x="3" y="42"/>
                      </a:lnTo>
                      <a:lnTo>
                        <a:pt x="9" y="35"/>
                      </a:lnTo>
                      <a:lnTo>
                        <a:pt x="14" y="29"/>
                      </a:lnTo>
                      <a:lnTo>
                        <a:pt x="19" y="23"/>
                      </a:lnTo>
                      <a:lnTo>
                        <a:pt x="24" y="18"/>
                      </a:lnTo>
                      <a:lnTo>
                        <a:pt x="27" y="14"/>
                      </a:lnTo>
                      <a:lnTo>
                        <a:pt x="31" y="11"/>
                      </a:lnTo>
                      <a:lnTo>
                        <a:pt x="34" y="8"/>
                      </a:lnTo>
                      <a:lnTo>
                        <a:pt x="36" y="6"/>
                      </a:lnTo>
                      <a:lnTo>
                        <a:pt x="39" y="5"/>
                      </a:lnTo>
                      <a:lnTo>
                        <a:pt x="41" y="5"/>
                      </a:lnTo>
                      <a:lnTo>
                        <a:pt x="43" y="4"/>
                      </a:lnTo>
                      <a:lnTo>
                        <a:pt x="44" y="5"/>
                      </a:lnTo>
                      <a:lnTo>
                        <a:pt x="44" y="6"/>
                      </a:lnTo>
                      <a:lnTo>
                        <a:pt x="46" y="6"/>
                      </a:lnTo>
                      <a:lnTo>
                        <a:pt x="47" y="8"/>
                      </a:lnTo>
                      <a:lnTo>
                        <a:pt x="48" y="10"/>
                      </a:lnTo>
                      <a:lnTo>
                        <a:pt x="49" y="13"/>
                      </a:lnTo>
                      <a:lnTo>
                        <a:pt x="49" y="16"/>
                      </a:lnTo>
                      <a:lnTo>
                        <a:pt x="51" y="19"/>
                      </a:lnTo>
                      <a:lnTo>
                        <a:pt x="51" y="23"/>
                      </a:lnTo>
                      <a:lnTo>
                        <a:pt x="52" y="27"/>
                      </a:lnTo>
                      <a:lnTo>
                        <a:pt x="54" y="31"/>
                      </a:lnTo>
                      <a:lnTo>
                        <a:pt x="54" y="36"/>
                      </a:lnTo>
                      <a:lnTo>
                        <a:pt x="56" y="41"/>
                      </a:lnTo>
                      <a:lnTo>
                        <a:pt x="57" y="45"/>
                      </a:lnTo>
                      <a:lnTo>
                        <a:pt x="59" y="50"/>
                      </a:lnTo>
                      <a:lnTo>
                        <a:pt x="61" y="56"/>
                      </a:lnTo>
                      <a:lnTo>
                        <a:pt x="63" y="61"/>
                      </a:lnTo>
                      <a:lnTo>
                        <a:pt x="65" y="67"/>
                      </a:lnTo>
                      <a:lnTo>
                        <a:pt x="68" y="72"/>
                      </a:lnTo>
                      <a:lnTo>
                        <a:pt x="71" y="77"/>
                      </a:lnTo>
                      <a:lnTo>
                        <a:pt x="75" y="83"/>
                      </a:lnTo>
                      <a:lnTo>
                        <a:pt x="77" y="80"/>
                      </a:lnTo>
                      <a:lnTo>
                        <a:pt x="74" y="75"/>
                      </a:lnTo>
                      <a:lnTo>
                        <a:pt x="71" y="70"/>
                      </a:lnTo>
                      <a:lnTo>
                        <a:pt x="68" y="65"/>
                      </a:lnTo>
                      <a:lnTo>
                        <a:pt x="66" y="59"/>
                      </a:lnTo>
                      <a:lnTo>
                        <a:pt x="64" y="54"/>
                      </a:lnTo>
                      <a:lnTo>
                        <a:pt x="62" y="49"/>
                      </a:lnTo>
                      <a:lnTo>
                        <a:pt x="60" y="44"/>
                      </a:lnTo>
                      <a:lnTo>
                        <a:pt x="59" y="39"/>
                      </a:lnTo>
                      <a:lnTo>
                        <a:pt x="58" y="35"/>
                      </a:lnTo>
                      <a:lnTo>
                        <a:pt x="56" y="30"/>
                      </a:lnTo>
                      <a:lnTo>
                        <a:pt x="56" y="26"/>
                      </a:lnTo>
                      <a:lnTo>
                        <a:pt x="54" y="22"/>
                      </a:lnTo>
                      <a:lnTo>
                        <a:pt x="54" y="18"/>
                      </a:lnTo>
                      <a:lnTo>
                        <a:pt x="53" y="15"/>
                      </a:lnTo>
                      <a:lnTo>
                        <a:pt x="51" y="12"/>
                      </a:lnTo>
                      <a:lnTo>
                        <a:pt x="51" y="8"/>
                      </a:lnTo>
                      <a:lnTo>
                        <a:pt x="49" y="6"/>
                      </a:lnTo>
                      <a:lnTo>
                        <a:pt x="48" y="4"/>
                      </a:lnTo>
                      <a:lnTo>
                        <a:pt x="46" y="2"/>
                      </a:lnTo>
                      <a:lnTo>
                        <a:pt x="44" y="1"/>
                      </a:lnTo>
                      <a:lnTo>
                        <a:pt x="43" y="0"/>
                      </a:lnTo>
                      <a:lnTo>
                        <a:pt x="40" y="0"/>
                      </a:lnTo>
                      <a:lnTo>
                        <a:pt x="38" y="1"/>
                      </a:lnTo>
                      <a:lnTo>
                        <a:pt x="35" y="3"/>
                      </a:lnTo>
                      <a:lnTo>
                        <a:pt x="32" y="5"/>
                      </a:lnTo>
                      <a:lnTo>
                        <a:pt x="29" y="8"/>
                      </a:lnTo>
                      <a:lnTo>
                        <a:pt x="25" y="12"/>
                      </a:lnTo>
                      <a:lnTo>
                        <a:pt x="21" y="15"/>
                      </a:lnTo>
                      <a:lnTo>
                        <a:pt x="17" y="20"/>
                      </a:lnTo>
                      <a:lnTo>
                        <a:pt x="12" y="26"/>
                      </a:lnTo>
                      <a:lnTo>
                        <a:pt x="6" y="32"/>
                      </a:lnTo>
                      <a:lnTo>
                        <a:pt x="1" y="39"/>
                      </a:lnTo>
                      <a:lnTo>
                        <a:pt x="3" y="43"/>
                      </a:lnTo>
                      <a:lnTo>
                        <a:pt x="1" y="39"/>
                      </a:lnTo>
                      <a:lnTo>
                        <a:pt x="0" y="40"/>
                      </a:lnTo>
                      <a:lnTo>
                        <a:pt x="0" y="41"/>
                      </a:lnTo>
                      <a:lnTo>
                        <a:pt x="0" y="42"/>
                      </a:lnTo>
                      <a:lnTo>
                        <a:pt x="1" y="42"/>
                      </a:lnTo>
                      <a:lnTo>
                        <a:pt x="1" y="43"/>
                      </a:lnTo>
                      <a:lnTo>
                        <a:pt x="2" y="43"/>
                      </a:lnTo>
                      <a:lnTo>
                        <a:pt x="3" y="43"/>
                      </a:lnTo>
                      <a:lnTo>
                        <a:pt x="3" y="42"/>
                      </a:lnTo>
                      <a:lnTo>
                        <a:pt x="1"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8" name="Freeform 860">
                  <a:extLst>
                    <a:ext uri="{FF2B5EF4-FFF2-40B4-BE49-F238E27FC236}">
                      <a16:creationId xmlns:a16="http://schemas.microsoft.com/office/drawing/2014/main" id="{23EC130A-72F6-EFF3-F7D5-29B7BCEF7C2A}"/>
                    </a:ext>
                  </a:extLst>
                </p:cNvPr>
                <p:cNvSpPr>
                  <a:spLocks/>
                </p:cNvSpPr>
                <p:nvPr/>
              </p:nvSpPr>
              <p:spPr bwMode="auto">
                <a:xfrm>
                  <a:off x="622" y="1897"/>
                  <a:ext cx="41" cy="57"/>
                </a:xfrm>
                <a:custGeom>
                  <a:avLst/>
                  <a:gdLst>
                    <a:gd name="T0" fmla="*/ 29 w 58"/>
                    <a:gd name="T1" fmla="*/ 39 h 79"/>
                    <a:gd name="T2" fmla="*/ 28 w 58"/>
                    <a:gd name="T3" fmla="*/ 34 h 79"/>
                    <a:gd name="T4" fmla="*/ 26 w 58"/>
                    <a:gd name="T5" fmla="*/ 29 h 79"/>
                    <a:gd name="T6" fmla="*/ 25 w 58"/>
                    <a:gd name="T7" fmla="*/ 25 h 79"/>
                    <a:gd name="T8" fmla="*/ 25 w 58"/>
                    <a:gd name="T9" fmla="*/ 19 h 79"/>
                    <a:gd name="T10" fmla="*/ 24 w 58"/>
                    <a:gd name="T11" fmla="*/ 16 h 79"/>
                    <a:gd name="T12" fmla="*/ 23 w 58"/>
                    <a:gd name="T13" fmla="*/ 12 h 79"/>
                    <a:gd name="T14" fmla="*/ 23 w 58"/>
                    <a:gd name="T15" fmla="*/ 9 h 79"/>
                    <a:gd name="T16" fmla="*/ 23 w 58"/>
                    <a:gd name="T17" fmla="*/ 6 h 79"/>
                    <a:gd name="T18" fmla="*/ 21 w 58"/>
                    <a:gd name="T19" fmla="*/ 3 h 79"/>
                    <a:gd name="T20" fmla="*/ 20 w 58"/>
                    <a:gd name="T21" fmla="*/ 1 h 79"/>
                    <a:gd name="T22" fmla="*/ 18 w 58"/>
                    <a:gd name="T23" fmla="*/ 1 h 79"/>
                    <a:gd name="T24" fmla="*/ 16 w 58"/>
                    <a:gd name="T25" fmla="*/ 0 h 79"/>
                    <a:gd name="T26" fmla="*/ 13 w 58"/>
                    <a:gd name="T27" fmla="*/ 1 h 79"/>
                    <a:gd name="T28" fmla="*/ 9 w 58"/>
                    <a:gd name="T29" fmla="*/ 2 h 79"/>
                    <a:gd name="T30" fmla="*/ 5 w 58"/>
                    <a:gd name="T31" fmla="*/ 4 h 79"/>
                    <a:gd name="T32" fmla="*/ 0 w 58"/>
                    <a:gd name="T33" fmla="*/ 8 h 79"/>
                    <a:gd name="T34" fmla="*/ 4 w 58"/>
                    <a:gd name="T35" fmla="*/ 8 h 79"/>
                    <a:gd name="T36" fmla="*/ 8 w 58"/>
                    <a:gd name="T37" fmla="*/ 5 h 79"/>
                    <a:gd name="T38" fmla="*/ 12 w 58"/>
                    <a:gd name="T39" fmla="*/ 3 h 79"/>
                    <a:gd name="T40" fmla="*/ 15 w 58"/>
                    <a:gd name="T41" fmla="*/ 2 h 79"/>
                    <a:gd name="T42" fmla="*/ 17 w 58"/>
                    <a:gd name="T43" fmla="*/ 2 h 79"/>
                    <a:gd name="T44" fmla="*/ 18 w 58"/>
                    <a:gd name="T45" fmla="*/ 3 h 79"/>
                    <a:gd name="T46" fmla="*/ 20 w 58"/>
                    <a:gd name="T47" fmla="*/ 4 h 79"/>
                    <a:gd name="T48" fmla="*/ 21 w 58"/>
                    <a:gd name="T49" fmla="*/ 5 h 79"/>
                    <a:gd name="T50" fmla="*/ 21 w 58"/>
                    <a:gd name="T51" fmla="*/ 8 h 79"/>
                    <a:gd name="T52" fmla="*/ 21 w 58"/>
                    <a:gd name="T53" fmla="*/ 10 h 79"/>
                    <a:gd name="T54" fmla="*/ 23 w 58"/>
                    <a:gd name="T55" fmla="*/ 14 h 79"/>
                    <a:gd name="T56" fmla="*/ 23 w 58"/>
                    <a:gd name="T57" fmla="*/ 18 h 79"/>
                    <a:gd name="T58" fmla="*/ 23 w 58"/>
                    <a:gd name="T59" fmla="*/ 22 h 79"/>
                    <a:gd name="T60" fmla="*/ 24 w 58"/>
                    <a:gd name="T61" fmla="*/ 27 h 79"/>
                    <a:gd name="T62" fmla="*/ 25 w 58"/>
                    <a:gd name="T63" fmla="*/ 32 h 79"/>
                    <a:gd name="T64" fmla="*/ 26 w 58"/>
                    <a:gd name="T65" fmla="*/ 38 h 79"/>
                    <a:gd name="T66" fmla="*/ 29 w 58"/>
                    <a:gd name="T67" fmla="*/ 40 h 79"/>
                    <a:gd name="T68" fmla="*/ 28 w 58"/>
                    <a:gd name="T69" fmla="*/ 40 h 79"/>
                    <a:gd name="T70" fmla="*/ 28 w 58"/>
                    <a:gd name="T71" fmla="*/ 40 h 79"/>
                    <a:gd name="T72" fmla="*/ 28 w 58"/>
                    <a:gd name="T73" fmla="*/ 40 h 79"/>
                    <a:gd name="T74" fmla="*/ 28 w 58"/>
                    <a:gd name="T75" fmla="*/ 41 h 79"/>
                    <a:gd name="T76" fmla="*/ 28 w 58"/>
                    <a:gd name="T77" fmla="*/ 40 h 79"/>
                    <a:gd name="T78" fmla="*/ 29 w 58"/>
                    <a:gd name="T79" fmla="*/ 40 h 79"/>
                    <a:gd name="T80" fmla="*/ 29 w 58"/>
                    <a:gd name="T81" fmla="*/ 40 h 79"/>
                    <a:gd name="T82" fmla="*/ 29 w 58"/>
                    <a:gd name="T83" fmla="*/ 40 h 79"/>
                    <a:gd name="T84" fmla="*/ 29 w 58"/>
                    <a:gd name="T85" fmla="*/ 40 h 79"/>
                    <a:gd name="T86" fmla="*/ 28 w 58"/>
                    <a:gd name="T87" fmla="*/ 38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79">
                      <a:moveTo>
                        <a:pt x="56" y="74"/>
                      </a:moveTo>
                      <a:lnTo>
                        <a:pt x="58" y="75"/>
                      </a:lnTo>
                      <a:lnTo>
                        <a:pt x="56" y="70"/>
                      </a:lnTo>
                      <a:lnTo>
                        <a:pt x="55" y="65"/>
                      </a:lnTo>
                      <a:lnTo>
                        <a:pt x="53" y="61"/>
                      </a:lnTo>
                      <a:lnTo>
                        <a:pt x="52" y="56"/>
                      </a:lnTo>
                      <a:lnTo>
                        <a:pt x="51" y="52"/>
                      </a:lnTo>
                      <a:lnTo>
                        <a:pt x="50" y="47"/>
                      </a:lnTo>
                      <a:lnTo>
                        <a:pt x="50" y="43"/>
                      </a:lnTo>
                      <a:lnTo>
                        <a:pt x="49" y="38"/>
                      </a:lnTo>
                      <a:lnTo>
                        <a:pt x="48" y="35"/>
                      </a:lnTo>
                      <a:lnTo>
                        <a:pt x="48" y="31"/>
                      </a:lnTo>
                      <a:lnTo>
                        <a:pt x="47" y="26"/>
                      </a:lnTo>
                      <a:lnTo>
                        <a:pt x="47" y="23"/>
                      </a:lnTo>
                      <a:lnTo>
                        <a:pt x="47" y="20"/>
                      </a:lnTo>
                      <a:lnTo>
                        <a:pt x="46" y="17"/>
                      </a:lnTo>
                      <a:lnTo>
                        <a:pt x="45" y="14"/>
                      </a:lnTo>
                      <a:lnTo>
                        <a:pt x="45" y="11"/>
                      </a:lnTo>
                      <a:lnTo>
                        <a:pt x="44" y="9"/>
                      </a:lnTo>
                      <a:lnTo>
                        <a:pt x="43" y="6"/>
                      </a:lnTo>
                      <a:lnTo>
                        <a:pt x="42" y="4"/>
                      </a:lnTo>
                      <a:lnTo>
                        <a:pt x="40" y="3"/>
                      </a:lnTo>
                      <a:lnTo>
                        <a:pt x="38" y="2"/>
                      </a:lnTo>
                      <a:lnTo>
                        <a:pt x="37" y="1"/>
                      </a:lnTo>
                      <a:lnTo>
                        <a:pt x="35" y="0"/>
                      </a:lnTo>
                      <a:lnTo>
                        <a:pt x="32" y="0"/>
                      </a:lnTo>
                      <a:lnTo>
                        <a:pt x="30" y="1"/>
                      </a:lnTo>
                      <a:lnTo>
                        <a:pt x="26" y="1"/>
                      </a:lnTo>
                      <a:lnTo>
                        <a:pt x="23" y="2"/>
                      </a:lnTo>
                      <a:lnTo>
                        <a:pt x="19" y="4"/>
                      </a:lnTo>
                      <a:lnTo>
                        <a:pt x="15" y="6"/>
                      </a:lnTo>
                      <a:lnTo>
                        <a:pt x="10" y="9"/>
                      </a:lnTo>
                      <a:lnTo>
                        <a:pt x="5" y="12"/>
                      </a:lnTo>
                      <a:lnTo>
                        <a:pt x="0" y="15"/>
                      </a:lnTo>
                      <a:lnTo>
                        <a:pt x="2" y="19"/>
                      </a:lnTo>
                      <a:lnTo>
                        <a:pt x="7" y="15"/>
                      </a:lnTo>
                      <a:lnTo>
                        <a:pt x="12" y="13"/>
                      </a:lnTo>
                      <a:lnTo>
                        <a:pt x="17" y="10"/>
                      </a:lnTo>
                      <a:lnTo>
                        <a:pt x="20" y="8"/>
                      </a:lnTo>
                      <a:lnTo>
                        <a:pt x="24" y="6"/>
                      </a:lnTo>
                      <a:lnTo>
                        <a:pt x="27" y="5"/>
                      </a:lnTo>
                      <a:lnTo>
                        <a:pt x="30" y="4"/>
                      </a:lnTo>
                      <a:lnTo>
                        <a:pt x="32" y="4"/>
                      </a:lnTo>
                      <a:lnTo>
                        <a:pt x="34" y="4"/>
                      </a:lnTo>
                      <a:lnTo>
                        <a:pt x="36" y="4"/>
                      </a:lnTo>
                      <a:lnTo>
                        <a:pt x="37" y="5"/>
                      </a:lnTo>
                      <a:lnTo>
                        <a:pt x="38" y="6"/>
                      </a:lnTo>
                      <a:lnTo>
                        <a:pt x="40" y="7"/>
                      </a:lnTo>
                      <a:lnTo>
                        <a:pt x="40" y="9"/>
                      </a:lnTo>
                      <a:lnTo>
                        <a:pt x="42" y="10"/>
                      </a:lnTo>
                      <a:lnTo>
                        <a:pt x="42" y="13"/>
                      </a:lnTo>
                      <a:lnTo>
                        <a:pt x="43" y="15"/>
                      </a:lnTo>
                      <a:lnTo>
                        <a:pt x="43" y="17"/>
                      </a:lnTo>
                      <a:lnTo>
                        <a:pt x="43" y="20"/>
                      </a:lnTo>
                      <a:lnTo>
                        <a:pt x="44" y="23"/>
                      </a:lnTo>
                      <a:lnTo>
                        <a:pt x="45" y="27"/>
                      </a:lnTo>
                      <a:lnTo>
                        <a:pt x="45" y="31"/>
                      </a:lnTo>
                      <a:lnTo>
                        <a:pt x="45" y="35"/>
                      </a:lnTo>
                      <a:lnTo>
                        <a:pt x="45" y="39"/>
                      </a:lnTo>
                      <a:lnTo>
                        <a:pt x="47" y="43"/>
                      </a:lnTo>
                      <a:lnTo>
                        <a:pt x="47" y="48"/>
                      </a:lnTo>
                      <a:lnTo>
                        <a:pt x="48" y="52"/>
                      </a:lnTo>
                      <a:lnTo>
                        <a:pt x="49" y="57"/>
                      </a:lnTo>
                      <a:lnTo>
                        <a:pt x="50" y="62"/>
                      </a:lnTo>
                      <a:lnTo>
                        <a:pt x="52" y="67"/>
                      </a:lnTo>
                      <a:lnTo>
                        <a:pt x="53" y="72"/>
                      </a:lnTo>
                      <a:lnTo>
                        <a:pt x="55" y="77"/>
                      </a:lnTo>
                      <a:lnTo>
                        <a:pt x="58" y="78"/>
                      </a:lnTo>
                      <a:lnTo>
                        <a:pt x="55" y="77"/>
                      </a:lnTo>
                      <a:lnTo>
                        <a:pt x="56" y="78"/>
                      </a:lnTo>
                      <a:lnTo>
                        <a:pt x="57" y="78"/>
                      </a:lnTo>
                      <a:lnTo>
                        <a:pt x="57" y="79"/>
                      </a:lnTo>
                      <a:lnTo>
                        <a:pt x="57" y="78"/>
                      </a:lnTo>
                      <a:lnTo>
                        <a:pt x="58" y="78"/>
                      </a:lnTo>
                      <a:lnTo>
                        <a:pt x="58" y="77"/>
                      </a:lnTo>
                      <a:lnTo>
                        <a:pt x="58" y="76"/>
                      </a:lnTo>
                      <a:lnTo>
                        <a:pt x="58" y="75"/>
                      </a:lnTo>
                      <a:lnTo>
                        <a:pt x="56"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69" name="Freeform 861">
                  <a:extLst>
                    <a:ext uri="{FF2B5EF4-FFF2-40B4-BE49-F238E27FC236}">
                      <a16:creationId xmlns:a16="http://schemas.microsoft.com/office/drawing/2014/main" id="{F81D542B-B70E-4860-3701-D06E8F6460CA}"/>
                    </a:ext>
                  </a:extLst>
                </p:cNvPr>
                <p:cNvSpPr>
                  <a:spLocks/>
                </p:cNvSpPr>
                <p:nvPr/>
              </p:nvSpPr>
              <p:spPr bwMode="auto">
                <a:xfrm>
                  <a:off x="662" y="1940"/>
                  <a:ext cx="48" cy="39"/>
                </a:xfrm>
                <a:custGeom>
                  <a:avLst/>
                  <a:gdLst>
                    <a:gd name="T0" fmla="*/ 33 w 69"/>
                    <a:gd name="T1" fmla="*/ 27 h 54"/>
                    <a:gd name="T2" fmla="*/ 31 w 69"/>
                    <a:gd name="T3" fmla="*/ 22 h 54"/>
                    <a:gd name="T4" fmla="*/ 29 w 69"/>
                    <a:gd name="T5" fmla="*/ 18 h 54"/>
                    <a:gd name="T6" fmla="*/ 28 w 69"/>
                    <a:gd name="T7" fmla="*/ 14 h 54"/>
                    <a:gd name="T8" fmla="*/ 26 w 69"/>
                    <a:gd name="T9" fmla="*/ 11 h 54"/>
                    <a:gd name="T10" fmla="*/ 25 w 69"/>
                    <a:gd name="T11" fmla="*/ 8 h 54"/>
                    <a:gd name="T12" fmla="*/ 24 w 69"/>
                    <a:gd name="T13" fmla="*/ 5 h 54"/>
                    <a:gd name="T14" fmla="*/ 23 w 69"/>
                    <a:gd name="T15" fmla="*/ 3 h 54"/>
                    <a:gd name="T16" fmla="*/ 22 w 69"/>
                    <a:gd name="T17" fmla="*/ 1 h 54"/>
                    <a:gd name="T18" fmla="*/ 19 w 69"/>
                    <a:gd name="T19" fmla="*/ 0 h 54"/>
                    <a:gd name="T20" fmla="*/ 17 w 69"/>
                    <a:gd name="T21" fmla="*/ 0 h 54"/>
                    <a:gd name="T22" fmla="*/ 15 w 69"/>
                    <a:gd name="T23" fmla="*/ 0 h 54"/>
                    <a:gd name="T24" fmla="*/ 13 w 69"/>
                    <a:gd name="T25" fmla="*/ 0 h 54"/>
                    <a:gd name="T26" fmla="*/ 10 w 69"/>
                    <a:gd name="T27" fmla="*/ 1 h 54"/>
                    <a:gd name="T28" fmla="*/ 8 w 69"/>
                    <a:gd name="T29" fmla="*/ 3 h 54"/>
                    <a:gd name="T30" fmla="*/ 4 w 69"/>
                    <a:gd name="T31" fmla="*/ 5 h 54"/>
                    <a:gd name="T32" fmla="*/ 0 w 69"/>
                    <a:gd name="T33" fmla="*/ 8 h 54"/>
                    <a:gd name="T34" fmla="*/ 3 w 69"/>
                    <a:gd name="T35" fmla="*/ 9 h 54"/>
                    <a:gd name="T36" fmla="*/ 6 w 69"/>
                    <a:gd name="T37" fmla="*/ 6 h 54"/>
                    <a:gd name="T38" fmla="*/ 10 w 69"/>
                    <a:gd name="T39" fmla="*/ 4 h 54"/>
                    <a:gd name="T40" fmla="*/ 13 w 69"/>
                    <a:gd name="T41" fmla="*/ 3 h 54"/>
                    <a:gd name="T42" fmla="*/ 15 w 69"/>
                    <a:gd name="T43" fmla="*/ 2 h 54"/>
                    <a:gd name="T44" fmla="*/ 17 w 69"/>
                    <a:gd name="T45" fmla="*/ 2 h 54"/>
                    <a:gd name="T46" fmla="*/ 18 w 69"/>
                    <a:gd name="T47" fmla="*/ 2 h 54"/>
                    <a:gd name="T48" fmla="*/ 20 w 69"/>
                    <a:gd name="T49" fmla="*/ 3 h 54"/>
                    <a:gd name="T50" fmla="*/ 21 w 69"/>
                    <a:gd name="T51" fmla="*/ 4 h 54"/>
                    <a:gd name="T52" fmla="*/ 22 w 69"/>
                    <a:gd name="T53" fmla="*/ 6 h 54"/>
                    <a:gd name="T54" fmla="*/ 23 w 69"/>
                    <a:gd name="T55" fmla="*/ 8 h 54"/>
                    <a:gd name="T56" fmla="*/ 24 w 69"/>
                    <a:gd name="T57" fmla="*/ 10 h 54"/>
                    <a:gd name="T58" fmla="*/ 26 w 69"/>
                    <a:gd name="T59" fmla="*/ 14 h 54"/>
                    <a:gd name="T60" fmla="*/ 28 w 69"/>
                    <a:gd name="T61" fmla="*/ 17 h 54"/>
                    <a:gd name="T62" fmla="*/ 29 w 69"/>
                    <a:gd name="T63" fmla="*/ 21 h 54"/>
                    <a:gd name="T64" fmla="*/ 31 w 69"/>
                    <a:gd name="T65" fmla="*/ 25 h 54"/>
                    <a:gd name="T66" fmla="*/ 32 w 69"/>
                    <a:gd name="T67" fmla="*/ 27 h 54"/>
                    <a:gd name="T68" fmla="*/ 32 w 69"/>
                    <a:gd name="T69" fmla="*/ 28 h 54"/>
                    <a:gd name="T70" fmla="*/ 32 w 69"/>
                    <a:gd name="T71" fmla="*/ 28 h 54"/>
                    <a:gd name="T72" fmla="*/ 33 w 69"/>
                    <a:gd name="T73" fmla="*/ 28 h 54"/>
                    <a:gd name="T74" fmla="*/ 33 w 69"/>
                    <a:gd name="T75" fmla="*/ 28 h 54"/>
                    <a:gd name="T76" fmla="*/ 33 w 69"/>
                    <a:gd name="T77" fmla="*/ 28 h 54"/>
                    <a:gd name="T78" fmla="*/ 33 w 69"/>
                    <a:gd name="T79" fmla="*/ 27 h 54"/>
                    <a:gd name="T80" fmla="*/ 33 w 69"/>
                    <a:gd name="T81" fmla="*/ 27 h 54"/>
                    <a:gd name="T82" fmla="*/ 33 w 69"/>
                    <a:gd name="T83" fmla="*/ 27 h 54"/>
                    <a:gd name="T84" fmla="*/ 33 w 69"/>
                    <a:gd name="T85" fmla="*/ 27 h 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9" h="54">
                      <a:moveTo>
                        <a:pt x="68" y="53"/>
                      </a:moveTo>
                      <a:lnTo>
                        <a:pt x="68" y="51"/>
                      </a:lnTo>
                      <a:lnTo>
                        <a:pt x="66" y="47"/>
                      </a:lnTo>
                      <a:lnTo>
                        <a:pt x="64" y="43"/>
                      </a:lnTo>
                      <a:lnTo>
                        <a:pt x="63" y="39"/>
                      </a:lnTo>
                      <a:lnTo>
                        <a:pt x="61" y="34"/>
                      </a:lnTo>
                      <a:lnTo>
                        <a:pt x="59" y="31"/>
                      </a:lnTo>
                      <a:lnTo>
                        <a:pt x="58" y="27"/>
                      </a:lnTo>
                      <a:lnTo>
                        <a:pt x="56" y="24"/>
                      </a:lnTo>
                      <a:lnTo>
                        <a:pt x="55" y="21"/>
                      </a:lnTo>
                      <a:lnTo>
                        <a:pt x="54" y="18"/>
                      </a:lnTo>
                      <a:lnTo>
                        <a:pt x="52" y="15"/>
                      </a:lnTo>
                      <a:lnTo>
                        <a:pt x="51" y="12"/>
                      </a:lnTo>
                      <a:lnTo>
                        <a:pt x="50" y="10"/>
                      </a:lnTo>
                      <a:lnTo>
                        <a:pt x="48" y="8"/>
                      </a:lnTo>
                      <a:lnTo>
                        <a:pt x="47" y="6"/>
                      </a:lnTo>
                      <a:lnTo>
                        <a:pt x="45" y="4"/>
                      </a:lnTo>
                      <a:lnTo>
                        <a:pt x="44" y="3"/>
                      </a:lnTo>
                      <a:lnTo>
                        <a:pt x="42" y="2"/>
                      </a:lnTo>
                      <a:lnTo>
                        <a:pt x="40" y="0"/>
                      </a:lnTo>
                      <a:lnTo>
                        <a:pt x="38" y="0"/>
                      </a:lnTo>
                      <a:lnTo>
                        <a:pt x="36" y="0"/>
                      </a:lnTo>
                      <a:lnTo>
                        <a:pt x="34" y="0"/>
                      </a:lnTo>
                      <a:lnTo>
                        <a:pt x="32" y="0"/>
                      </a:lnTo>
                      <a:lnTo>
                        <a:pt x="30" y="0"/>
                      </a:lnTo>
                      <a:lnTo>
                        <a:pt x="27" y="0"/>
                      </a:lnTo>
                      <a:lnTo>
                        <a:pt x="25" y="2"/>
                      </a:lnTo>
                      <a:lnTo>
                        <a:pt x="22" y="2"/>
                      </a:lnTo>
                      <a:lnTo>
                        <a:pt x="19" y="4"/>
                      </a:lnTo>
                      <a:lnTo>
                        <a:pt x="16" y="6"/>
                      </a:lnTo>
                      <a:lnTo>
                        <a:pt x="12" y="8"/>
                      </a:lnTo>
                      <a:lnTo>
                        <a:pt x="9" y="10"/>
                      </a:lnTo>
                      <a:lnTo>
                        <a:pt x="4" y="12"/>
                      </a:lnTo>
                      <a:lnTo>
                        <a:pt x="0" y="15"/>
                      </a:lnTo>
                      <a:lnTo>
                        <a:pt x="2" y="19"/>
                      </a:lnTo>
                      <a:lnTo>
                        <a:pt x="6" y="16"/>
                      </a:lnTo>
                      <a:lnTo>
                        <a:pt x="10" y="13"/>
                      </a:lnTo>
                      <a:lnTo>
                        <a:pt x="13" y="11"/>
                      </a:lnTo>
                      <a:lnTo>
                        <a:pt x="17" y="9"/>
                      </a:lnTo>
                      <a:lnTo>
                        <a:pt x="20" y="8"/>
                      </a:lnTo>
                      <a:lnTo>
                        <a:pt x="23" y="6"/>
                      </a:lnTo>
                      <a:lnTo>
                        <a:pt x="26" y="5"/>
                      </a:lnTo>
                      <a:lnTo>
                        <a:pt x="28" y="4"/>
                      </a:lnTo>
                      <a:lnTo>
                        <a:pt x="30" y="4"/>
                      </a:lnTo>
                      <a:lnTo>
                        <a:pt x="32" y="4"/>
                      </a:lnTo>
                      <a:lnTo>
                        <a:pt x="34" y="4"/>
                      </a:lnTo>
                      <a:lnTo>
                        <a:pt x="36" y="4"/>
                      </a:lnTo>
                      <a:lnTo>
                        <a:pt x="38" y="4"/>
                      </a:lnTo>
                      <a:lnTo>
                        <a:pt x="39" y="5"/>
                      </a:lnTo>
                      <a:lnTo>
                        <a:pt x="41" y="6"/>
                      </a:lnTo>
                      <a:lnTo>
                        <a:pt x="42" y="6"/>
                      </a:lnTo>
                      <a:lnTo>
                        <a:pt x="43" y="8"/>
                      </a:lnTo>
                      <a:lnTo>
                        <a:pt x="44" y="9"/>
                      </a:lnTo>
                      <a:lnTo>
                        <a:pt x="46" y="11"/>
                      </a:lnTo>
                      <a:lnTo>
                        <a:pt x="47" y="13"/>
                      </a:lnTo>
                      <a:lnTo>
                        <a:pt x="48" y="15"/>
                      </a:lnTo>
                      <a:lnTo>
                        <a:pt x="50" y="17"/>
                      </a:lnTo>
                      <a:lnTo>
                        <a:pt x="51" y="20"/>
                      </a:lnTo>
                      <a:lnTo>
                        <a:pt x="52" y="23"/>
                      </a:lnTo>
                      <a:lnTo>
                        <a:pt x="54" y="26"/>
                      </a:lnTo>
                      <a:lnTo>
                        <a:pt x="55" y="29"/>
                      </a:lnTo>
                      <a:lnTo>
                        <a:pt x="57" y="33"/>
                      </a:lnTo>
                      <a:lnTo>
                        <a:pt x="58" y="36"/>
                      </a:lnTo>
                      <a:lnTo>
                        <a:pt x="60" y="40"/>
                      </a:lnTo>
                      <a:lnTo>
                        <a:pt x="62" y="45"/>
                      </a:lnTo>
                      <a:lnTo>
                        <a:pt x="63" y="49"/>
                      </a:lnTo>
                      <a:lnTo>
                        <a:pt x="66" y="53"/>
                      </a:lnTo>
                      <a:lnTo>
                        <a:pt x="66" y="51"/>
                      </a:lnTo>
                      <a:lnTo>
                        <a:pt x="66" y="53"/>
                      </a:lnTo>
                      <a:lnTo>
                        <a:pt x="66" y="54"/>
                      </a:lnTo>
                      <a:lnTo>
                        <a:pt x="67" y="54"/>
                      </a:lnTo>
                      <a:lnTo>
                        <a:pt x="68" y="54"/>
                      </a:lnTo>
                      <a:lnTo>
                        <a:pt x="68" y="53"/>
                      </a:lnTo>
                      <a:lnTo>
                        <a:pt x="69" y="53"/>
                      </a:lnTo>
                      <a:lnTo>
                        <a:pt x="69" y="52"/>
                      </a:lnTo>
                      <a:lnTo>
                        <a:pt x="68" y="52"/>
                      </a:lnTo>
                      <a:lnTo>
                        <a:pt x="68" y="51"/>
                      </a:lnTo>
                      <a:lnTo>
                        <a:pt x="68"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0" name="Freeform 862">
                  <a:extLst>
                    <a:ext uri="{FF2B5EF4-FFF2-40B4-BE49-F238E27FC236}">
                      <a16:creationId xmlns:a16="http://schemas.microsoft.com/office/drawing/2014/main" id="{51532BA4-2E8A-BEC4-828B-4566441D6501}"/>
                    </a:ext>
                  </a:extLst>
                </p:cNvPr>
                <p:cNvSpPr>
                  <a:spLocks/>
                </p:cNvSpPr>
                <p:nvPr/>
              </p:nvSpPr>
              <p:spPr bwMode="auto">
                <a:xfrm>
                  <a:off x="674" y="1976"/>
                  <a:ext cx="35" cy="11"/>
                </a:xfrm>
                <a:custGeom>
                  <a:avLst/>
                  <a:gdLst>
                    <a:gd name="T0" fmla="*/ 1 w 50"/>
                    <a:gd name="T1" fmla="*/ 6 h 16"/>
                    <a:gd name="T2" fmla="*/ 2 w 50"/>
                    <a:gd name="T3" fmla="*/ 6 h 16"/>
                    <a:gd name="T4" fmla="*/ 3 w 50"/>
                    <a:gd name="T5" fmla="*/ 6 h 16"/>
                    <a:gd name="T6" fmla="*/ 4 w 50"/>
                    <a:gd name="T7" fmla="*/ 6 h 16"/>
                    <a:gd name="T8" fmla="*/ 5 w 50"/>
                    <a:gd name="T9" fmla="*/ 6 h 16"/>
                    <a:gd name="T10" fmla="*/ 7 w 50"/>
                    <a:gd name="T11" fmla="*/ 6 h 16"/>
                    <a:gd name="T12" fmla="*/ 9 w 50"/>
                    <a:gd name="T13" fmla="*/ 6 h 16"/>
                    <a:gd name="T14" fmla="*/ 11 w 50"/>
                    <a:gd name="T15" fmla="*/ 6 h 16"/>
                    <a:gd name="T16" fmla="*/ 13 w 50"/>
                    <a:gd name="T17" fmla="*/ 7 h 16"/>
                    <a:gd name="T18" fmla="*/ 15 w 50"/>
                    <a:gd name="T19" fmla="*/ 7 h 16"/>
                    <a:gd name="T20" fmla="*/ 17 w 50"/>
                    <a:gd name="T21" fmla="*/ 7 h 16"/>
                    <a:gd name="T22" fmla="*/ 19 w 50"/>
                    <a:gd name="T23" fmla="*/ 6 h 16"/>
                    <a:gd name="T24" fmla="*/ 20 w 50"/>
                    <a:gd name="T25" fmla="*/ 6 h 16"/>
                    <a:gd name="T26" fmla="*/ 22 w 50"/>
                    <a:gd name="T27" fmla="*/ 4 h 16"/>
                    <a:gd name="T28" fmla="*/ 24 w 50"/>
                    <a:gd name="T29" fmla="*/ 3 h 16"/>
                    <a:gd name="T30" fmla="*/ 25 w 50"/>
                    <a:gd name="T31" fmla="*/ 1 h 16"/>
                    <a:gd name="T32" fmla="*/ 22 w 50"/>
                    <a:gd name="T33" fmla="*/ 1 h 16"/>
                    <a:gd name="T34" fmla="*/ 22 w 50"/>
                    <a:gd name="T35" fmla="*/ 2 h 16"/>
                    <a:gd name="T36" fmla="*/ 20 w 50"/>
                    <a:gd name="T37" fmla="*/ 3 h 16"/>
                    <a:gd name="T38" fmla="*/ 19 w 50"/>
                    <a:gd name="T39" fmla="*/ 4 h 16"/>
                    <a:gd name="T40" fmla="*/ 18 w 50"/>
                    <a:gd name="T41" fmla="*/ 4 h 16"/>
                    <a:gd name="T42" fmla="*/ 15 w 50"/>
                    <a:gd name="T43" fmla="*/ 5 h 16"/>
                    <a:gd name="T44" fmla="*/ 14 w 50"/>
                    <a:gd name="T45" fmla="*/ 5 h 16"/>
                    <a:gd name="T46" fmla="*/ 12 w 50"/>
                    <a:gd name="T47" fmla="*/ 4 h 16"/>
                    <a:gd name="T48" fmla="*/ 10 w 50"/>
                    <a:gd name="T49" fmla="*/ 4 h 16"/>
                    <a:gd name="T50" fmla="*/ 8 w 50"/>
                    <a:gd name="T51" fmla="*/ 4 h 16"/>
                    <a:gd name="T52" fmla="*/ 6 w 50"/>
                    <a:gd name="T53" fmla="*/ 4 h 16"/>
                    <a:gd name="T54" fmla="*/ 4 w 50"/>
                    <a:gd name="T55" fmla="*/ 4 h 16"/>
                    <a:gd name="T56" fmla="*/ 3 w 50"/>
                    <a:gd name="T57" fmla="*/ 4 h 16"/>
                    <a:gd name="T58" fmla="*/ 1 w 50"/>
                    <a:gd name="T59" fmla="*/ 4 h 16"/>
                    <a:gd name="T60" fmla="*/ 1 w 50"/>
                    <a:gd name="T61" fmla="*/ 5 h 16"/>
                    <a:gd name="T62" fmla="*/ 0 w 50"/>
                    <a:gd name="T63" fmla="*/ 6 h 16"/>
                    <a:gd name="T64" fmla="*/ 0 w 50"/>
                    <a:gd name="T65" fmla="*/ 7 h 16"/>
                    <a:gd name="T66" fmla="*/ 0 w 50"/>
                    <a:gd name="T67" fmla="*/ 7 h 16"/>
                    <a:gd name="T68" fmla="*/ 0 w 50"/>
                    <a:gd name="T69" fmla="*/ 7 h 16"/>
                    <a:gd name="T70" fmla="*/ 0 w 50"/>
                    <a:gd name="T71" fmla="*/ 8 h 16"/>
                    <a:gd name="T72" fmla="*/ 1 w 50"/>
                    <a:gd name="T73" fmla="*/ 8 h 16"/>
                    <a:gd name="T74" fmla="*/ 1 w 50"/>
                    <a:gd name="T75" fmla="*/ 8 h 16"/>
                    <a:gd name="T76" fmla="*/ 1 w 50"/>
                    <a:gd name="T77" fmla="*/ 8 h 16"/>
                    <a:gd name="T78" fmla="*/ 1 w 50"/>
                    <a:gd name="T79" fmla="*/ 7 h 16"/>
                    <a:gd name="T80" fmla="*/ 1 w 50"/>
                    <a:gd name="T81" fmla="*/ 7 h 16"/>
                    <a:gd name="T82" fmla="*/ 1 w 50"/>
                    <a:gd name="T83" fmla="*/ 7 h 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0" h="16">
                      <a:moveTo>
                        <a:pt x="3" y="14"/>
                      </a:moveTo>
                      <a:lnTo>
                        <a:pt x="3" y="13"/>
                      </a:lnTo>
                      <a:lnTo>
                        <a:pt x="4" y="13"/>
                      </a:lnTo>
                      <a:lnTo>
                        <a:pt x="5" y="13"/>
                      </a:lnTo>
                      <a:lnTo>
                        <a:pt x="5" y="12"/>
                      </a:lnTo>
                      <a:lnTo>
                        <a:pt x="6" y="12"/>
                      </a:lnTo>
                      <a:lnTo>
                        <a:pt x="8" y="12"/>
                      </a:lnTo>
                      <a:lnTo>
                        <a:pt x="9" y="12"/>
                      </a:lnTo>
                      <a:lnTo>
                        <a:pt x="10" y="12"/>
                      </a:lnTo>
                      <a:lnTo>
                        <a:pt x="12" y="12"/>
                      </a:lnTo>
                      <a:lnTo>
                        <a:pt x="14" y="13"/>
                      </a:lnTo>
                      <a:lnTo>
                        <a:pt x="16" y="13"/>
                      </a:lnTo>
                      <a:lnTo>
                        <a:pt x="18" y="13"/>
                      </a:lnTo>
                      <a:lnTo>
                        <a:pt x="19" y="13"/>
                      </a:lnTo>
                      <a:lnTo>
                        <a:pt x="21" y="13"/>
                      </a:lnTo>
                      <a:lnTo>
                        <a:pt x="24" y="13"/>
                      </a:lnTo>
                      <a:lnTo>
                        <a:pt x="26" y="14"/>
                      </a:lnTo>
                      <a:lnTo>
                        <a:pt x="28" y="14"/>
                      </a:lnTo>
                      <a:lnTo>
                        <a:pt x="30" y="14"/>
                      </a:lnTo>
                      <a:lnTo>
                        <a:pt x="32" y="14"/>
                      </a:lnTo>
                      <a:lnTo>
                        <a:pt x="34" y="14"/>
                      </a:lnTo>
                      <a:lnTo>
                        <a:pt x="36" y="13"/>
                      </a:lnTo>
                      <a:lnTo>
                        <a:pt x="38" y="13"/>
                      </a:lnTo>
                      <a:lnTo>
                        <a:pt x="40" y="12"/>
                      </a:lnTo>
                      <a:lnTo>
                        <a:pt x="42" y="12"/>
                      </a:lnTo>
                      <a:lnTo>
                        <a:pt x="43" y="10"/>
                      </a:lnTo>
                      <a:lnTo>
                        <a:pt x="45" y="9"/>
                      </a:lnTo>
                      <a:lnTo>
                        <a:pt x="46" y="8"/>
                      </a:lnTo>
                      <a:lnTo>
                        <a:pt x="48" y="7"/>
                      </a:lnTo>
                      <a:lnTo>
                        <a:pt x="50" y="5"/>
                      </a:lnTo>
                      <a:lnTo>
                        <a:pt x="50" y="2"/>
                      </a:lnTo>
                      <a:lnTo>
                        <a:pt x="48" y="0"/>
                      </a:lnTo>
                      <a:lnTo>
                        <a:pt x="46" y="2"/>
                      </a:lnTo>
                      <a:lnTo>
                        <a:pt x="45" y="4"/>
                      </a:lnTo>
                      <a:lnTo>
                        <a:pt x="45" y="5"/>
                      </a:lnTo>
                      <a:lnTo>
                        <a:pt x="43" y="6"/>
                      </a:lnTo>
                      <a:lnTo>
                        <a:pt x="42" y="7"/>
                      </a:lnTo>
                      <a:lnTo>
                        <a:pt x="40" y="8"/>
                      </a:lnTo>
                      <a:lnTo>
                        <a:pt x="39" y="8"/>
                      </a:lnTo>
                      <a:lnTo>
                        <a:pt x="37" y="9"/>
                      </a:lnTo>
                      <a:lnTo>
                        <a:pt x="35" y="9"/>
                      </a:lnTo>
                      <a:lnTo>
                        <a:pt x="34" y="10"/>
                      </a:lnTo>
                      <a:lnTo>
                        <a:pt x="32" y="10"/>
                      </a:lnTo>
                      <a:lnTo>
                        <a:pt x="30" y="10"/>
                      </a:lnTo>
                      <a:lnTo>
                        <a:pt x="28" y="10"/>
                      </a:lnTo>
                      <a:lnTo>
                        <a:pt x="26" y="10"/>
                      </a:lnTo>
                      <a:lnTo>
                        <a:pt x="24" y="9"/>
                      </a:lnTo>
                      <a:lnTo>
                        <a:pt x="22" y="9"/>
                      </a:lnTo>
                      <a:lnTo>
                        <a:pt x="20" y="9"/>
                      </a:lnTo>
                      <a:lnTo>
                        <a:pt x="18" y="9"/>
                      </a:lnTo>
                      <a:lnTo>
                        <a:pt x="16" y="8"/>
                      </a:lnTo>
                      <a:lnTo>
                        <a:pt x="14" y="8"/>
                      </a:lnTo>
                      <a:lnTo>
                        <a:pt x="12" y="8"/>
                      </a:lnTo>
                      <a:lnTo>
                        <a:pt x="11" y="8"/>
                      </a:lnTo>
                      <a:lnTo>
                        <a:pt x="9" y="8"/>
                      </a:lnTo>
                      <a:lnTo>
                        <a:pt x="8" y="8"/>
                      </a:lnTo>
                      <a:lnTo>
                        <a:pt x="6" y="8"/>
                      </a:lnTo>
                      <a:lnTo>
                        <a:pt x="5" y="8"/>
                      </a:lnTo>
                      <a:lnTo>
                        <a:pt x="3" y="8"/>
                      </a:lnTo>
                      <a:lnTo>
                        <a:pt x="2" y="9"/>
                      </a:lnTo>
                      <a:lnTo>
                        <a:pt x="1" y="10"/>
                      </a:lnTo>
                      <a:lnTo>
                        <a:pt x="0" y="11"/>
                      </a:lnTo>
                      <a:lnTo>
                        <a:pt x="0" y="13"/>
                      </a:lnTo>
                      <a:lnTo>
                        <a:pt x="0" y="14"/>
                      </a:lnTo>
                      <a:lnTo>
                        <a:pt x="0" y="15"/>
                      </a:lnTo>
                      <a:lnTo>
                        <a:pt x="0" y="16"/>
                      </a:lnTo>
                      <a:lnTo>
                        <a:pt x="1" y="16"/>
                      </a:lnTo>
                      <a:lnTo>
                        <a:pt x="2" y="16"/>
                      </a:lnTo>
                      <a:lnTo>
                        <a:pt x="2" y="15"/>
                      </a:lnTo>
                      <a:lnTo>
                        <a:pt x="3" y="15"/>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1" name="Freeform 863">
                  <a:extLst>
                    <a:ext uri="{FF2B5EF4-FFF2-40B4-BE49-F238E27FC236}">
                      <a16:creationId xmlns:a16="http://schemas.microsoft.com/office/drawing/2014/main" id="{3FF8B0E1-24B6-0B1F-644A-28A67BEFA7DC}"/>
                    </a:ext>
                  </a:extLst>
                </p:cNvPr>
                <p:cNvSpPr>
                  <a:spLocks/>
                </p:cNvSpPr>
                <p:nvPr/>
              </p:nvSpPr>
              <p:spPr bwMode="auto">
                <a:xfrm>
                  <a:off x="655" y="1985"/>
                  <a:ext cx="21" cy="47"/>
                </a:xfrm>
                <a:custGeom>
                  <a:avLst/>
                  <a:gdLst>
                    <a:gd name="T0" fmla="*/ 1 w 30"/>
                    <a:gd name="T1" fmla="*/ 15 h 66"/>
                    <a:gd name="T2" fmla="*/ 4 w 30"/>
                    <a:gd name="T3" fmla="*/ 19 h 66"/>
                    <a:gd name="T4" fmla="*/ 7 w 30"/>
                    <a:gd name="T5" fmla="*/ 23 h 66"/>
                    <a:gd name="T6" fmla="*/ 8 w 30"/>
                    <a:gd name="T7" fmla="*/ 26 h 66"/>
                    <a:gd name="T8" fmla="*/ 10 w 30"/>
                    <a:gd name="T9" fmla="*/ 29 h 66"/>
                    <a:gd name="T10" fmla="*/ 11 w 30"/>
                    <a:gd name="T11" fmla="*/ 31 h 66"/>
                    <a:gd name="T12" fmla="*/ 13 w 30"/>
                    <a:gd name="T13" fmla="*/ 33 h 66"/>
                    <a:gd name="T14" fmla="*/ 13 w 30"/>
                    <a:gd name="T15" fmla="*/ 33 h 66"/>
                    <a:gd name="T16" fmla="*/ 14 w 30"/>
                    <a:gd name="T17" fmla="*/ 33 h 66"/>
                    <a:gd name="T18" fmla="*/ 15 w 30"/>
                    <a:gd name="T19" fmla="*/ 31 h 66"/>
                    <a:gd name="T20" fmla="*/ 15 w 30"/>
                    <a:gd name="T21" fmla="*/ 29 h 66"/>
                    <a:gd name="T22" fmla="*/ 15 w 30"/>
                    <a:gd name="T23" fmla="*/ 27 h 66"/>
                    <a:gd name="T24" fmla="*/ 15 w 30"/>
                    <a:gd name="T25" fmla="*/ 23 h 66"/>
                    <a:gd name="T26" fmla="*/ 15 w 30"/>
                    <a:gd name="T27" fmla="*/ 18 h 66"/>
                    <a:gd name="T28" fmla="*/ 15 w 30"/>
                    <a:gd name="T29" fmla="*/ 11 h 66"/>
                    <a:gd name="T30" fmla="*/ 15 w 30"/>
                    <a:gd name="T31" fmla="*/ 4 h 66"/>
                    <a:gd name="T32" fmla="*/ 13 w 30"/>
                    <a:gd name="T33" fmla="*/ 0 h 66"/>
                    <a:gd name="T34" fmla="*/ 13 w 30"/>
                    <a:gd name="T35" fmla="*/ 8 h 66"/>
                    <a:gd name="T36" fmla="*/ 13 w 30"/>
                    <a:gd name="T37" fmla="*/ 15 h 66"/>
                    <a:gd name="T38" fmla="*/ 13 w 30"/>
                    <a:gd name="T39" fmla="*/ 20 h 66"/>
                    <a:gd name="T40" fmla="*/ 13 w 30"/>
                    <a:gd name="T41" fmla="*/ 25 h 66"/>
                    <a:gd name="T42" fmla="*/ 13 w 30"/>
                    <a:gd name="T43" fmla="*/ 28 h 66"/>
                    <a:gd name="T44" fmla="*/ 13 w 30"/>
                    <a:gd name="T45" fmla="*/ 31 h 66"/>
                    <a:gd name="T46" fmla="*/ 13 w 30"/>
                    <a:gd name="T47" fmla="*/ 31 h 66"/>
                    <a:gd name="T48" fmla="*/ 13 w 30"/>
                    <a:gd name="T49" fmla="*/ 31 h 66"/>
                    <a:gd name="T50" fmla="*/ 14 w 30"/>
                    <a:gd name="T51" fmla="*/ 31 h 66"/>
                    <a:gd name="T52" fmla="*/ 13 w 30"/>
                    <a:gd name="T53" fmla="*/ 31 h 66"/>
                    <a:gd name="T54" fmla="*/ 12 w 30"/>
                    <a:gd name="T55" fmla="*/ 29 h 66"/>
                    <a:gd name="T56" fmla="*/ 11 w 30"/>
                    <a:gd name="T57" fmla="*/ 26 h 66"/>
                    <a:gd name="T58" fmla="*/ 9 w 30"/>
                    <a:gd name="T59" fmla="*/ 23 h 66"/>
                    <a:gd name="T60" fmla="*/ 7 w 30"/>
                    <a:gd name="T61" fmla="*/ 20 h 66"/>
                    <a:gd name="T62" fmla="*/ 4 w 30"/>
                    <a:gd name="T63" fmla="*/ 15 h 66"/>
                    <a:gd name="T64" fmla="*/ 1 w 30"/>
                    <a:gd name="T65" fmla="*/ 11 h 66"/>
                    <a:gd name="T66" fmla="*/ 1 w 30"/>
                    <a:gd name="T67" fmla="*/ 11 h 66"/>
                    <a:gd name="T68" fmla="*/ 1 w 30"/>
                    <a:gd name="T69" fmla="*/ 11 h 66"/>
                    <a:gd name="T70" fmla="*/ 1 w 30"/>
                    <a:gd name="T71" fmla="*/ 11 h 66"/>
                    <a:gd name="T72" fmla="*/ 0 w 30"/>
                    <a:gd name="T73" fmla="*/ 11 h 66"/>
                    <a:gd name="T74" fmla="*/ 0 w 30"/>
                    <a:gd name="T75" fmla="*/ 11 h 66"/>
                    <a:gd name="T76" fmla="*/ 0 w 30"/>
                    <a:gd name="T77" fmla="*/ 11 h 66"/>
                    <a:gd name="T78" fmla="*/ 0 w 30"/>
                    <a:gd name="T79" fmla="*/ 11 h 66"/>
                    <a:gd name="T80" fmla="*/ 0 w 30"/>
                    <a:gd name="T81" fmla="*/ 11 h 66"/>
                    <a:gd name="T82" fmla="*/ 0 w 30"/>
                    <a:gd name="T83" fmla="*/ 11 h 66"/>
                    <a:gd name="T84" fmla="*/ 0 w 30"/>
                    <a:gd name="T85" fmla="*/ 12 h 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 h="66">
                      <a:moveTo>
                        <a:pt x="0" y="24"/>
                      </a:moveTo>
                      <a:lnTo>
                        <a:pt x="3" y="29"/>
                      </a:lnTo>
                      <a:lnTo>
                        <a:pt x="6" y="33"/>
                      </a:lnTo>
                      <a:lnTo>
                        <a:pt x="9" y="37"/>
                      </a:lnTo>
                      <a:lnTo>
                        <a:pt x="11" y="41"/>
                      </a:lnTo>
                      <a:lnTo>
                        <a:pt x="14" y="45"/>
                      </a:lnTo>
                      <a:lnTo>
                        <a:pt x="15" y="48"/>
                      </a:lnTo>
                      <a:lnTo>
                        <a:pt x="17" y="51"/>
                      </a:lnTo>
                      <a:lnTo>
                        <a:pt x="19" y="54"/>
                      </a:lnTo>
                      <a:lnTo>
                        <a:pt x="20" y="57"/>
                      </a:lnTo>
                      <a:lnTo>
                        <a:pt x="22" y="59"/>
                      </a:lnTo>
                      <a:lnTo>
                        <a:pt x="23" y="61"/>
                      </a:lnTo>
                      <a:lnTo>
                        <a:pt x="24" y="63"/>
                      </a:lnTo>
                      <a:lnTo>
                        <a:pt x="25" y="64"/>
                      </a:lnTo>
                      <a:lnTo>
                        <a:pt x="25" y="65"/>
                      </a:lnTo>
                      <a:lnTo>
                        <a:pt x="27" y="66"/>
                      </a:lnTo>
                      <a:lnTo>
                        <a:pt x="28" y="66"/>
                      </a:lnTo>
                      <a:lnTo>
                        <a:pt x="29" y="65"/>
                      </a:lnTo>
                      <a:lnTo>
                        <a:pt x="30" y="64"/>
                      </a:lnTo>
                      <a:lnTo>
                        <a:pt x="30" y="62"/>
                      </a:lnTo>
                      <a:lnTo>
                        <a:pt x="30" y="60"/>
                      </a:lnTo>
                      <a:lnTo>
                        <a:pt x="30" y="58"/>
                      </a:lnTo>
                      <a:lnTo>
                        <a:pt x="30" y="56"/>
                      </a:lnTo>
                      <a:lnTo>
                        <a:pt x="30" y="53"/>
                      </a:lnTo>
                      <a:lnTo>
                        <a:pt x="30" y="49"/>
                      </a:lnTo>
                      <a:lnTo>
                        <a:pt x="30" y="45"/>
                      </a:lnTo>
                      <a:lnTo>
                        <a:pt x="30" y="40"/>
                      </a:lnTo>
                      <a:lnTo>
                        <a:pt x="30" y="35"/>
                      </a:lnTo>
                      <a:lnTo>
                        <a:pt x="30" y="29"/>
                      </a:lnTo>
                      <a:lnTo>
                        <a:pt x="30" y="23"/>
                      </a:lnTo>
                      <a:lnTo>
                        <a:pt x="30" y="15"/>
                      </a:lnTo>
                      <a:lnTo>
                        <a:pt x="30" y="8"/>
                      </a:lnTo>
                      <a:lnTo>
                        <a:pt x="30" y="0"/>
                      </a:lnTo>
                      <a:lnTo>
                        <a:pt x="27" y="0"/>
                      </a:lnTo>
                      <a:lnTo>
                        <a:pt x="27" y="8"/>
                      </a:lnTo>
                      <a:lnTo>
                        <a:pt x="27" y="16"/>
                      </a:lnTo>
                      <a:lnTo>
                        <a:pt x="27" y="23"/>
                      </a:lnTo>
                      <a:lnTo>
                        <a:pt x="27" y="29"/>
                      </a:lnTo>
                      <a:lnTo>
                        <a:pt x="27" y="35"/>
                      </a:lnTo>
                      <a:lnTo>
                        <a:pt x="27" y="40"/>
                      </a:lnTo>
                      <a:lnTo>
                        <a:pt x="27" y="45"/>
                      </a:lnTo>
                      <a:lnTo>
                        <a:pt x="27" y="49"/>
                      </a:lnTo>
                      <a:lnTo>
                        <a:pt x="27" y="53"/>
                      </a:lnTo>
                      <a:lnTo>
                        <a:pt x="27" y="56"/>
                      </a:lnTo>
                      <a:lnTo>
                        <a:pt x="27" y="58"/>
                      </a:lnTo>
                      <a:lnTo>
                        <a:pt x="27" y="60"/>
                      </a:lnTo>
                      <a:lnTo>
                        <a:pt x="27" y="62"/>
                      </a:lnTo>
                      <a:lnTo>
                        <a:pt x="27" y="63"/>
                      </a:lnTo>
                      <a:lnTo>
                        <a:pt x="27" y="62"/>
                      </a:lnTo>
                      <a:lnTo>
                        <a:pt x="28" y="62"/>
                      </a:lnTo>
                      <a:lnTo>
                        <a:pt x="27" y="61"/>
                      </a:lnTo>
                      <a:lnTo>
                        <a:pt x="27" y="60"/>
                      </a:lnTo>
                      <a:lnTo>
                        <a:pt x="25" y="59"/>
                      </a:lnTo>
                      <a:lnTo>
                        <a:pt x="24" y="57"/>
                      </a:lnTo>
                      <a:lnTo>
                        <a:pt x="23" y="54"/>
                      </a:lnTo>
                      <a:lnTo>
                        <a:pt x="22" y="52"/>
                      </a:lnTo>
                      <a:lnTo>
                        <a:pt x="20" y="49"/>
                      </a:lnTo>
                      <a:lnTo>
                        <a:pt x="18" y="45"/>
                      </a:lnTo>
                      <a:lnTo>
                        <a:pt x="16" y="42"/>
                      </a:lnTo>
                      <a:lnTo>
                        <a:pt x="14" y="39"/>
                      </a:lnTo>
                      <a:lnTo>
                        <a:pt x="11" y="35"/>
                      </a:lnTo>
                      <a:lnTo>
                        <a:pt x="9" y="30"/>
                      </a:lnTo>
                      <a:lnTo>
                        <a:pt x="6" y="26"/>
                      </a:lnTo>
                      <a:lnTo>
                        <a:pt x="3" y="21"/>
                      </a:lnTo>
                      <a:lnTo>
                        <a:pt x="2" y="21"/>
                      </a:lnTo>
                      <a:lnTo>
                        <a:pt x="1" y="21"/>
                      </a:lnTo>
                      <a:lnTo>
                        <a:pt x="0" y="21"/>
                      </a:lnTo>
                      <a:lnTo>
                        <a:pt x="0" y="22"/>
                      </a:lnTo>
                      <a:lnTo>
                        <a:pt x="0" y="23"/>
                      </a:lnTo>
                      <a:lnTo>
                        <a:pt x="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2" name="Freeform 864">
                  <a:extLst>
                    <a:ext uri="{FF2B5EF4-FFF2-40B4-BE49-F238E27FC236}">
                      <a16:creationId xmlns:a16="http://schemas.microsoft.com/office/drawing/2014/main" id="{E3B3291E-9B64-5F5B-587C-E2A5B4D20D05}"/>
                    </a:ext>
                  </a:extLst>
                </p:cNvPr>
                <p:cNvSpPr>
                  <a:spLocks/>
                </p:cNvSpPr>
                <p:nvPr/>
              </p:nvSpPr>
              <p:spPr bwMode="auto">
                <a:xfrm>
                  <a:off x="610" y="1995"/>
                  <a:ext cx="47" cy="39"/>
                </a:xfrm>
                <a:custGeom>
                  <a:avLst/>
                  <a:gdLst>
                    <a:gd name="T0" fmla="*/ 1 w 68"/>
                    <a:gd name="T1" fmla="*/ 25 h 54"/>
                    <a:gd name="T2" fmla="*/ 2 w 68"/>
                    <a:gd name="T3" fmla="*/ 27 h 54"/>
                    <a:gd name="T4" fmla="*/ 4 w 68"/>
                    <a:gd name="T5" fmla="*/ 28 h 54"/>
                    <a:gd name="T6" fmla="*/ 6 w 68"/>
                    <a:gd name="T7" fmla="*/ 27 h 54"/>
                    <a:gd name="T8" fmla="*/ 7 w 68"/>
                    <a:gd name="T9" fmla="*/ 25 h 54"/>
                    <a:gd name="T10" fmla="*/ 9 w 68"/>
                    <a:gd name="T11" fmla="*/ 23 h 54"/>
                    <a:gd name="T12" fmla="*/ 11 w 68"/>
                    <a:gd name="T13" fmla="*/ 20 h 54"/>
                    <a:gd name="T14" fmla="*/ 13 w 68"/>
                    <a:gd name="T15" fmla="*/ 16 h 54"/>
                    <a:gd name="T16" fmla="*/ 15 w 68"/>
                    <a:gd name="T17" fmla="*/ 13 h 54"/>
                    <a:gd name="T18" fmla="*/ 18 w 68"/>
                    <a:gd name="T19" fmla="*/ 9 h 54"/>
                    <a:gd name="T20" fmla="*/ 19 w 68"/>
                    <a:gd name="T21" fmla="*/ 7 h 54"/>
                    <a:gd name="T22" fmla="*/ 22 w 68"/>
                    <a:gd name="T23" fmla="*/ 4 h 54"/>
                    <a:gd name="T24" fmla="*/ 24 w 68"/>
                    <a:gd name="T25" fmla="*/ 3 h 54"/>
                    <a:gd name="T26" fmla="*/ 26 w 68"/>
                    <a:gd name="T27" fmla="*/ 1 h 54"/>
                    <a:gd name="T28" fmla="*/ 28 w 68"/>
                    <a:gd name="T29" fmla="*/ 2 h 54"/>
                    <a:gd name="T30" fmla="*/ 30 w 68"/>
                    <a:gd name="T31" fmla="*/ 4 h 54"/>
                    <a:gd name="T32" fmla="*/ 32 w 68"/>
                    <a:gd name="T33" fmla="*/ 4 h 54"/>
                    <a:gd name="T34" fmla="*/ 30 w 68"/>
                    <a:gd name="T35" fmla="*/ 1 h 54"/>
                    <a:gd name="T36" fmla="*/ 28 w 68"/>
                    <a:gd name="T37" fmla="*/ 0 h 54"/>
                    <a:gd name="T38" fmla="*/ 26 w 68"/>
                    <a:gd name="T39" fmla="*/ 0 h 54"/>
                    <a:gd name="T40" fmla="*/ 22 w 68"/>
                    <a:gd name="T41" fmla="*/ 1 h 54"/>
                    <a:gd name="T42" fmla="*/ 20 w 68"/>
                    <a:gd name="T43" fmla="*/ 4 h 54"/>
                    <a:gd name="T44" fmla="*/ 18 w 68"/>
                    <a:gd name="T45" fmla="*/ 7 h 54"/>
                    <a:gd name="T46" fmla="*/ 15 w 68"/>
                    <a:gd name="T47" fmla="*/ 10 h 54"/>
                    <a:gd name="T48" fmla="*/ 13 w 68"/>
                    <a:gd name="T49" fmla="*/ 13 h 54"/>
                    <a:gd name="T50" fmla="*/ 11 w 68"/>
                    <a:gd name="T51" fmla="*/ 17 h 54"/>
                    <a:gd name="T52" fmla="*/ 9 w 68"/>
                    <a:gd name="T53" fmla="*/ 20 h 54"/>
                    <a:gd name="T54" fmla="*/ 7 w 68"/>
                    <a:gd name="T55" fmla="*/ 22 h 54"/>
                    <a:gd name="T56" fmla="*/ 6 w 68"/>
                    <a:gd name="T57" fmla="*/ 25 h 54"/>
                    <a:gd name="T58" fmla="*/ 4 w 68"/>
                    <a:gd name="T59" fmla="*/ 25 h 54"/>
                    <a:gd name="T60" fmla="*/ 3 w 68"/>
                    <a:gd name="T61" fmla="*/ 25 h 54"/>
                    <a:gd name="T62" fmla="*/ 2 w 68"/>
                    <a:gd name="T63" fmla="*/ 25 h 54"/>
                    <a:gd name="T64" fmla="*/ 1 w 68"/>
                    <a:gd name="T65" fmla="*/ 23 h 54"/>
                    <a:gd name="T66" fmla="*/ 1 w 68"/>
                    <a:gd name="T67" fmla="*/ 22 h 54"/>
                    <a:gd name="T68" fmla="*/ 1 w 68"/>
                    <a:gd name="T69" fmla="*/ 22 h 54"/>
                    <a:gd name="T70" fmla="*/ 1 w 68"/>
                    <a:gd name="T71" fmla="*/ 22 h 54"/>
                    <a:gd name="T72" fmla="*/ 1 w 68"/>
                    <a:gd name="T73" fmla="*/ 22 h 54"/>
                    <a:gd name="T74" fmla="*/ 0 w 68"/>
                    <a:gd name="T75" fmla="*/ 22 h 54"/>
                    <a:gd name="T76" fmla="*/ 0 w 68"/>
                    <a:gd name="T77" fmla="*/ 23 h 54"/>
                    <a:gd name="T78" fmla="*/ 0 w 68"/>
                    <a:gd name="T79" fmla="*/ 23 h 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8" h="54">
                      <a:moveTo>
                        <a:pt x="0" y="45"/>
                      </a:moveTo>
                      <a:lnTo>
                        <a:pt x="1" y="49"/>
                      </a:lnTo>
                      <a:lnTo>
                        <a:pt x="3" y="51"/>
                      </a:lnTo>
                      <a:lnTo>
                        <a:pt x="4" y="53"/>
                      </a:lnTo>
                      <a:lnTo>
                        <a:pt x="6" y="54"/>
                      </a:lnTo>
                      <a:lnTo>
                        <a:pt x="8" y="54"/>
                      </a:lnTo>
                      <a:lnTo>
                        <a:pt x="9" y="53"/>
                      </a:lnTo>
                      <a:lnTo>
                        <a:pt x="11" y="52"/>
                      </a:lnTo>
                      <a:lnTo>
                        <a:pt x="13" y="51"/>
                      </a:lnTo>
                      <a:lnTo>
                        <a:pt x="15" y="49"/>
                      </a:lnTo>
                      <a:lnTo>
                        <a:pt x="17" y="46"/>
                      </a:lnTo>
                      <a:lnTo>
                        <a:pt x="19" y="44"/>
                      </a:lnTo>
                      <a:lnTo>
                        <a:pt x="21" y="41"/>
                      </a:lnTo>
                      <a:lnTo>
                        <a:pt x="23" y="38"/>
                      </a:lnTo>
                      <a:lnTo>
                        <a:pt x="25" y="35"/>
                      </a:lnTo>
                      <a:lnTo>
                        <a:pt x="27" y="31"/>
                      </a:lnTo>
                      <a:lnTo>
                        <a:pt x="30" y="28"/>
                      </a:lnTo>
                      <a:lnTo>
                        <a:pt x="32" y="25"/>
                      </a:lnTo>
                      <a:lnTo>
                        <a:pt x="34" y="22"/>
                      </a:lnTo>
                      <a:lnTo>
                        <a:pt x="37" y="18"/>
                      </a:lnTo>
                      <a:lnTo>
                        <a:pt x="39" y="15"/>
                      </a:lnTo>
                      <a:lnTo>
                        <a:pt x="41" y="13"/>
                      </a:lnTo>
                      <a:lnTo>
                        <a:pt x="44" y="10"/>
                      </a:lnTo>
                      <a:lnTo>
                        <a:pt x="46" y="8"/>
                      </a:lnTo>
                      <a:lnTo>
                        <a:pt x="48" y="7"/>
                      </a:lnTo>
                      <a:lnTo>
                        <a:pt x="51" y="5"/>
                      </a:lnTo>
                      <a:lnTo>
                        <a:pt x="53" y="4"/>
                      </a:lnTo>
                      <a:lnTo>
                        <a:pt x="55" y="3"/>
                      </a:lnTo>
                      <a:lnTo>
                        <a:pt x="58" y="3"/>
                      </a:lnTo>
                      <a:lnTo>
                        <a:pt x="60" y="4"/>
                      </a:lnTo>
                      <a:lnTo>
                        <a:pt x="62" y="5"/>
                      </a:lnTo>
                      <a:lnTo>
                        <a:pt x="64" y="7"/>
                      </a:lnTo>
                      <a:lnTo>
                        <a:pt x="66" y="10"/>
                      </a:lnTo>
                      <a:lnTo>
                        <a:pt x="68" y="7"/>
                      </a:lnTo>
                      <a:lnTo>
                        <a:pt x="66" y="4"/>
                      </a:lnTo>
                      <a:lnTo>
                        <a:pt x="63" y="2"/>
                      </a:lnTo>
                      <a:lnTo>
                        <a:pt x="60" y="0"/>
                      </a:lnTo>
                      <a:lnTo>
                        <a:pt x="58" y="0"/>
                      </a:lnTo>
                      <a:lnTo>
                        <a:pt x="55" y="0"/>
                      </a:lnTo>
                      <a:lnTo>
                        <a:pt x="53" y="0"/>
                      </a:lnTo>
                      <a:lnTo>
                        <a:pt x="50" y="1"/>
                      </a:lnTo>
                      <a:lnTo>
                        <a:pt x="47" y="2"/>
                      </a:lnTo>
                      <a:lnTo>
                        <a:pt x="45" y="5"/>
                      </a:lnTo>
                      <a:lnTo>
                        <a:pt x="42" y="7"/>
                      </a:lnTo>
                      <a:lnTo>
                        <a:pt x="40" y="10"/>
                      </a:lnTo>
                      <a:lnTo>
                        <a:pt x="37" y="13"/>
                      </a:lnTo>
                      <a:lnTo>
                        <a:pt x="34" y="15"/>
                      </a:lnTo>
                      <a:lnTo>
                        <a:pt x="32" y="19"/>
                      </a:lnTo>
                      <a:lnTo>
                        <a:pt x="30" y="22"/>
                      </a:lnTo>
                      <a:lnTo>
                        <a:pt x="27" y="25"/>
                      </a:lnTo>
                      <a:lnTo>
                        <a:pt x="25" y="29"/>
                      </a:lnTo>
                      <a:lnTo>
                        <a:pt x="23" y="32"/>
                      </a:lnTo>
                      <a:lnTo>
                        <a:pt x="21" y="35"/>
                      </a:lnTo>
                      <a:lnTo>
                        <a:pt x="19" y="38"/>
                      </a:lnTo>
                      <a:lnTo>
                        <a:pt x="16" y="41"/>
                      </a:lnTo>
                      <a:lnTo>
                        <a:pt x="14" y="43"/>
                      </a:lnTo>
                      <a:lnTo>
                        <a:pt x="13" y="46"/>
                      </a:lnTo>
                      <a:lnTo>
                        <a:pt x="11" y="47"/>
                      </a:lnTo>
                      <a:lnTo>
                        <a:pt x="9" y="49"/>
                      </a:lnTo>
                      <a:lnTo>
                        <a:pt x="8" y="49"/>
                      </a:lnTo>
                      <a:lnTo>
                        <a:pt x="7" y="49"/>
                      </a:lnTo>
                      <a:lnTo>
                        <a:pt x="6" y="49"/>
                      </a:lnTo>
                      <a:lnTo>
                        <a:pt x="5" y="49"/>
                      </a:lnTo>
                      <a:lnTo>
                        <a:pt x="4" y="46"/>
                      </a:lnTo>
                      <a:lnTo>
                        <a:pt x="3" y="44"/>
                      </a:lnTo>
                      <a:lnTo>
                        <a:pt x="3" y="43"/>
                      </a:lnTo>
                      <a:lnTo>
                        <a:pt x="3" y="42"/>
                      </a:lnTo>
                      <a:lnTo>
                        <a:pt x="2" y="42"/>
                      </a:lnTo>
                      <a:lnTo>
                        <a:pt x="1" y="42"/>
                      </a:lnTo>
                      <a:lnTo>
                        <a:pt x="0" y="43"/>
                      </a:lnTo>
                      <a:lnTo>
                        <a:pt x="0" y="44"/>
                      </a:lnTo>
                      <a:lnTo>
                        <a:pt x="0"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3" name="Freeform 865">
                  <a:extLst>
                    <a:ext uri="{FF2B5EF4-FFF2-40B4-BE49-F238E27FC236}">
                      <a16:creationId xmlns:a16="http://schemas.microsoft.com/office/drawing/2014/main" id="{83D84B81-4EB2-4D66-F270-D6D8852C8916}"/>
                    </a:ext>
                  </a:extLst>
                </p:cNvPr>
                <p:cNvSpPr>
                  <a:spLocks/>
                </p:cNvSpPr>
                <p:nvPr/>
              </p:nvSpPr>
              <p:spPr bwMode="auto">
                <a:xfrm>
                  <a:off x="610" y="1999"/>
                  <a:ext cx="24" cy="28"/>
                </a:xfrm>
                <a:custGeom>
                  <a:avLst/>
                  <a:gdLst>
                    <a:gd name="T0" fmla="*/ 14 w 37"/>
                    <a:gd name="T1" fmla="*/ 0 h 40"/>
                    <a:gd name="T2" fmla="*/ 14 w 37"/>
                    <a:gd name="T3" fmla="*/ 2 h 40"/>
                    <a:gd name="T4" fmla="*/ 12 w 37"/>
                    <a:gd name="T5" fmla="*/ 3 h 40"/>
                    <a:gd name="T6" fmla="*/ 11 w 37"/>
                    <a:gd name="T7" fmla="*/ 4 h 40"/>
                    <a:gd name="T8" fmla="*/ 9 w 37"/>
                    <a:gd name="T9" fmla="*/ 5 h 40"/>
                    <a:gd name="T10" fmla="*/ 8 w 37"/>
                    <a:gd name="T11" fmla="*/ 6 h 40"/>
                    <a:gd name="T12" fmla="*/ 6 w 37"/>
                    <a:gd name="T13" fmla="*/ 6 h 40"/>
                    <a:gd name="T14" fmla="*/ 5 w 37"/>
                    <a:gd name="T15" fmla="*/ 7 h 40"/>
                    <a:gd name="T16" fmla="*/ 4 w 37"/>
                    <a:gd name="T17" fmla="*/ 7 h 40"/>
                    <a:gd name="T18" fmla="*/ 3 w 37"/>
                    <a:gd name="T19" fmla="*/ 8 h 40"/>
                    <a:gd name="T20" fmla="*/ 2 w 37"/>
                    <a:gd name="T21" fmla="*/ 8 h 40"/>
                    <a:gd name="T22" fmla="*/ 1 w 37"/>
                    <a:gd name="T23" fmla="*/ 10 h 40"/>
                    <a:gd name="T24" fmla="*/ 1 w 37"/>
                    <a:gd name="T25" fmla="*/ 11 h 40"/>
                    <a:gd name="T26" fmla="*/ 0 w 37"/>
                    <a:gd name="T27" fmla="*/ 13 h 40"/>
                    <a:gd name="T28" fmla="*/ 0 w 37"/>
                    <a:gd name="T29" fmla="*/ 15 h 40"/>
                    <a:gd name="T30" fmla="*/ 0 w 37"/>
                    <a:gd name="T31" fmla="*/ 17 h 40"/>
                    <a:gd name="T32" fmla="*/ 1 w 37"/>
                    <a:gd name="T33" fmla="*/ 20 h 40"/>
                    <a:gd name="T34" fmla="*/ 2 w 37"/>
                    <a:gd name="T35" fmla="*/ 18 h 40"/>
                    <a:gd name="T36" fmla="*/ 1 w 37"/>
                    <a:gd name="T37" fmla="*/ 15 h 40"/>
                    <a:gd name="T38" fmla="*/ 1 w 37"/>
                    <a:gd name="T39" fmla="*/ 14 h 40"/>
                    <a:gd name="T40" fmla="*/ 1 w 37"/>
                    <a:gd name="T41" fmla="*/ 13 h 40"/>
                    <a:gd name="T42" fmla="*/ 2 w 37"/>
                    <a:gd name="T43" fmla="*/ 11 h 40"/>
                    <a:gd name="T44" fmla="*/ 3 w 37"/>
                    <a:gd name="T45" fmla="*/ 11 h 40"/>
                    <a:gd name="T46" fmla="*/ 3 w 37"/>
                    <a:gd name="T47" fmla="*/ 10 h 40"/>
                    <a:gd name="T48" fmla="*/ 4 w 37"/>
                    <a:gd name="T49" fmla="*/ 9 h 40"/>
                    <a:gd name="T50" fmla="*/ 5 w 37"/>
                    <a:gd name="T51" fmla="*/ 9 h 40"/>
                    <a:gd name="T52" fmla="*/ 6 w 37"/>
                    <a:gd name="T53" fmla="*/ 8 h 40"/>
                    <a:gd name="T54" fmla="*/ 8 w 37"/>
                    <a:gd name="T55" fmla="*/ 8 h 40"/>
                    <a:gd name="T56" fmla="*/ 9 w 37"/>
                    <a:gd name="T57" fmla="*/ 7 h 40"/>
                    <a:gd name="T58" fmla="*/ 10 w 37"/>
                    <a:gd name="T59" fmla="*/ 6 h 40"/>
                    <a:gd name="T60" fmla="*/ 12 w 37"/>
                    <a:gd name="T61" fmla="*/ 6 h 40"/>
                    <a:gd name="T62" fmla="*/ 14 w 37"/>
                    <a:gd name="T63" fmla="*/ 4 h 40"/>
                    <a:gd name="T64" fmla="*/ 15 w 37"/>
                    <a:gd name="T65" fmla="*/ 3 h 40"/>
                    <a:gd name="T66" fmla="*/ 15 w 37"/>
                    <a:gd name="T67" fmla="*/ 0 h 40"/>
                    <a:gd name="T68" fmla="*/ 16 w 37"/>
                    <a:gd name="T69" fmla="*/ 1 h 40"/>
                    <a:gd name="T70" fmla="*/ 16 w 37"/>
                    <a:gd name="T71" fmla="*/ 1 h 40"/>
                    <a:gd name="T72" fmla="*/ 16 w 37"/>
                    <a:gd name="T73" fmla="*/ 1 h 40"/>
                    <a:gd name="T74" fmla="*/ 16 w 37"/>
                    <a:gd name="T75" fmla="*/ 0 h 40"/>
                    <a:gd name="T76" fmla="*/ 15 w 37"/>
                    <a:gd name="T77" fmla="*/ 0 h 40"/>
                    <a:gd name="T78" fmla="*/ 15 w 37"/>
                    <a:gd name="T79" fmla="*/ 0 h 40"/>
                    <a:gd name="T80" fmla="*/ 15 w 37"/>
                    <a:gd name="T81" fmla="*/ 0 h 40"/>
                    <a:gd name="T82" fmla="*/ 15 w 37"/>
                    <a:gd name="T83" fmla="*/ 2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7" h="40">
                      <a:moveTo>
                        <a:pt x="36" y="4"/>
                      </a:moveTo>
                      <a:lnTo>
                        <a:pt x="34" y="0"/>
                      </a:lnTo>
                      <a:lnTo>
                        <a:pt x="33" y="2"/>
                      </a:lnTo>
                      <a:lnTo>
                        <a:pt x="32" y="4"/>
                      </a:lnTo>
                      <a:lnTo>
                        <a:pt x="30" y="5"/>
                      </a:lnTo>
                      <a:lnTo>
                        <a:pt x="29" y="6"/>
                      </a:lnTo>
                      <a:lnTo>
                        <a:pt x="27" y="7"/>
                      </a:lnTo>
                      <a:lnTo>
                        <a:pt x="26" y="8"/>
                      </a:lnTo>
                      <a:lnTo>
                        <a:pt x="24" y="9"/>
                      </a:lnTo>
                      <a:lnTo>
                        <a:pt x="22" y="10"/>
                      </a:lnTo>
                      <a:lnTo>
                        <a:pt x="21" y="10"/>
                      </a:lnTo>
                      <a:lnTo>
                        <a:pt x="19" y="11"/>
                      </a:lnTo>
                      <a:lnTo>
                        <a:pt x="17" y="12"/>
                      </a:lnTo>
                      <a:lnTo>
                        <a:pt x="16" y="12"/>
                      </a:lnTo>
                      <a:lnTo>
                        <a:pt x="14" y="13"/>
                      </a:lnTo>
                      <a:lnTo>
                        <a:pt x="13" y="14"/>
                      </a:lnTo>
                      <a:lnTo>
                        <a:pt x="11" y="14"/>
                      </a:lnTo>
                      <a:lnTo>
                        <a:pt x="10" y="14"/>
                      </a:lnTo>
                      <a:lnTo>
                        <a:pt x="9" y="15"/>
                      </a:lnTo>
                      <a:lnTo>
                        <a:pt x="7" y="15"/>
                      </a:lnTo>
                      <a:lnTo>
                        <a:pt x="6" y="17"/>
                      </a:lnTo>
                      <a:lnTo>
                        <a:pt x="5" y="17"/>
                      </a:lnTo>
                      <a:lnTo>
                        <a:pt x="4" y="19"/>
                      </a:lnTo>
                      <a:lnTo>
                        <a:pt x="3" y="20"/>
                      </a:lnTo>
                      <a:lnTo>
                        <a:pt x="2" y="21"/>
                      </a:lnTo>
                      <a:lnTo>
                        <a:pt x="1" y="22"/>
                      </a:lnTo>
                      <a:lnTo>
                        <a:pt x="0" y="24"/>
                      </a:lnTo>
                      <a:lnTo>
                        <a:pt x="0" y="26"/>
                      </a:lnTo>
                      <a:lnTo>
                        <a:pt x="0" y="28"/>
                      </a:lnTo>
                      <a:lnTo>
                        <a:pt x="0" y="30"/>
                      </a:lnTo>
                      <a:lnTo>
                        <a:pt x="0" y="32"/>
                      </a:lnTo>
                      <a:lnTo>
                        <a:pt x="0" y="34"/>
                      </a:lnTo>
                      <a:lnTo>
                        <a:pt x="1" y="37"/>
                      </a:lnTo>
                      <a:lnTo>
                        <a:pt x="1" y="40"/>
                      </a:lnTo>
                      <a:lnTo>
                        <a:pt x="4" y="39"/>
                      </a:lnTo>
                      <a:lnTo>
                        <a:pt x="4" y="36"/>
                      </a:lnTo>
                      <a:lnTo>
                        <a:pt x="3" y="34"/>
                      </a:lnTo>
                      <a:lnTo>
                        <a:pt x="3" y="32"/>
                      </a:lnTo>
                      <a:lnTo>
                        <a:pt x="3" y="30"/>
                      </a:lnTo>
                      <a:lnTo>
                        <a:pt x="3" y="28"/>
                      </a:lnTo>
                      <a:lnTo>
                        <a:pt x="3" y="27"/>
                      </a:lnTo>
                      <a:lnTo>
                        <a:pt x="3" y="25"/>
                      </a:lnTo>
                      <a:lnTo>
                        <a:pt x="4" y="24"/>
                      </a:lnTo>
                      <a:lnTo>
                        <a:pt x="4" y="23"/>
                      </a:lnTo>
                      <a:lnTo>
                        <a:pt x="5" y="22"/>
                      </a:lnTo>
                      <a:lnTo>
                        <a:pt x="6" y="22"/>
                      </a:lnTo>
                      <a:lnTo>
                        <a:pt x="6" y="21"/>
                      </a:lnTo>
                      <a:lnTo>
                        <a:pt x="7" y="20"/>
                      </a:lnTo>
                      <a:lnTo>
                        <a:pt x="8" y="20"/>
                      </a:lnTo>
                      <a:lnTo>
                        <a:pt x="9" y="19"/>
                      </a:lnTo>
                      <a:lnTo>
                        <a:pt x="10" y="19"/>
                      </a:lnTo>
                      <a:lnTo>
                        <a:pt x="12" y="18"/>
                      </a:lnTo>
                      <a:lnTo>
                        <a:pt x="14" y="17"/>
                      </a:lnTo>
                      <a:lnTo>
                        <a:pt x="15" y="17"/>
                      </a:lnTo>
                      <a:lnTo>
                        <a:pt x="17" y="16"/>
                      </a:lnTo>
                      <a:lnTo>
                        <a:pt x="19" y="15"/>
                      </a:lnTo>
                      <a:lnTo>
                        <a:pt x="20" y="15"/>
                      </a:lnTo>
                      <a:lnTo>
                        <a:pt x="22" y="14"/>
                      </a:lnTo>
                      <a:lnTo>
                        <a:pt x="23" y="14"/>
                      </a:lnTo>
                      <a:lnTo>
                        <a:pt x="25" y="13"/>
                      </a:lnTo>
                      <a:lnTo>
                        <a:pt x="27" y="12"/>
                      </a:lnTo>
                      <a:lnTo>
                        <a:pt x="29" y="11"/>
                      </a:lnTo>
                      <a:lnTo>
                        <a:pt x="31" y="10"/>
                      </a:lnTo>
                      <a:lnTo>
                        <a:pt x="32" y="8"/>
                      </a:lnTo>
                      <a:lnTo>
                        <a:pt x="33" y="7"/>
                      </a:lnTo>
                      <a:lnTo>
                        <a:pt x="35" y="6"/>
                      </a:lnTo>
                      <a:lnTo>
                        <a:pt x="37" y="3"/>
                      </a:lnTo>
                      <a:lnTo>
                        <a:pt x="35" y="0"/>
                      </a:lnTo>
                      <a:lnTo>
                        <a:pt x="37" y="3"/>
                      </a:lnTo>
                      <a:lnTo>
                        <a:pt x="37" y="2"/>
                      </a:lnTo>
                      <a:lnTo>
                        <a:pt x="37" y="1"/>
                      </a:lnTo>
                      <a:lnTo>
                        <a:pt x="37" y="0"/>
                      </a:lnTo>
                      <a:lnTo>
                        <a:pt x="36" y="0"/>
                      </a:lnTo>
                      <a:lnTo>
                        <a:pt x="35" y="0"/>
                      </a:lnTo>
                      <a:lnTo>
                        <a:pt x="34" y="0"/>
                      </a:lnTo>
                      <a:lnTo>
                        <a:pt x="3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4" name="Freeform 866">
                  <a:extLst>
                    <a:ext uri="{FF2B5EF4-FFF2-40B4-BE49-F238E27FC236}">
                      <a16:creationId xmlns:a16="http://schemas.microsoft.com/office/drawing/2014/main" id="{F97ABF89-6A46-7328-6EA2-CD7241924D65}"/>
                    </a:ext>
                  </a:extLst>
                </p:cNvPr>
                <p:cNvSpPr>
                  <a:spLocks/>
                </p:cNvSpPr>
                <p:nvPr/>
              </p:nvSpPr>
              <p:spPr bwMode="auto">
                <a:xfrm>
                  <a:off x="565" y="1999"/>
                  <a:ext cx="69" cy="6"/>
                </a:xfrm>
                <a:custGeom>
                  <a:avLst/>
                  <a:gdLst>
                    <a:gd name="T0" fmla="*/ 1 w 101"/>
                    <a:gd name="T1" fmla="*/ 2 h 9"/>
                    <a:gd name="T2" fmla="*/ 3 w 101"/>
                    <a:gd name="T3" fmla="*/ 2 h 9"/>
                    <a:gd name="T4" fmla="*/ 5 w 101"/>
                    <a:gd name="T5" fmla="*/ 2 h 9"/>
                    <a:gd name="T6" fmla="*/ 8 w 101"/>
                    <a:gd name="T7" fmla="*/ 2 h 9"/>
                    <a:gd name="T8" fmla="*/ 11 w 101"/>
                    <a:gd name="T9" fmla="*/ 3 h 9"/>
                    <a:gd name="T10" fmla="*/ 14 w 101"/>
                    <a:gd name="T11" fmla="*/ 3 h 9"/>
                    <a:gd name="T12" fmla="*/ 18 w 101"/>
                    <a:gd name="T13" fmla="*/ 3 h 9"/>
                    <a:gd name="T14" fmla="*/ 21 w 101"/>
                    <a:gd name="T15" fmla="*/ 3 h 9"/>
                    <a:gd name="T16" fmla="*/ 25 w 101"/>
                    <a:gd name="T17" fmla="*/ 3 h 9"/>
                    <a:gd name="T18" fmla="*/ 27 w 101"/>
                    <a:gd name="T19" fmla="*/ 4 h 9"/>
                    <a:gd name="T20" fmla="*/ 31 w 101"/>
                    <a:gd name="T21" fmla="*/ 4 h 9"/>
                    <a:gd name="T22" fmla="*/ 34 w 101"/>
                    <a:gd name="T23" fmla="*/ 4 h 9"/>
                    <a:gd name="T24" fmla="*/ 37 w 101"/>
                    <a:gd name="T25" fmla="*/ 4 h 9"/>
                    <a:gd name="T26" fmla="*/ 40 w 101"/>
                    <a:gd name="T27" fmla="*/ 4 h 9"/>
                    <a:gd name="T28" fmla="*/ 42 w 101"/>
                    <a:gd name="T29" fmla="*/ 3 h 9"/>
                    <a:gd name="T30" fmla="*/ 45 w 101"/>
                    <a:gd name="T31" fmla="*/ 3 h 9"/>
                    <a:gd name="T32" fmla="*/ 47 w 101"/>
                    <a:gd name="T33" fmla="*/ 1 h 9"/>
                    <a:gd name="T34" fmla="*/ 45 w 101"/>
                    <a:gd name="T35" fmla="*/ 1 h 9"/>
                    <a:gd name="T36" fmla="*/ 44 w 101"/>
                    <a:gd name="T37" fmla="*/ 1 h 9"/>
                    <a:gd name="T38" fmla="*/ 41 w 101"/>
                    <a:gd name="T39" fmla="*/ 2 h 9"/>
                    <a:gd name="T40" fmla="*/ 39 w 101"/>
                    <a:gd name="T41" fmla="*/ 2 h 9"/>
                    <a:gd name="T42" fmla="*/ 36 w 101"/>
                    <a:gd name="T43" fmla="*/ 2 h 9"/>
                    <a:gd name="T44" fmla="*/ 33 w 101"/>
                    <a:gd name="T45" fmla="*/ 2 h 9"/>
                    <a:gd name="T46" fmla="*/ 29 w 101"/>
                    <a:gd name="T47" fmla="*/ 2 h 9"/>
                    <a:gd name="T48" fmla="*/ 26 w 101"/>
                    <a:gd name="T49" fmla="*/ 2 h 9"/>
                    <a:gd name="T50" fmla="*/ 23 w 101"/>
                    <a:gd name="T51" fmla="*/ 2 h 9"/>
                    <a:gd name="T52" fmla="*/ 20 w 101"/>
                    <a:gd name="T53" fmla="*/ 1 h 9"/>
                    <a:gd name="T54" fmla="*/ 16 w 101"/>
                    <a:gd name="T55" fmla="*/ 1 h 9"/>
                    <a:gd name="T56" fmla="*/ 13 w 101"/>
                    <a:gd name="T57" fmla="*/ 1 h 9"/>
                    <a:gd name="T58" fmla="*/ 10 w 101"/>
                    <a:gd name="T59" fmla="*/ 1 h 9"/>
                    <a:gd name="T60" fmla="*/ 7 w 101"/>
                    <a:gd name="T61" fmla="*/ 1 h 9"/>
                    <a:gd name="T62" fmla="*/ 4 w 101"/>
                    <a:gd name="T63" fmla="*/ 1 h 9"/>
                    <a:gd name="T64" fmla="*/ 1 w 101"/>
                    <a:gd name="T65" fmla="*/ 1 h 9"/>
                    <a:gd name="T66" fmla="*/ 1 w 101"/>
                    <a:gd name="T67" fmla="*/ 2 h 9"/>
                    <a:gd name="T68" fmla="*/ 1 w 101"/>
                    <a:gd name="T69" fmla="*/ 1 h 9"/>
                    <a:gd name="T70" fmla="*/ 0 w 101"/>
                    <a:gd name="T71" fmla="*/ 1 h 9"/>
                    <a:gd name="T72" fmla="*/ 0 w 101"/>
                    <a:gd name="T73" fmla="*/ 1 h 9"/>
                    <a:gd name="T74" fmla="*/ 0 w 101"/>
                    <a:gd name="T75" fmla="*/ 1 h 9"/>
                    <a:gd name="T76" fmla="*/ 0 w 101"/>
                    <a:gd name="T77" fmla="*/ 2 h 9"/>
                    <a:gd name="T78" fmla="*/ 0 w 101"/>
                    <a:gd name="T79" fmla="*/ 2 h 9"/>
                    <a:gd name="T80" fmla="*/ 1 w 101"/>
                    <a:gd name="T81" fmla="*/ 2 h 9"/>
                    <a:gd name="T82" fmla="*/ 1 w 101"/>
                    <a:gd name="T83" fmla="*/ 2 h 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1" h="9">
                      <a:moveTo>
                        <a:pt x="1" y="2"/>
                      </a:moveTo>
                      <a:lnTo>
                        <a:pt x="1" y="5"/>
                      </a:lnTo>
                      <a:lnTo>
                        <a:pt x="3" y="5"/>
                      </a:lnTo>
                      <a:lnTo>
                        <a:pt x="6" y="5"/>
                      </a:lnTo>
                      <a:lnTo>
                        <a:pt x="9" y="5"/>
                      </a:lnTo>
                      <a:lnTo>
                        <a:pt x="12" y="5"/>
                      </a:lnTo>
                      <a:lnTo>
                        <a:pt x="14" y="5"/>
                      </a:lnTo>
                      <a:lnTo>
                        <a:pt x="18" y="5"/>
                      </a:lnTo>
                      <a:lnTo>
                        <a:pt x="21" y="5"/>
                      </a:lnTo>
                      <a:lnTo>
                        <a:pt x="24" y="6"/>
                      </a:lnTo>
                      <a:lnTo>
                        <a:pt x="28" y="6"/>
                      </a:lnTo>
                      <a:lnTo>
                        <a:pt x="31" y="6"/>
                      </a:lnTo>
                      <a:lnTo>
                        <a:pt x="34" y="7"/>
                      </a:lnTo>
                      <a:lnTo>
                        <a:pt x="38" y="7"/>
                      </a:lnTo>
                      <a:lnTo>
                        <a:pt x="41" y="7"/>
                      </a:lnTo>
                      <a:lnTo>
                        <a:pt x="45" y="8"/>
                      </a:lnTo>
                      <a:lnTo>
                        <a:pt x="49" y="8"/>
                      </a:lnTo>
                      <a:lnTo>
                        <a:pt x="53" y="8"/>
                      </a:lnTo>
                      <a:lnTo>
                        <a:pt x="56" y="9"/>
                      </a:lnTo>
                      <a:lnTo>
                        <a:pt x="59" y="9"/>
                      </a:lnTo>
                      <a:lnTo>
                        <a:pt x="63" y="9"/>
                      </a:lnTo>
                      <a:lnTo>
                        <a:pt x="66" y="9"/>
                      </a:lnTo>
                      <a:lnTo>
                        <a:pt x="70" y="9"/>
                      </a:lnTo>
                      <a:lnTo>
                        <a:pt x="73" y="9"/>
                      </a:lnTo>
                      <a:lnTo>
                        <a:pt x="76" y="9"/>
                      </a:lnTo>
                      <a:lnTo>
                        <a:pt x="79" y="9"/>
                      </a:lnTo>
                      <a:lnTo>
                        <a:pt x="83" y="9"/>
                      </a:lnTo>
                      <a:lnTo>
                        <a:pt x="86" y="9"/>
                      </a:lnTo>
                      <a:lnTo>
                        <a:pt x="89" y="8"/>
                      </a:lnTo>
                      <a:lnTo>
                        <a:pt x="91" y="8"/>
                      </a:lnTo>
                      <a:lnTo>
                        <a:pt x="94" y="7"/>
                      </a:lnTo>
                      <a:lnTo>
                        <a:pt x="96" y="6"/>
                      </a:lnTo>
                      <a:lnTo>
                        <a:pt x="99" y="5"/>
                      </a:lnTo>
                      <a:lnTo>
                        <a:pt x="101" y="3"/>
                      </a:lnTo>
                      <a:lnTo>
                        <a:pt x="99" y="0"/>
                      </a:lnTo>
                      <a:lnTo>
                        <a:pt x="97" y="1"/>
                      </a:lnTo>
                      <a:lnTo>
                        <a:pt x="95" y="2"/>
                      </a:lnTo>
                      <a:lnTo>
                        <a:pt x="93" y="3"/>
                      </a:lnTo>
                      <a:lnTo>
                        <a:pt x="91" y="3"/>
                      </a:lnTo>
                      <a:lnTo>
                        <a:pt x="88" y="4"/>
                      </a:lnTo>
                      <a:lnTo>
                        <a:pt x="86" y="5"/>
                      </a:lnTo>
                      <a:lnTo>
                        <a:pt x="83" y="5"/>
                      </a:lnTo>
                      <a:lnTo>
                        <a:pt x="79" y="5"/>
                      </a:lnTo>
                      <a:lnTo>
                        <a:pt x="76" y="5"/>
                      </a:lnTo>
                      <a:lnTo>
                        <a:pt x="73" y="5"/>
                      </a:lnTo>
                      <a:lnTo>
                        <a:pt x="70" y="5"/>
                      </a:lnTo>
                      <a:lnTo>
                        <a:pt x="66" y="5"/>
                      </a:lnTo>
                      <a:lnTo>
                        <a:pt x="63" y="5"/>
                      </a:lnTo>
                      <a:lnTo>
                        <a:pt x="60" y="5"/>
                      </a:lnTo>
                      <a:lnTo>
                        <a:pt x="56" y="5"/>
                      </a:lnTo>
                      <a:lnTo>
                        <a:pt x="53" y="5"/>
                      </a:lnTo>
                      <a:lnTo>
                        <a:pt x="49" y="4"/>
                      </a:lnTo>
                      <a:lnTo>
                        <a:pt x="46" y="3"/>
                      </a:lnTo>
                      <a:lnTo>
                        <a:pt x="42" y="3"/>
                      </a:lnTo>
                      <a:lnTo>
                        <a:pt x="38" y="3"/>
                      </a:lnTo>
                      <a:lnTo>
                        <a:pt x="35" y="3"/>
                      </a:lnTo>
                      <a:lnTo>
                        <a:pt x="31" y="2"/>
                      </a:lnTo>
                      <a:lnTo>
                        <a:pt x="28" y="2"/>
                      </a:lnTo>
                      <a:lnTo>
                        <a:pt x="24" y="2"/>
                      </a:lnTo>
                      <a:lnTo>
                        <a:pt x="21" y="1"/>
                      </a:lnTo>
                      <a:lnTo>
                        <a:pt x="18" y="1"/>
                      </a:lnTo>
                      <a:lnTo>
                        <a:pt x="14" y="1"/>
                      </a:lnTo>
                      <a:lnTo>
                        <a:pt x="12" y="1"/>
                      </a:lnTo>
                      <a:lnTo>
                        <a:pt x="9" y="1"/>
                      </a:lnTo>
                      <a:lnTo>
                        <a:pt x="6" y="1"/>
                      </a:lnTo>
                      <a:lnTo>
                        <a:pt x="3" y="1"/>
                      </a:lnTo>
                      <a:lnTo>
                        <a:pt x="1" y="2"/>
                      </a:lnTo>
                      <a:lnTo>
                        <a:pt x="1" y="5"/>
                      </a:lnTo>
                      <a:lnTo>
                        <a:pt x="1" y="2"/>
                      </a:lnTo>
                      <a:lnTo>
                        <a:pt x="0" y="2"/>
                      </a:lnTo>
                      <a:lnTo>
                        <a:pt x="0" y="3"/>
                      </a:lnTo>
                      <a:lnTo>
                        <a:pt x="0" y="4"/>
                      </a:lnTo>
                      <a:lnTo>
                        <a:pt x="0" y="5"/>
                      </a:lnTo>
                      <a:lnTo>
                        <a:pt x="1" y="5"/>
                      </a:lnTo>
                      <a:lnTo>
                        <a:pt x="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5" name="Freeform 867">
                  <a:extLst>
                    <a:ext uri="{FF2B5EF4-FFF2-40B4-BE49-F238E27FC236}">
                      <a16:creationId xmlns:a16="http://schemas.microsoft.com/office/drawing/2014/main" id="{78FC9663-A75C-40DE-84DE-9D78EACB3B5D}"/>
                    </a:ext>
                  </a:extLst>
                </p:cNvPr>
                <p:cNvSpPr>
                  <a:spLocks/>
                </p:cNvSpPr>
                <p:nvPr/>
              </p:nvSpPr>
              <p:spPr bwMode="auto">
                <a:xfrm>
                  <a:off x="565" y="2001"/>
                  <a:ext cx="40" cy="28"/>
                </a:xfrm>
                <a:custGeom>
                  <a:avLst/>
                  <a:gdLst>
                    <a:gd name="T0" fmla="*/ 26 w 59"/>
                    <a:gd name="T1" fmla="*/ 19 h 40"/>
                    <a:gd name="T2" fmla="*/ 26 w 59"/>
                    <a:gd name="T3" fmla="*/ 17 h 40"/>
                    <a:gd name="T4" fmla="*/ 26 w 59"/>
                    <a:gd name="T5" fmla="*/ 14 h 40"/>
                    <a:gd name="T6" fmla="*/ 26 w 59"/>
                    <a:gd name="T7" fmla="*/ 13 h 40"/>
                    <a:gd name="T8" fmla="*/ 26 w 59"/>
                    <a:gd name="T9" fmla="*/ 11 h 40"/>
                    <a:gd name="T10" fmla="*/ 25 w 59"/>
                    <a:gd name="T11" fmla="*/ 9 h 40"/>
                    <a:gd name="T12" fmla="*/ 24 w 59"/>
                    <a:gd name="T13" fmla="*/ 8 h 40"/>
                    <a:gd name="T14" fmla="*/ 22 w 59"/>
                    <a:gd name="T15" fmla="*/ 6 h 40"/>
                    <a:gd name="T16" fmla="*/ 20 w 59"/>
                    <a:gd name="T17" fmla="*/ 6 h 40"/>
                    <a:gd name="T18" fmla="*/ 18 w 59"/>
                    <a:gd name="T19" fmla="*/ 4 h 40"/>
                    <a:gd name="T20" fmla="*/ 16 w 59"/>
                    <a:gd name="T21" fmla="*/ 4 h 40"/>
                    <a:gd name="T22" fmla="*/ 14 w 59"/>
                    <a:gd name="T23" fmla="*/ 3 h 40"/>
                    <a:gd name="T24" fmla="*/ 12 w 59"/>
                    <a:gd name="T25" fmla="*/ 2 h 40"/>
                    <a:gd name="T26" fmla="*/ 9 w 59"/>
                    <a:gd name="T27" fmla="*/ 1 h 40"/>
                    <a:gd name="T28" fmla="*/ 6 w 59"/>
                    <a:gd name="T29" fmla="*/ 1 h 40"/>
                    <a:gd name="T30" fmla="*/ 3 w 59"/>
                    <a:gd name="T31" fmla="*/ 1 h 40"/>
                    <a:gd name="T32" fmla="*/ 0 w 59"/>
                    <a:gd name="T33" fmla="*/ 0 h 40"/>
                    <a:gd name="T34" fmla="*/ 1 w 59"/>
                    <a:gd name="T35" fmla="*/ 2 h 40"/>
                    <a:gd name="T36" fmla="*/ 5 w 59"/>
                    <a:gd name="T37" fmla="*/ 3 h 40"/>
                    <a:gd name="T38" fmla="*/ 7 w 59"/>
                    <a:gd name="T39" fmla="*/ 4 h 40"/>
                    <a:gd name="T40" fmla="*/ 9 w 59"/>
                    <a:gd name="T41" fmla="*/ 4 h 40"/>
                    <a:gd name="T42" fmla="*/ 12 w 59"/>
                    <a:gd name="T43" fmla="*/ 4 h 40"/>
                    <a:gd name="T44" fmla="*/ 15 w 59"/>
                    <a:gd name="T45" fmla="*/ 5 h 40"/>
                    <a:gd name="T46" fmla="*/ 17 w 59"/>
                    <a:gd name="T47" fmla="*/ 6 h 40"/>
                    <a:gd name="T48" fmla="*/ 19 w 59"/>
                    <a:gd name="T49" fmla="*/ 7 h 40"/>
                    <a:gd name="T50" fmla="*/ 21 w 59"/>
                    <a:gd name="T51" fmla="*/ 8 h 40"/>
                    <a:gd name="T52" fmla="*/ 22 w 59"/>
                    <a:gd name="T53" fmla="*/ 9 h 40"/>
                    <a:gd name="T54" fmla="*/ 24 w 59"/>
                    <a:gd name="T55" fmla="*/ 10 h 40"/>
                    <a:gd name="T56" fmla="*/ 24 w 59"/>
                    <a:gd name="T57" fmla="*/ 11 h 40"/>
                    <a:gd name="T58" fmla="*/ 25 w 59"/>
                    <a:gd name="T59" fmla="*/ 13 h 40"/>
                    <a:gd name="T60" fmla="*/ 25 w 59"/>
                    <a:gd name="T61" fmla="*/ 14 h 40"/>
                    <a:gd name="T62" fmla="*/ 26 w 59"/>
                    <a:gd name="T63" fmla="*/ 15 h 40"/>
                    <a:gd name="T64" fmla="*/ 25 w 59"/>
                    <a:gd name="T65" fmla="*/ 18 h 40"/>
                    <a:gd name="T66" fmla="*/ 26 w 59"/>
                    <a:gd name="T67" fmla="*/ 18 h 40"/>
                    <a:gd name="T68" fmla="*/ 25 w 59"/>
                    <a:gd name="T69" fmla="*/ 18 h 40"/>
                    <a:gd name="T70" fmla="*/ 25 w 59"/>
                    <a:gd name="T71" fmla="*/ 19 h 40"/>
                    <a:gd name="T72" fmla="*/ 25 w 59"/>
                    <a:gd name="T73" fmla="*/ 19 h 40"/>
                    <a:gd name="T74" fmla="*/ 26 w 59"/>
                    <a:gd name="T75" fmla="*/ 19 h 40"/>
                    <a:gd name="T76" fmla="*/ 26 w 59"/>
                    <a:gd name="T77" fmla="*/ 20 h 40"/>
                    <a:gd name="T78" fmla="*/ 26 w 59"/>
                    <a:gd name="T79" fmla="*/ 19 h 40"/>
                    <a:gd name="T80" fmla="*/ 26 w 59"/>
                    <a:gd name="T81" fmla="*/ 19 h 40"/>
                    <a:gd name="T82" fmla="*/ 26 w 59"/>
                    <a:gd name="T83" fmla="*/ 19 h 40"/>
                    <a:gd name="T84" fmla="*/ 25 w 59"/>
                    <a:gd name="T85" fmla="*/ 19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 h="40">
                      <a:moveTo>
                        <a:pt x="55" y="39"/>
                      </a:moveTo>
                      <a:lnTo>
                        <a:pt x="58" y="38"/>
                      </a:lnTo>
                      <a:lnTo>
                        <a:pt x="58" y="36"/>
                      </a:lnTo>
                      <a:lnTo>
                        <a:pt x="58" y="34"/>
                      </a:lnTo>
                      <a:lnTo>
                        <a:pt x="59" y="32"/>
                      </a:lnTo>
                      <a:lnTo>
                        <a:pt x="58" y="29"/>
                      </a:lnTo>
                      <a:lnTo>
                        <a:pt x="58" y="27"/>
                      </a:lnTo>
                      <a:lnTo>
                        <a:pt x="58" y="25"/>
                      </a:lnTo>
                      <a:lnTo>
                        <a:pt x="57" y="23"/>
                      </a:lnTo>
                      <a:lnTo>
                        <a:pt x="56" y="21"/>
                      </a:lnTo>
                      <a:lnTo>
                        <a:pt x="55" y="20"/>
                      </a:lnTo>
                      <a:lnTo>
                        <a:pt x="54" y="18"/>
                      </a:lnTo>
                      <a:lnTo>
                        <a:pt x="53" y="17"/>
                      </a:lnTo>
                      <a:lnTo>
                        <a:pt x="51" y="16"/>
                      </a:lnTo>
                      <a:lnTo>
                        <a:pt x="50" y="14"/>
                      </a:lnTo>
                      <a:lnTo>
                        <a:pt x="48" y="13"/>
                      </a:lnTo>
                      <a:lnTo>
                        <a:pt x="46" y="12"/>
                      </a:lnTo>
                      <a:lnTo>
                        <a:pt x="44" y="11"/>
                      </a:lnTo>
                      <a:lnTo>
                        <a:pt x="42" y="10"/>
                      </a:lnTo>
                      <a:lnTo>
                        <a:pt x="40" y="9"/>
                      </a:lnTo>
                      <a:lnTo>
                        <a:pt x="38" y="8"/>
                      </a:lnTo>
                      <a:lnTo>
                        <a:pt x="36" y="8"/>
                      </a:lnTo>
                      <a:lnTo>
                        <a:pt x="33" y="7"/>
                      </a:lnTo>
                      <a:lnTo>
                        <a:pt x="30" y="6"/>
                      </a:lnTo>
                      <a:lnTo>
                        <a:pt x="28" y="5"/>
                      </a:lnTo>
                      <a:lnTo>
                        <a:pt x="25" y="4"/>
                      </a:lnTo>
                      <a:lnTo>
                        <a:pt x="22" y="4"/>
                      </a:lnTo>
                      <a:lnTo>
                        <a:pt x="19" y="3"/>
                      </a:lnTo>
                      <a:lnTo>
                        <a:pt x="16" y="3"/>
                      </a:lnTo>
                      <a:lnTo>
                        <a:pt x="13" y="2"/>
                      </a:lnTo>
                      <a:lnTo>
                        <a:pt x="10" y="1"/>
                      </a:lnTo>
                      <a:lnTo>
                        <a:pt x="7" y="1"/>
                      </a:lnTo>
                      <a:lnTo>
                        <a:pt x="4" y="0"/>
                      </a:lnTo>
                      <a:lnTo>
                        <a:pt x="0" y="0"/>
                      </a:lnTo>
                      <a:lnTo>
                        <a:pt x="0" y="4"/>
                      </a:lnTo>
                      <a:lnTo>
                        <a:pt x="3" y="4"/>
                      </a:lnTo>
                      <a:lnTo>
                        <a:pt x="6" y="5"/>
                      </a:lnTo>
                      <a:lnTo>
                        <a:pt x="10" y="6"/>
                      </a:lnTo>
                      <a:lnTo>
                        <a:pt x="13" y="6"/>
                      </a:lnTo>
                      <a:lnTo>
                        <a:pt x="16" y="7"/>
                      </a:lnTo>
                      <a:lnTo>
                        <a:pt x="18" y="7"/>
                      </a:lnTo>
                      <a:lnTo>
                        <a:pt x="21" y="8"/>
                      </a:lnTo>
                      <a:lnTo>
                        <a:pt x="24" y="8"/>
                      </a:lnTo>
                      <a:lnTo>
                        <a:pt x="27" y="9"/>
                      </a:lnTo>
                      <a:lnTo>
                        <a:pt x="30" y="10"/>
                      </a:lnTo>
                      <a:lnTo>
                        <a:pt x="32" y="10"/>
                      </a:lnTo>
                      <a:lnTo>
                        <a:pt x="34" y="12"/>
                      </a:lnTo>
                      <a:lnTo>
                        <a:pt x="37" y="12"/>
                      </a:lnTo>
                      <a:lnTo>
                        <a:pt x="39" y="13"/>
                      </a:lnTo>
                      <a:lnTo>
                        <a:pt x="41" y="14"/>
                      </a:lnTo>
                      <a:lnTo>
                        <a:pt x="43" y="15"/>
                      </a:lnTo>
                      <a:lnTo>
                        <a:pt x="45" y="16"/>
                      </a:lnTo>
                      <a:lnTo>
                        <a:pt x="47" y="17"/>
                      </a:lnTo>
                      <a:lnTo>
                        <a:pt x="48" y="18"/>
                      </a:lnTo>
                      <a:lnTo>
                        <a:pt x="50" y="19"/>
                      </a:lnTo>
                      <a:lnTo>
                        <a:pt x="51" y="20"/>
                      </a:lnTo>
                      <a:lnTo>
                        <a:pt x="52" y="21"/>
                      </a:lnTo>
                      <a:lnTo>
                        <a:pt x="53" y="22"/>
                      </a:lnTo>
                      <a:lnTo>
                        <a:pt x="54" y="24"/>
                      </a:lnTo>
                      <a:lnTo>
                        <a:pt x="54" y="25"/>
                      </a:lnTo>
                      <a:lnTo>
                        <a:pt x="55" y="27"/>
                      </a:lnTo>
                      <a:lnTo>
                        <a:pt x="55" y="28"/>
                      </a:lnTo>
                      <a:lnTo>
                        <a:pt x="56" y="30"/>
                      </a:lnTo>
                      <a:lnTo>
                        <a:pt x="56" y="32"/>
                      </a:lnTo>
                      <a:lnTo>
                        <a:pt x="55" y="33"/>
                      </a:lnTo>
                      <a:lnTo>
                        <a:pt x="55" y="35"/>
                      </a:lnTo>
                      <a:lnTo>
                        <a:pt x="55" y="37"/>
                      </a:lnTo>
                      <a:lnTo>
                        <a:pt x="57" y="36"/>
                      </a:lnTo>
                      <a:lnTo>
                        <a:pt x="55" y="37"/>
                      </a:lnTo>
                      <a:lnTo>
                        <a:pt x="54" y="38"/>
                      </a:lnTo>
                      <a:lnTo>
                        <a:pt x="55" y="38"/>
                      </a:lnTo>
                      <a:lnTo>
                        <a:pt x="55" y="39"/>
                      </a:lnTo>
                      <a:lnTo>
                        <a:pt x="56" y="39"/>
                      </a:lnTo>
                      <a:lnTo>
                        <a:pt x="56" y="40"/>
                      </a:lnTo>
                      <a:lnTo>
                        <a:pt x="56" y="39"/>
                      </a:lnTo>
                      <a:lnTo>
                        <a:pt x="57" y="39"/>
                      </a:lnTo>
                      <a:lnTo>
                        <a:pt x="58" y="39"/>
                      </a:lnTo>
                      <a:lnTo>
                        <a:pt x="58" y="38"/>
                      </a:lnTo>
                      <a:lnTo>
                        <a:pt x="55"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6" name="Freeform 868">
                  <a:extLst>
                    <a:ext uri="{FF2B5EF4-FFF2-40B4-BE49-F238E27FC236}">
                      <a16:creationId xmlns:a16="http://schemas.microsoft.com/office/drawing/2014/main" id="{1F986D88-A216-0FE6-B862-31ADFF08A137}"/>
                    </a:ext>
                  </a:extLst>
                </p:cNvPr>
                <p:cNvSpPr>
                  <a:spLocks/>
                </p:cNvSpPr>
                <p:nvPr/>
              </p:nvSpPr>
              <p:spPr bwMode="auto">
                <a:xfrm>
                  <a:off x="564" y="2019"/>
                  <a:ext cx="41" cy="28"/>
                </a:xfrm>
                <a:custGeom>
                  <a:avLst/>
                  <a:gdLst>
                    <a:gd name="T0" fmla="*/ 1 w 59"/>
                    <a:gd name="T1" fmla="*/ 20 h 38"/>
                    <a:gd name="T2" fmla="*/ 2 w 59"/>
                    <a:gd name="T3" fmla="*/ 18 h 38"/>
                    <a:gd name="T4" fmla="*/ 4 w 59"/>
                    <a:gd name="T5" fmla="*/ 17 h 38"/>
                    <a:gd name="T6" fmla="*/ 6 w 59"/>
                    <a:gd name="T7" fmla="*/ 15 h 38"/>
                    <a:gd name="T8" fmla="*/ 7 w 59"/>
                    <a:gd name="T9" fmla="*/ 13 h 38"/>
                    <a:gd name="T10" fmla="*/ 9 w 59"/>
                    <a:gd name="T11" fmla="*/ 10 h 38"/>
                    <a:gd name="T12" fmla="*/ 10 w 59"/>
                    <a:gd name="T13" fmla="*/ 9 h 38"/>
                    <a:gd name="T14" fmla="*/ 12 w 59"/>
                    <a:gd name="T15" fmla="*/ 7 h 38"/>
                    <a:gd name="T16" fmla="*/ 13 w 59"/>
                    <a:gd name="T17" fmla="*/ 5 h 38"/>
                    <a:gd name="T18" fmla="*/ 15 w 59"/>
                    <a:gd name="T19" fmla="*/ 4 h 38"/>
                    <a:gd name="T20" fmla="*/ 17 w 59"/>
                    <a:gd name="T21" fmla="*/ 3 h 38"/>
                    <a:gd name="T22" fmla="*/ 18 w 59"/>
                    <a:gd name="T23" fmla="*/ 2 h 38"/>
                    <a:gd name="T24" fmla="*/ 19 w 59"/>
                    <a:gd name="T25" fmla="*/ 1 h 38"/>
                    <a:gd name="T26" fmla="*/ 22 w 59"/>
                    <a:gd name="T27" fmla="*/ 2 h 38"/>
                    <a:gd name="T28" fmla="*/ 24 w 59"/>
                    <a:gd name="T29" fmla="*/ 3 h 38"/>
                    <a:gd name="T30" fmla="*/ 26 w 59"/>
                    <a:gd name="T31" fmla="*/ 4 h 38"/>
                    <a:gd name="T32" fmla="*/ 28 w 59"/>
                    <a:gd name="T33" fmla="*/ 7 h 38"/>
                    <a:gd name="T34" fmla="*/ 28 w 59"/>
                    <a:gd name="T35" fmla="*/ 4 h 38"/>
                    <a:gd name="T36" fmla="*/ 25 w 59"/>
                    <a:gd name="T37" fmla="*/ 1 h 38"/>
                    <a:gd name="T38" fmla="*/ 23 w 59"/>
                    <a:gd name="T39" fmla="*/ 1 h 38"/>
                    <a:gd name="T40" fmla="*/ 22 w 59"/>
                    <a:gd name="T41" fmla="*/ 0 h 38"/>
                    <a:gd name="T42" fmla="*/ 19 w 59"/>
                    <a:gd name="T43" fmla="*/ 0 h 38"/>
                    <a:gd name="T44" fmla="*/ 17 w 59"/>
                    <a:gd name="T45" fmla="*/ 0 h 38"/>
                    <a:gd name="T46" fmla="*/ 15 w 59"/>
                    <a:gd name="T47" fmla="*/ 1 h 38"/>
                    <a:gd name="T48" fmla="*/ 13 w 59"/>
                    <a:gd name="T49" fmla="*/ 3 h 38"/>
                    <a:gd name="T50" fmla="*/ 12 w 59"/>
                    <a:gd name="T51" fmla="*/ 4 h 38"/>
                    <a:gd name="T52" fmla="*/ 10 w 59"/>
                    <a:gd name="T53" fmla="*/ 6 h 38"/>
                    <a:gd name="T54" fmla="*/ 9 w 59"/>
                    <a:gd name="T55" fmla="*/ 8 h 38"/>
                    <a:gd name="T56" fmla="*/ 7 w 59"/>
                    <a:gd name="T57" fmla="*/ 10 h 38"/>
                    <a:gd name="T58" fmla="*/ 6 w 59"/>
                    <a:gd name="T59" fmla="*/ 12 h 38"/>
                    <a:gd name="T60" fmla="*/ 4 w 59"/>
                    <a:gd name="T61" fmla="*/ 14 h 38"/>
                    <a:gd name="T62" fmla="*/ 2 w 59"/>
                    <a:gd name="T63" fmla="*/ 16 h 38"/>
                    <a:gd name="T64" fmla="*/ 1 w 59"/>
                    <a:gd name="T65" fmla="*/ 18 h 38"/>
                    <a:gd name="T66" fmla="*/ 1 w 59"/>
                    <a:gd name="T67" fmla="*/ 18 h 38"/>
                    <a:gd name="T68" fmla="*/ 0 w 59"/>
                    <a:gd name="T69" fmla="*/ 18 h 38"/>
                    <a:gd name="T70" fmla="*/ 0 w 59"/>
                    <a:gd name="T71" fmla="*/ 19 h 38"/>
                    <a:gd name="T72" fmla="*/ 0 w 59"/>
                    <a:gd name="T73" fmla="*/ 20 h 38"/>
                    <a:gd name="T74" fmla="*/ 0 w 59"/>
                    <a:gd name="T75" fmla="*/ 20 h 38"/>
                    <a:gd name="T76" fmla="*/ 0 w 59"/>
                    <a:gd name="T77" fmla="*/ 20 h 38"/>
                    <a:gd name="T78" fmla="*/ 1 w 59"/>
                    <a:gd name="T79" fmla="*/ 20 h 38"/>
                    <a:gd name="T80" fmla="*/ 1 w 59"/>
                    <a:gd name="T81" fmla="*/ 21 h 38"/>
                    <a:gd name="T82" fmla="*/ 1 w 59"/>
                    <a:gd name="T83" fmla="*/ 20 h 38"/>
                    <a:gd name="T84" fmla="*/ 1 w 59"/>
                    <a:gd name="T85" fmla="*/ 20 h 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 h="38">
                      <a:moveTo>
                        <a:pt x="2" y="37"/>
                      </a:moveTo>
                      <a:lnTo>
                        <a:pt x="2" y="37"/>
                      </a:lnTo>
                      <a:lnTo>
                        <a:pt x="4" y="36"/>
                      </a:lnTo>
                      <a:lnTo>
                        <a:pt x="5" y="34"/>
                      </a:lnTo>
                      <a:lnTo>
                        <a:pt x="7" y="32"/>
                      </a:lnTo>
                      <a:lnTo>
                        <a:pt x="9" y="31"/>
                      </a:lnTo>
                      <a:lnTo>
                        <a:pt x="10" y="29"/>
                      </a:lnTo>
                      <a:lnTo>
                        <a:pt x="12" y="27"/>
                      </a:lnTo>
                      <a:lnTo>
                        <a:pt x="14" y="25"/>
                      </a:lnTo>
                      <a:lnTo>
                        <a:pt x="15" y="23"/>
                      </a:lnTo>
                      <a:lnTo>
                        <a:pt x="17" y="21"/>
                      </a:lnTo>
                      <a:lnTo>
                        <a:pt x="19" y="19"/>
                      </a:lnTo>
                      <a:lnTo>
                        <a:pt x="20" y="18"/>
                      </a:lnTo>
                      <a:lnTo>
                        <a:pt x="21" y="16"/>
                      </a:lnTo>
                      <a:lnTo>
                        <a:pt x="23" y="14"/>
                      </a:lnTo>
                      <a:lnTo>
                        <a:pt x="25" y="13"/>
                      </a:lnTo>
                      <a:lnTo>
                        <a:pt x="26" y="11"/>
                      </a:lnTo>
                      <a:lnTo>
                        <a:pt x="28" y="10"/>
                      </a:lnTo>
                      <a:lnTo>
                        <a:pt x="30" y="8"/>
                      </a:lnTo>
                      <a:lnTo>
                        <a:pt x="31" y="7"/>
                      </a:lnTo>
                      <a:lnTo>
                        <a:pt x="33" y="6"/>
                      </a:lnTo>
                      <a:lnTo>
                        <a:pt x="34" y="5"/>
                      </a:lnTo>
                      <a:lnTo>
                        <a:pt x="36" y="5"/>
                      </a:lnTo>
                      <a:lnTo>
                        <a:pt x="38" y="4"/>
                      </a:lnTo>
                      <a:lnTo>
                        <a:pt x="40" y="3"/>
                      </a:lnTo>
                      <a:lnTo>
                        <a:pt x="41" y="3"/>
                      </a:lnTo>
                      <a:lnTo>
                        <a:pt x="43" y="3"/>
                      </a:lnTo>
                      <a:lnTo>
                        <a:pt x="45" y="4"/>
                      </a:lnTo>
                      <a:lnTo>
                        <a:pt x="47" y="5"/>
                      </a:lnTo>
                      <a:lnTo>
                        <a:pt x="49" y="6"/>
                      </a:lnTo>
                      <a:lnTo>
                        <a:pt x="50" y="7"/>
                      </a:lnTo>
                      <a:lnTo>
                        <a:pt x="53" y="8"/>
                      </a:lnTo>
                      <a:lnTo>
                        <a:pt x="55" y="10"/>
                      </a:lnTo>
                      <a:lnTo>
                        <a:pt x="57" y="12"/>
                      </a:lnTo>
                      <a:lnTo>
                        <a:pt x="59" y="9"/>
                      </a:lnTo>
                      <a:lnTo>
                        <a:pt x="57" y="7"/>
                      </a:lnTo>
                      <a:lnTo>
                        <a:pt x="54" y="5"/>
                      </a:lnTo>
                      <a:lnTo>
                        <a:pt x="52" y="3"/>
                      </a:lnTo>
                      <a:lnTo>
                        <a:pt x="50" y="1"/>
                      </a:lnTo>
                      <a:lnTo>
                        <a:pt x="48" y="1"/>
                      </a:lnTo>
                      <a:lnTo>
                        <a:pt x="45" y="0"/>
                      </a:lnTo>
                      <a:lnTo>
                        <a:pt x="44" y="0"/>
                      </a:lnTo>
                      <a:lnTo>
                        <a:pt x="41" y="0"/>
                      </a:lnTo>
                      <a:lnTo>
                        <a:pt x="39" y="0"/>
                      </a:lnTo>
                      <a:lnTo>
                        <a:pt x="37" y="0"/>
                      </a:lnTo>
                      <a:lnTo>
                        <a:pt x="35" y="0"/>
                      </a:lnTo>
                      <a:lnTo>
                        <a:pt x="34" y="1"/>
                      </a:lnTo>
                      <a:lnTo>
                        <a:pt x="32" y="3"/>
                      </a:lnTo>
                      <a:lnTo>
                        <a:pt x="30" y="3"/>
                      </a:lnTo>
                      <a:lnTo>
                        <a:pt x="28" y="5"/>
                      </a:lnTo>
                      <a:lnTo>
                        <a:pt x="26" y="6"/>
                      </a:lnTo>
                      <a:lnTo>
                        <a:pt x="25" y="8"/>
                      </a:lnTo>
                      <a:lnTo>
                        <a:pt x="22" y="9"/>
                      </a:lnTo>
                      <a:lnTo>
                        <a:pt x="21" y="11"/>
                      </a:lnTo>
                      <a:lnTo>
                        <a:pt x="20" y="13"/>
                      </a:lnTo>
                      <a:lnTo>
                        <a:pt x="18" y="15"/>
                      </a:lnTo>
                      <a:lnTo>
                        <a:pt x="16" y="17"/>
                      </a:lnTo>
                      <a:lnTo>
                        <a:pt x="15" y="18"/>
                      </a:lnTo>
                      <a:lnTo>
                        <a:pt x="13" y="20"/>
                      </a:lnTo>
                      <a:lnTo>
                        <a:pt x="12" y="22"/>
                      </a:lnTo>
                      <a:lnTo>
                        <a:pt x="10" y="24"/>
                      </a:lnTo>
                      <a:lnTo>
                        <a:pt x="8" y="26"/>
                      </a:lnTo>
                      <a:lnTo>
                        <a:pt x="7" y="27"/>
                      </a:lnTo>
                      <a:lnTo>
                        <a:pt x="5" y="30"/>
                      </a:lnTo>
                      <a:lnTo>
                        <a:pt x="3" y="31"/>
                      </a:lnTo>
                      <a:lnTo>
                        <a:pt x="2" y="32"/>
                      </a:lnTo>
                      <a:lnTo>
                        <a:pt x="1" y="34"/>
                      </a:lnTo>
                      <a:lnTo>
                        <a:pt x="2" y="33"/>
                      </a:lnTo>
                      <a:lnTo>
                        <a:pt x="1" y="34"/>
                      </a:lnTo>
                      <a:lnTo>
                        <a:pt x="0" y="34"/>
                      </a:lnTo>
                      <a:lnTo>
                        <a:pt x="0" y="35"/>
                      </a:lnTo>
                      <a:lnTo>
                        <a:pt x="0" y="36"/>
                      </a:lnTo>
                      <a:lnTo>
                        <a:pt x="0" y="37"/>
                      </a:lnTo>
                      <a:lnTo>
                        <a:pt x="1" y="37"/>
                      </a:lnTo>
                      <a:lnTo>
                        <a:pt x="2" y="38"/>
                      </a:lnTo>
                      <a:lnTo>
                        <a:pt x="2"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7" name="Freeform 869">
                  <a:extLst>
                    <a:ext uri="{FF2B5EF4-FFF2-40B4-BE49-F238E27FC236}">
                      <a16:creationId xmlns:a16="http://schemas.microsoft.com/office/drawing/2014/main" id="{3A753CFD-67B2-CCA3-6347-BE3BA4269E47}"/>
                    </a:ext>
                  </a:extLst>
                </p:cNvPr>
                <p:cNvSpPr>
                  <a:spLocks/>
                </p:cNvSpPr>
                <p:nvPr/>
              </p:nvSpPr>
              <p:spPr bwMode="auto">
                <a:xfrm>
                  <a:off x="518" y="2018"/>
                  <a:ext cx="47" cy="28"/>
                </a:xfrm>
                <a:custGeom>
                  <a:avLst/>
                  <a:gdLst>
                    <a:gd name="T0" fmla="*/ 3 w 67"/>
                    <a:gd name="T1" fmla="*/ 4 h 40"/>
                    <a:gd name="T2" fmla="*/ 6 w 67"/>
                    <a:gd name="T3" fmla="*/ 6 h 40"/>
                    <a:gd name="T4" fmla="*/ 8 w 67"/>
                    <a:gd name="T5" fmla="*/ 8 h 40"/>
                    <a:gd name="T6" fmla="*/ 11 w 67"/>
                    <a:gd name="T7" fmla="*/ 10 h 40"/>
                    <a:gd name="T8" fmla="*/ 13 w 67"/>
                    <a:gd name="T9" fmla="*/ 11 h 40"/>
                    <a:gd name="T10" fmla="*/ 13 w 67"/>
                    <a:gd name="T11" fmla="*/ 13 h 40"/>
                    <a:gd name="T12" fmla="*/ 15 w 67"/>
                    <a:gd name="T13" fmla="*/ 14 h 40"/>
                    <a:gd name="T14" fmla="*/ 15 w 67"/>
                    <a:gd name="T15" fmla="*/ 15 h 40"/>
                    <a:gd name="T16" fmla="*/ 16 w 67"/>
                    <a:gd name="T17" fmla="*/ 17 h 40"/>
                    <a:gd name="T18" fmla="*/ 18 w 67"/>
                    <a:gd name="T19" fmla="*/ 18 h 40"/>
                    <a:gd name="T20" fmla="*/ 19 w 67"/>
                    <a:gd name="T21" fmla="*/ 18 h 40"/>
                    <a:gd name="T22" fmla="*/ 20 w 67"/>
                    <a:gd name="T23" fmla="*/ 19 h 40"/>
                    <a:gd name="T24" fmla="*/ 22 w 67"/>
                    <a:gd name="T25" fmla="*/ 19 h 40"/>
                    <a:gd name="T26" fmla="*/ 25 w 67"/>
                    <a:gd name="T27" fmla="*/ 20 h 40"/>
                    <a:gd name="T28" fmla="*/ 27 w 67"/>
                    <a:gd name="T29" fmla="*/ 20 h 40"/>
                    <a:gd name="T30" fmla="*/ 30 w 67"/>
                    <a:gd name="T31" fmla="*/ 20 h 40"/>
                    <a:gd name="T32" fmla="*/ 33 w 67"/>
                    <a:gd name="T33" fmla="*/ 18 h 40"/>
                    <a:gd name="T34" fmla="*/ 29 w 67"/>
                    <a:gd name="T35" fmla="*/ 18 h 40"/>
                    <a:gd name="T36" fmla="*/ 25 w 67"/>
                    <a:gd name="T37" fmla="*/ 18 h 40"/>
                    <a:gd name="T38" fmla="*/ 24 w 67"/>
                    <a:gd name="T39" fmla="*/ 18 h 40"/>
                    <a:gd name="T40" fmla="*/ 22 w 67"/>
                    <a:gd name="T41" fmla="*/ 18 h 40"/>
                    <a:gd name="T42" fmla="*/ 20 w 67"/>
                    <a:gd name="T43" fmla="*/ 17 h 40"/>
                    <a:gd name="T44" fmla="*/ 19 w 67"/>
                    <a:gd name="T45" fmla="*/ 16 h 40"/>
                    <a:gd name="T46" fmla="*/ 18 w 67"/>
                    <a:gd name="T47" fmla="*/ 15 h 40"/>
                    <a:gd name="T48" fmla="*/ 18 w 67"/>
                    <a:gd name="T49" fmla="*/ 15 h 40"/>
                    <a:gd name="T50" fmla="*/ 16 w 67"/>
                    <a:gd name="T51" fmla="*/ 13 h 40"/>
                    <a:gd name="T52" fmla="*/ 15 w 67"/>
                    <a:gd name="T53" fmla="*/ 13 h 40"/>
                    <a:gd name="T54" fmla="*/ 14 w 67"/>
                    <a:gd name="T55" fmla="*/ 11 h 40"/>
                    <a:gd name="T56" fmla="*/ 13 w 67"/>
                    <a:gd name="T57" fmla="*/ 9 h 40"/>
                    <a:gd name="T58" fmla="*/ 11 w 67"/>
                    <a:gd name="T59" fmla="*/ 8 h 40"/>
                    <a:gd name="T60" fmla="*/ 8 w 67"/>
                    <a:gd name="T61" fmla="*/ 5 h 40"/>
                    <a:gd name="T62" fmla="*/ 5 w 67"/>
                    <a:gd name="T63" fmla="*/ 3 h 40"/>
                    <a:gd name="T64" fmla="*/ 1 w 67"/>
                    <a:gd name="T65" fmla="*/ 1 h 40"/>
                    <a:gd name="T66" fmla="*/ 1 w 67"/>
                    <a:gd name="T67" fmla="*/ 1 h 40"/>
                    <a:gd name="T68" fmla="*/ 1 w 67"/>
                    <a:gd name="T69" fmla="*/ 0 h 40"/>
                    <a:gd name="T70" fmla="*/ 1 w 67"/>
                    <a:gd name="T71" fmla="*/ 1 h 40"/>
                    <a:gd name="T72" fmla="*/ 0 w 67"/>
                    <a:gd name="T73" fmla="*/ 1 h 40"/>
                    <a:gd name="T74" fmla="*/ 0 w 67"/>
                    <a:gd name="T75" fmla="*/ 1 h 40"/>
                    <a:gd name="T76" fmla="*/ 0 w 67"/>
                    <a:gd name="T77" fmla="*/ 1 h 40"/>
                    <a:gd name="T78" fmla="*/ 0 w 67"/>
                    <a:gd name="T79" fmla="*/ 1 h 40"/>
                    <a:gd name="T80" fmla="*/ 0 w 67"/>
                    <a:gd name="T81" fmla="*/ 2 h 40"/>
                    <a:gd name="T82" fmla="*/ 1 w 67"/>
                    <a:gd name="T83" fmla="*/ 2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7" h="40">
                      <a:moveTo>
                        <a:pt x="1" y="4"/>
                      </a:moveTo>
                      <a:lnTo>
                        <a:pt x="5" y="7"/>
                      </a:lnTo>
                      <a:lnTo>
                        <a:pt x="8" y="9"/>
                      </a:lnTo>
                      <a:lnTo>
                        <a:pt x="12" y="12"/>
                      </a:lnTo>
                      <a:lnTo>
                        <a:pt x="14" y="14"/>
                      </a:lnTo>
                      <a:lnTo>
                        <a:pt x="17" y="16"/>
                      </a:lnTo>
                      <a:lnTo>
                        <a:pt x="19" y="18"/>
                      </a:lnTo>
                      <a:lnTo>
                        <a:pt x="21" y="20"/>
                      </a:lnTo>
                      <a:lnTo>
                        <a:pt x="23" y="22"/>
                      </a:lnTo>
                      <a:lnTo>
                        <a:pt x="25" y="23"/>
                      </a:lnTo>
                      <a:lnTo>
                        <a:pt x="26" y="25"/>
                      </a:lnTo>
                      <a:lnTo>
                        <a:pt x="27" y="26"/>
                      </a:lnTo>
                      <a:lnTo>
                        <a:pt x="28" y="28"/>
                      </a:lnTo>
                      <a:lnTo>
                        <a:pt x="30" y="29"/>
                      </a:lnTo>
                      <a:lnTo>
                        <a:pt x="31" y="30"/>
                      </a:lnTo>
                      <a:lnTo>
                        <a:pt x="32" y="32"/>
                      </a:lnTo>
                      <a:lnTo>
                        <a:pt x="33" y="33"/>
                      </a:lnTo>
                      <a:lnTo>
                        <a:pt x="33" y="34"/>
                      </a:lnTo>
                      <a:lnTo>
                        <a:pt x="35" y="34"/>
                      </a:lnTo>
                      <a:lnTo>
                        <a:pt x="36" y="36"/>
                      </a:lnTo>
                      <a:lnTo>
                        <a:pt x="37" y="37"/>
                      </a:lnTo>
                      <a:lnTo>
                        <a:pt x="38" y="37"/>
                      </a:lnTo>
                      <a:lnTo>
                        <a:pt x="40" y="38"/>
                      </a:lnTo>
                      <a:lnTo>
                        <a:pt x="42" y="38"/>
                      </a:lnTo>
                      <a:lnTo>
                        <a:pt x="43" y="38"/>
                      </a:lnTo>
                      <a:lnTo>
                        <a:pt x="45" y="39"/>
                      </a:lnTo>
                      <a:lnTo>
                        <a:pt x="47" y="39"/>
                      </a:lnTo>
                      <a:lnTo>
                        <a:pt x="50" y="40"/>
                      </a:lnTo>
                      <a:lnTo>
                        <a:pt x="52" y="40"/>
                      </a:lnTo>
                      <a:lnTo>
                        <a:pt x="55" y="40"/>
                      </a:lnTo>
                      <a:lnTo>
                        <a:pt x="59" y="40"/>
                      </a:lnTo>
                      <a:lnTo>
                        <a:pt x="62" y="40"/>
                      </a:lnTo>
                      <a:lnTo>
                        <a:pt x="67" y="40"/>
                      </a:lnTo>
                      <a:lnTo>
                        <a:pt x="67" y="36"/>
                      </a:lnTo>
                      <a:lnTo>
                        <a:pt x="62" y="36"/>
                      </a:lnTo>
                      <a:lnTo>
                        <a:pt x="59" y="36"/>
                      </a:lnTo>
                      <a:lnTo>
                        <a:pt x="56" y="36"/>
                      </a:lnTo>
                      <a:lnTo>
                        <a:pt x="52" y="36"/>
                      </a:lnTo>
                      <a:lnTo>
                        <a:pt x="50" y="36"/>
                      </a:lnTo>
                      <a:lnTo>
                        <a:pt x="48" y="35"/>
                      </a:lnTo>
                      <a:lnTo>
                        <a:pt x="46" y="35"/>
                      </a:lnTo>
                      <a:lnTo>
                        <a:pt x="44" y="35"/>
                      </a:lnTo>
                      <a:lnTo>
                        <a:pt x="42" y="34"/>
                      </a:lnTo>
                      <a:lnTo>
                        <a:pt x="41" y="34"/>
                      </a:lnTo>
                      <a:lnTo>
                        <a:pt x="40" y="33"/>
                      </a:lnTo>
                      <a:lnTo>
                        <a:pt x="38" y="33"/>
                      </a:lnTo>
                      <a:lnTo>
                        <a:pt x="37" y="32"/>
                      </a:lnTo>
                      <a:lnTo>
                        <a:pt x="36" y="31"/>
                      </a:lnTo>
                      <a:lnTo>
                        <a:pt x="36" y="30"/>
                      </a:lnTo>
                      <a:lnTo>
                        <a:pt x="35" y="30"/>
                      </a:lnTo>
                      <a:lnTo>
                        <a:pt x="33" y="28"/>
                      </a:lnTo>
                      <a:lnTo>
                        <a:pt x="33" y="27"/>
                      </a:lnTo>
                      <a:lnTo>
                        <a:pt x="32" y="26"/>
                      </a:lnTo>
                      <a:lnTo>
                        <a:pt x="31" y="25"/>
                      </a:lnTo>
                      <a:lnTo>
                        <a:pt x="30" y="23"/>
                      </a:lnTo>
                      <a:lnTo>
                        <a:pt x="28" y="22"/>
                      </a:lnTo>
                      <a:lnTo>
                        <a:pt x="27" y="20"/>
                      </a:lnTo>
                      <a:lnTo>
                        <a:pt x="25" y="18"/>
                      </a:lnTo>
                      <a:lnTo>
                        <a:pt x="23" y="16"/>
                      </a:lnTo>
                      <a:lnTo>
                        <a:pt x="21" y="15"/>
                      </a:lnTo>
                      <a:lnTo>
                        <a:pt x="18" y="13"/>
                      </a:lnTo>
                      <a:lnTo>
                        <a:pt x="16" y="10"/>
                      </a:lnTo>
                      <a:lnTo>
                        <a:pt x="13" y="8"/>
                      </a:lnTo>
                      <a:lnTo>
                        <a:pt x="10" y="6"/>
                      </a:lnTo>
                      <a:lnTo>
                        <a:pt x="6" y="4"/>
                      </a:lnTo>
                      <a:lnTo>
                        <a:pt x="3" y="1"/>
                      </a:lnTo>
                      <a:lnTo>
                        <a:pt x="2" y="1"/>
                      </a:lnTo>
                      <a:lnTo>
                        <a:pt x="2" y="0"/>
                      </a:lnTo>
                      <a:lnTo>
                        <a:pt x="1" y="0"/>
                      </a:lnTo>
                      <a:lnTo>
                        <a:pt x="1" y="1"/>
                      </a:lnTo>
                      <a:lnTo>
                        <a:pt x="0" y="1"/>
                      </a:lnTo>
                      <a:lnTo>
                        <a:pt x="0" y="2"/>
                      </a:lnTo>
                      <a:lnTo>
                        <a:pt x="0" y="3"/>
                      </a:lnTo>
                      <a:lnTo>
                        <a:pt x="0" y="4"/>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8" name="Freeform 870">
                  <a:extLst>
                    <a:ext uri="{FF2B5EF4-FFF2-40B4-BE49-F238E27FC236}">
                      <a16:creationId xmlns:a16="http://schemas.microsoft.com/office/drawing/2014/main" id="{A2F4B289-C82A-3323-DB07-6277EDC73E5A}"/>
                    </a:ext>
                  </a:extLst>
                </p:cNvPr>
                <p:cNvSpPr>
                  <a:spLocks/>
                </p:cNvSpPr>
                <p:nvPr/>
              </p:nvSpPr>
              <p:spPr bwMode="auto">
                <a:xfrm>
                  <a:off x="500" y="1958"/>
                  <a:ext cx="21" cy="62"/>
                </a:xfrm>
                <a:custGeom>
                  <a:avLst/>
                  <a:gdLst>
                    <a:gd name="T0" fmla="*/ 0 w 30"/>
                    <a:gd name="T1" fmla="*/ 1 h 88"/>
                    <a:gd name="T2" fmla="*/ 1 w 30"/>
                    <a:gd name="T3" fmla="*/ 4 h 88"/>
                    <a:gd name="T4" fmla="*/ 1 w 30"/>
                    <a:gd name="T5" fmla="*/ 6 h 88"/>
                    <a:gd name="T6" fmla="*/ 2 w 30"/>
                    <a:gd name="T7" fmla="*/ 8 h 88"/>
                    <a:gd name="T8" fmla="*/ 3 w 30"/>
                    <a:gd name="T9" fmla="*/ 11 h 88"/>
                    <a:gd name="T10" fmla="*/ 3 w 30"/>
                    <a:gd name="T11" fmla="*/ 14 h 88"/>
                    <a:gd name="T12" fmla="*/ 4 w 30"/>
                    <a:gd name="T13" fmla="*/ 18 h 88"/>
                    <a:gd name="T14" fmla="*/ 4 w 30"/>
                    <a:gd name="T15" fmla="*/ 20 h 88"/>
                    <a:gd name="T16" fmla="*/ 5 w 30"/>
                    <a:gd name="T17" fmla="*/ 23 h 88"/>
                    <a:gd name="T18" fmla="*/ 6 w 30"/>
                    <a:gd name="T19" fmla="*/ 26 h 88"/>
                    <a:gd name="T20" fmla="*/ 6 w 30"/>
                    <a:gd name="T21" fmla="*/ 30 h 88"/>
                    <a:gd name="T22" fmla="*/ 8 w 30"/>
                    <a:gd name="T23" fmla="*/ 33 h 88"/>
                    <a:gd name="T24" fmla="*/ 8 w 30"/>
                    <a:gd name="T25" fmla="*/ 36 h 88"/>
                    <a:gd name="T26" fmla="*/ 9 w 30"/>
                    <a:gd name="T27" fmla="*/ 38 h 88"/>
                    <a:gd name="T28" fmla="*/ 11 w 30"/>
                    <a:gd name="T29" fmla="*/ 40 h 88"/>
                    <a:gd name="T30" fmla="*/ 13 w 30"/>
                    <a:gd name="T31" fmla="*/ 42 h 88"/>
                    <a:gd name="T32" fmla="*/ 14 w 30"/>
                    <a:gd name="T33" fmla="*/ 44 h 88"/>
                    <a:gd name="T34" fmla="*/ 14 w 30"/>
                    <a:gd name="T35" fmla="*/ 41 h 88"/>
                    <a:gd name="T36" fmla="*/ 13 w 30"/>
                    <a:gd name="T37" fmla="*/ 39 h 88"/>
                    <a:gd name="T38" fmla="*/ 11 w 30"/>
                    <a:gd name="T39" fmla="*/ 38 h 88"/>
                    <a:gd name="T40" fmla="*/ 10 w 30"/>
                    <a:gd name="T41" fmla="*/ 36 h 88"/>
                    <a:gd name="T42" fmla="*/ 9 w 30"/>
                    <a:gd name="T43" fmla="*/ 33 h 88"/>
                    <a:gd name="T44" fmla="*/ 8 w 30"/>
                    <a:gd name="T45" fmla="*/ 30 h 88"/>
                    <a:gd name="T46" fmla="*/ 8 w 30"/>
                    <a:gd name="T47" fmla="*/ 27 h 88"/>
                    <a:gd name="T48" fmla="*/ 7 w 30"/>
                    <a:gd name="T49" fmla="*/ 25 h 88"/>
                    <a:gd name="T50" fmla="*/ 6 w 30"/>
                    <a:gd name="T51" fmla="*/ 21 h 88"/>
                    <a:gd name="T52" fmla="*/ 6 w 30"/>
                    <a:gd name="T53" fmla="*/ 18 h 88"/>
                    <a:gd name="T54" fmla="*/ 5 w 30"/>
                    <a:gd name="T55" fmla="*/ 16 h 88"/>
                    <a:gd name="T56" fmla="*/ 4 w 30"/>
                    <a:gd name="T57" fmla="*/ 12 h 88"/>
                    <a:gd name="T58" fmla="*/ 4 w 30"/>
                    <a:gd name="T59" fmla="*/ 9 h 88"/>
                    <a:gd name="T60" fmla="*/ 3 w 30"/>
                    <a:gd name="T61" fmla="*/ 6 h 88"/>
                    <a:gd name="T62" fmla="*/ 3 w 30"/>
                    <a:gd name="T63" fmla="*/ 4 h 88"/>
                    <a:gd name="T64" fmla="*/ 1 w 30"/>
                    <a:gd name="T65" fmla="*/ 1 h 88"/>
                    <a:gd name="T66" fmla="*/ 1 w 30"/>
                    <a:gd name="T67" fmla="*/ 0 h 88"/>
                    <a:gd name="T68" fmla="*/ 1 w 30"/>
                    <a:gd name="T69" fmla="*/ 0 h 88"/>
                    <a:gd name="T70" fmla="*/ 1 w 30"/>
                    <a:gd name="T71" fmla="*/ 0 h 88"/>
                    <a:gd name="T72" fmla="*/ 1 w 30"/>
                    <a:gd name="T73" fmla="*/ 0 h 88"/>
                    <a:gd name="T74" fmla="*/ 1 w 30"/>
                    <a:gd name="T75" fmla="*/ 0 h 88"/>
                    <a:gd name="T76" fmla="*/ 0 w 30"/>
                    <a:gd name="T77" fmla="*/ 0 h 88"/>
                    <a:gd name="T78" fmla="*/ 0 w 30"/>
                    <a:gd name="T79" fmla="*/ 1 h 88"/>
                    <a:gd name="T80" fmla="*/ 0 w 30"/>
                    <a:gd name="T81" fmla="*/ 1 h 88"/>
                    <a:gd name="T82" fmla="*/ 0 w 30"/>
                    <a:gd name="T83" fmla="*/ 1 h 88"/>
                    <a:gd name="T84" fmla="*/ 1 w 30"/>
                    <a:gd name="T85" fmla="*/ 2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 h="88">
                      <a:moveTo>
                        <a:pt x="1" y="4"/>
                      </a:moveTo>
                      <a:lnTo>
                        <a:pt x="0" y="3"/>
                      </a:lnTo>
                      <a:lnTo>
                        <a:pt x="1" y="5"/>
                      </a:lnTo>
                      <a:lnTo>
                        <a:pt x="2" y="7"/>
                      </a:lnTo>
                      <a:lnTo>
                        <a:pt x="2" y="9"/>
                      </a:lnTo>
                      <a:lnTo>
                        <a:pt x="3" y="12"/>
                      </a:lnTo>
                      <a:lnTo>
                        <a:pt x="3" y="14"/>
                      </a:lnTo>
                      <a:lnTo>
                        <a:pt x="4" y="17"/>
                      </a:lnTo>
                      <a:lnTo>
                        <a:pt x="4" y="20"/>
                      </a:lnTo>
                      <a:lnTo>
                        <a:pt x="5" y="23"/>
                      </a:lnTo>
                      <a:lnTo>
                        <a:pt x="6" y="26"/>
                      </a:lnTo>
                      <a:lnTo>
                        <a:pt x="6" y="28"/>
                      </a:lnTo>
                      <a:lnTo>
                        <a:pt x="7" y="32"/>
                      </a:lnTo>
                      <a:lnTo>
                        <a:pt x="7" y="35"/>
                      </a:lnTo>
                      <a:lnTo>
                        <a:pt x="8" y="38"/>
                      </a:lnTo>
                      <a:lnTo>
                        <a:pt x="9" y="41"/>
                      </a:lnTo>
                      <a:lnTo>
                        <a:pt x="9" y="44"/>
                      </a:lnTo>
                      <a:lnTo>
                        <a:pt x="10" y="47"/>
                      </a:lnTo>
                      <a:lnTo>
                        <a:pt x="11" y="51"/>
                      </a:lnTo>
                      <a:lnTo>
                        <a:pt x="11" y="53"/>
                      </a:lnTo>
                      <a:lnTo>
                        <a:pt x="12" y="57"/>
                      </a:lnTo>
                      <a:lnTo>
                        <a:pt x="13" y="60"/>
                      </a:lnTo>
                      <a:lnTo>
                        <a:pt x="14" y="63"/>
                      </a:lnTo>
                      <a:lnTo>
                        <a:pt x="15" y="66"/>
                      </a:lnTo>
                      <a:lnTo>
                        <a:pt x="15" y="69"/>
                      </a:lnTo>
                      <a:lnTo>
                        <a:pt x="17" y="72"/>
                      </a:lnTo>
                      <a:lnTo>
                        <a:pt x="18" y="74"/>
                      </a:lnTo>
                      <a:lnTo>
                        <a:pt x="18" y="77"/>
                      </a:lnTo>
                      <a:lnTo>
                        <a:pt x="20" y="79"/>
                      </a:lnTo>
                      <a:lnTo>
                        <a:pt x="22" y="81"/>
                      </a:lnTo>
                      <a:lnTo>
                        <a:pt x="23" y="83"/>
                      </a:lnTo>
                      <a:lnTo>
                        <a:pt x="25" y="85"/>
                      </a:lnTo>
                      <a:lnTo>
                        <a:pt x="26" y="87"/>
                      </a:lnTo>
                      <a:lnTo>
                        <a:pt x="28" y="88"/>
                      </a:lnTo>
                      <a:lnTo>
                        <a:pt x="30" y="84"/>
                      </a:lnTo>
                      <a:lnTo>
                        <a:pt x="28" y="83"/>
                      </a:lnTo>
                      <a:lnTo>
                        <a:pt x="27" y="82"/>
                      </a:lnTo>
                      <a:lnTo>
                        <a:pt x="25" y="80"/>
                      </a:lnTo>
                      <a:lnTo>
                        <a:pt x="24" y="78"/>
                      </a:lnTo>
                      <a:lnTo>
                        <a:pt x="22" y="77"/>
                      </a:lnTo>
                      <a:lnTo>
                        <a:pt x="22" y="74"/>
                      </a:lnTo>
                      <a:lnTo>
                        <a:pt x="20" y="72"/>
                      </a:lnTo>
                      <a:lnTo>
                        <a:pt x="19" y="70"/>
                      </a:lnTo>
                      <a:lnTo>
                        <a:pt x="18" y="67"/>
                      </a:lnTo>
                      <a:lnTo>
                        <a:pt x="17" y="64"/>
                      </a:lnTo>
                      <a:lnTo>
                        <a:pt x="17" y="61"/>
                      </a:lnTo>
                      <a:lnTo>
                        <a:pt x="15" y="59"/>
                      </a:lnTo>
                      <a:lnTo>
                        <a:pt x="15" y="56"/>
                      </a:lnTo>
                      <a:lnTo>
                        <a:pt x="14" y="53"/>
                      </a:lnTo>
                      <a:lnTo>
                        <a:pt x="14" y="50"/>
                      </a:lnTo>
                      <a:lnTo>
                        <a:pt x="13" y="46"/>
                      </a:lnTo>
                      <a:lnTo>
                        <a:pt x="12" y="43"/>
                      </a:lnTo>
                      <a:lnTo>
                        <a:pt x="12" y="40"/>
                      </a:lnTo>
                      <a:lnTo>
                        <a:pt x="11" y="37"/>
                      </a:lnTo>
                      <a:lnTo>
                        <a:pt x="11" y="34"/>
                      </a:lnTo>
                      <a:lnTo>
                        <a:pt x="10" y="31"/>
                      </a:lnTo>
                      <a:lnTo>
                        <a:pt x="9" y="28"/>
                      </a:lnTo>
                      <a:lnTo>
                        <a:pt x="9" y="24"/>
                      </a:lnTo>
                      <a:lnTo>
                        <a:pt x="8" y="21"/>
                      </a:lnTo>
                      <a:lnTo>
                        <a:pt x="8" y="18"/>
                      </a:lnTo>
                      <a:lnTo>
                        <a:pt x="7" y="16"/>
                      </a:lnTo>
                      <a:lnTo>
                        <a:pt x="6" y="12"/>
                      </a:lnTo>
                      <a:lnTo>
                        <a:pt x="6" y="10"/>
                      </a:lnTo>
                      <a:lnTo>
                        <a:pt x="5" y="8"/>
                      </a:lnTo>
                      <a:lnTo>
                        <a:pt x="4" y="6"/>
                      </a:lnTo>
                      <a:lnTo>
                        <a:pt x="3" y="3"/>
                      </a:lnTo>
                      <a:lnTo>
                        <a:pt x="3" y="1"/>
                      </a:lnTo>
                      <a:lnTo>
                        <a:pt x="2" y="0"/>
                      </a:lnTo>
                      <a:lnTo>
                        <a:pt x="3" y="1"/>
                      </a:lnTo>
                      <a:lnTo>
                        <a:pt x="3" y="0"/>
                      </a:lnTo>
                      <a:lnTo>
                        <a:pt x="2" y="0"/>
                      </a:lnTo>
                      <a:lnTo>
                        <a:pt x="1" y="0"/>
                      </a:lnTo>
                      <a:lnTo>
                        <a:pt x="0" y="0"/>
                      </a:lnTo>
                      <a:lnTo>
                        <a:pt x="0" y="1"/>
                      </a:lnTo>
                      <a:lnTo>
                        <a:pt x="0" y="2"/>
                      </a:lnTo>
                      <a:lnTo>
                        <a:pt x="0" y="3"/>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79" name="Freeform 871">
                  <a:extLst>
                    <a:ext uri="{FF2B5EF4-FFF2-40B4-BE49-F238E27FC236}">
                      <a16:creationId xmlns:a16="http://schemas.microsoft.com/office/drawing/2014/main" id="{62C263DC-6A19-8440-0E5C-72543B0BBF94}"/>
                    </a:ext>
                  </a:extLst>
                </p:cNvPr>
                <p:cNvSpPr>
                  <a:spLocks/>
                </p:cNvSpPr>
                <p:nvPr/>
              </p:nvSpPr>
              <p:spPr bwMode="auto">
                <a:xfrm>
                  <a:off x="467" y="1934"/>
                  <a:ext cx="34" cy="28"/>
                </a:xfrm>
                <a:custGeom>
                  <a:avLst/>
                  <a:gdLst>
                    <a:gd name="T0" fmla="*/ 1 w 49"/>
                    <a:gd name="T1" fmla="*/ 17 h 39"/>
                    <a:gd name="T2" fmla="*/ 1 w 49"/>
                    <a:gd name="T3" fmla="*/ 12 h 39"/>
                    <a:gd name="T4" fmla="*/ 1 w 49"/>
                    <a:gd name="T5" fmla="*/ 9 h 39"/>
                    <a:gd name="T6" fmla="*/ 1 w 49"/>
                    <a:gd name="T7" fmla="*/ 6 h 39"/>
                    <a:gd name="T8" fmla="*/ 1 w 49"/>
                    <a:gd name="T9" fmla="*/ 4 h 39"/>
                    <a:gd name="T10" fmla="*/ 1 w 49"/>
                    <a:gd name="T11" fmla="*/ 3 h 39"/>
                    <a:gd name="T12" fmla="*/ 1 w 49"/>
                    <a:gd name="T13" fmla="*/ 3 h 39"/>
                    <a:gd name="T14" fmla="*/ 2 w 49"/>
                    <a:gd name="T15" fmla="*/ 3 h 39"/>
                    <a:gd name="T16" fmla="*/ 3 w 49"/>
                    <a:gd name="T17" fmla="*/ 3 h 39"/>
                    <a:gd name="T18" fmla="*/ 5 w 49"/>
                    <a:gd name="T19" fmla="*/ 4 h 39"/>
                    <a:gd name="T20" fmla="*/ 7 w 49"/>
                    <a:gd name="T21" fmla="*/ 6 h 39"/>
                    <a:gd name="T22" fmla="*/ 10 w 49"/>
                    <a:gd name="T23" fmla="*/ 9 h 39"/>
                    <a:gd name="T24" fmla="*/ 12 w 49"/>
                    <a:gd name="T25" fmla="*/ 11 h 39"/>
                    <a:gd name="T26" fmla="*/ 17 w 49"/>
                    <a:gd name="T27" fmla="*/ 14 h 39"/>
                    <a:gd name="T28" fmla="*/ 20 w 49"/>
                    <a:gd name="T29" fmla="*/ 18 h 39"/>
                    <a:gd name="T30" fmla="*/ 24 w 49"/>
                    <a:gd name="T31" fmla="*/ 18 h 39"/>
                    <a:gd name="T32" fmla="*/ 19 w 49"/>
                    <a:gd name="T33" fmla="*/ 14 h 39"/>
                    <a:gd name="T34" fmla="*/ 15 w 49"/>
                    <a:gd name="T35" fmla="*/ 11 h 39"/>
                    <a:gd name="T36" fmla="*/ 12 w 49"/>
                    <a:gd name="T37" fmla="*/ 8 h 39"/>
                    <a:gd name="T38" fmla="*/ 9 w 49"/>
                    <a:gd name="T39" fmla="*/ 6 h 39"/>
                    <a:gd name="T40" fmla="*/ 7 w 49"/>
                    <a:gd name="T41" fmla="*/ 4 h 39"/>
                    <a:gd name="T42" fmla="*/ 5 w 49"/>
                    <a:gd name="T43" fmla="*/ 1 h 39"/>
                    <a:gd name="T44" fmla="*/ 3 w 49"/>
                    <a:gd name="T45" fmla="*/ 1 h 39"/>
                    <a:gd name="T46" fmla="*/ 2 w 49"/>
                    <a:gd name="T47" fmla="*/ 0 h 39"/>
                    <a:gd name="T48" fmla="*/ 1 w 49"/>
                    <a:gd name="T49" fmla="*/ 0 h 39"/>
                    <a:gd name="T50" fmla="*/ 0 w 49"/>
                    <a:gd name="T51" fmla="*/ 1 h 39"/>
                    <a:gd name="T52" fmla="*/ 0 w 49"/>
                    <a:gd name="T53" fmla="*/ 3 h 39"/>
                    <a:gd name="T54" fmla="*/ 0 w 49"/>
                    <a:gd name="T55" fmla="*/ 5 h 39"/>
                    <a:gd name="T56" fmla="*/ 0 w 49"/>
                    <a:gd name="T57" fmla="*/ 8 h 39"/>
                    <a:gd name="T58" fmla="*/ 0 w 49"/>
                    <a:gd name="T59" fmla="*/ 10 h 39"/>
                    <a:gd name="T60" fmla="*/ 0 w 49"/>
                    <a:gd name="T61" fmla="*/ 14 h 39"/>
                    <a:gd name="T62" fmla="*/ 0 w 49"/>
                    <a:gd name="T63" fmla="*/ 19 h 39"/>
                    <a:gd name="T64" fmla="*/ 0 w 49"/>
                    <a:gd name="T65" fmla="*/ 19 h 39"/>
                    <a:gd name="T66" fmla="*/ 0 w 49"/>
                    <a:gd name="T67" fmla="*/ 19 h 39"/>
                    <a:gd name="T68" fmla="*/ 0 w 49"/>
                    <a:gd name="T69" fmla="*/ 20 h 39"/>
                    <a:gd name="T70" fmla="*/ 1 w 49"/>
                    <a:gd name="T71" fmla="*/ 20 h 39"/>
                    <a:gd name="T72" fmla="*/ 1 w 49"/>
                    <a:gd name="T73" fmla="*/ 20 h 39"/>
                    <a:gd name="T74" fmla="*/ 1 w 49"/>
                    <a:gd name="T75" fmla="*/ 20 h 39"/>
                    <a:gd name="T76" fmla="*/ 1 w 49"/>
                    <a:gd name="T77" fmla="*/ 19 h 39"/>
                    <a:gd name="T78" fmla="*/ 1 w 49"/>
                    <a:gd name="T79" fmla="*/ 19 h 39"/>
                    <a:gd name="T80" fmla="*/ 1 w 49"/>
                    <a:gd name="T81" fmla="*/ 19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9" h="39">
                      <a:moveTo>
                        <a:pt x="3" y="37"/>
                      </a:moveTo>
                      <a:lnTo>
                        <a:pt x="3" y="32"/>
                      </a:lnTo>
                      <a:lnTo>
                        <a:pt x="3" y="28"/>
                      </a:lnTo>
                      <a:lnTo>
                        <a:pt x="3" y="24"/>
                      </a:lnTo>
                      <a:lnTo>
                        <a:pt x="3" y="20"/>
                      </a:lnTo>
                      <a:lnTo>
                        <a:pt x="3" y="18"/>
                      </a:lnTo>
                      <a:lnTo>
                        <a:pt x="3" y="15"/>
                      </a:lnTo>
                      <a:lnTo>
                        <a:pt x="3" y="12"/>
                      </a:lnTo>
                      <a:lnTo>
                        <a:pt x="3" y="10"/>
                      </a:lnTo>
                      <a:lnTo>
                        <a:pt x="3" y="8"/>
                      </a:lnTo>
                      <a:lnTo>
                        <a:pt x="3" y="7"/>
                      </a:lnTo>
                      <a:lnTo>
                        <a:pt x="3" y="5"/>
                      </a:lnTo>
                      <a:lnTo>
                        <a:pt x="4" y="5"/>
                      </a:lnTo>
                      <a:lnTo>
                        <a:pt x="5" y="5"/>
                      </a:lnTo>
                      <a:lnTo>
                        <a:pt x="6" y="5"/>
                      </a:lnTo>
                      <a:lnTo>
                        <a:pt x="7" y="6"/>
                      </a:lnTo>
                      <a:lnTo>
                        <a:pt x="8" y="7"/>
                      </a:lnTo>
                      <a:lnTo>
                        <a:pt x="10" y="8"/>
                      </a:lnTo>
                      <a:lnTo>
                        <a:pt x="12" y="10"/>
                      </a:lnTo>
                      <a:lnTo>
                        <a:pt x="14" y="12"/>
                      </a:lnTo>
                      <a:lnTo>
                        <a:pt x="17" y="14"/>
                      </a:lnTo>
                      <a:lnTo>
                        <a:pt x="20" y="17"/>
                      </a:lnTo>
                      <a:lnTo>
                        <a:pt x="22" y="19"/>
                      </a:lnTo>
                      <a:lnTo>
                        <a:pt x="26" y="22"/>
                      </a:lnTo>
                      <a:lnTo>
                        <a:pt x="29" y="24"/>
                      </a:lnTo>
                      <a:lnTo>
                        <a:pt x="34" y="27"/>
                      </a:lnTo>
                      <a:lnTo>
                        <a:pt x="38" y="30"/>
                      </a:lnTo>
                      <a:lnTo>
                        <a:pt x="42" y="35"/>
                      </a:lnTo>
                      <a:lnTo>
                        <a:pt x="47" y="39"/>
                      </a:lnTo>
                      <a:lnTo>
                        <a:pt x="49" y="35"/>
                      </a:lnTo>
                      <a:lnTo>
                        <a:pt x="44" y="31"/>
                      </a:lnTo>
                      <a:lnTo>
                        <a:pt x="39" y="27"/>
                      </a:lnTo>
                      <a:lnTo>
                        <a:pt x="35" y="24"/>
                      </a:lnTo>
                      <a:lnTo>
                        <a:pt x="32" y="21"/>
                      </a:lnTo>
                      <a:lnTo>
                        <a:pt x="28" y="18"/>
                      </a:lnTo>
                      <a:lnTo>
                        <a:pt x="24" y="16"/>
                      </a:lnTo>
                      <a:lnTo>
                        <a:pt x="21" y="13"/>
                      </a:lnTo>
                      <a:lnTo>
                        <a:pt x="19" y="11"/>
                      </a:lnTo>
                      <a:lnTo>
                        <a:pt x="16" y="8"/>
                      </a:lnTo>
                      <a:lnTo>
                        <a:pt x="14" y="7"/>
                      </a:lnTo>
                      <a:lnTo>
                        <a:pt x="12" y="5"/>
                      </a:lnTo>
                      <a:lnTo>
                        <a:pt x="10" y="3"/>
                      </a:lnTo>
                      <a:lnTo>
                        <a:pt x="8" y="2"/>
                      </a:lnTo>
                      <a:lnTo>
                        <a:pt x="7" y="1"/>
                      </a:lnTo>
                      <a:lnTo>
                        <a:pt x="6" y="0"/>
                      </a:lnTo>
                      <a:lnTo>
                        <a:pt x="5" y="0"/>
                      </a:lnTo>
                      <a:lnTo>
                        <a:pt x="3" y="0"/>
                      </a:lnTo>
                      <a:lnTo>
                        <a:pt x="2" y="0"/>
                      </a:lnTo>
                      <a:lnTo>
                        <a:pt x="1" y="1"/>
                      </a:lnTo>
                      <a:lnTo>
                        <a:pt x="0" y="3"/>
                      </a:lnTo>
                      <a:lnTo>
                        <a:pt x="0" y="5"/>
                      </a:lnTo>
                      <a:lnTo>
                        <a:pt x="0" y="6"/>
                      </a:lnTo>
                      <a:lnTo>
                        <a:pt x="0" y="8"/>
                      </a:lnTo>
                      <a:lnTo>
                        <a:pt x="0" y="10"/>
                      </a:lnTo>
                      <a:lnTo>
                        <a:pt x="0" y="12"/>
                      </a:lnTo>
                      <a:lnTo>
                        <a:pt x="0" y="15"/>
                      </a:lnTo>
                      <a:lnTo>
                        <a:pt x="0" y="18"/>
                      </a:lnTo>
                      <a:lnTo>
                        <a:pt x="0" y="20"/>
                      </a:lnTo>
                      <a:lnTo>
                        <a:pt x="0" y="24"/>
                      </a:lnTo>
                      <a:lnTo>
                        <a:pt x="0" y="28"/>
                      </a:lnTo>
                      <a:lnTo>
                        <a:pt x="0" y="32"/>
                      </a:lnTo>
                      <a:lnTo>
                        <a:pt x="0" y="37"/>
                      </a:lnTo>
                      <a:lnTo>
                        <a:pt x="0" y="38"/>
                      </a:lnTo>
                      <a:lnTo>
                        <a:pt x="0" y="39"/>
                      </a:lnTo>
                      <a:lnTo>
                        <a:pt x="1" y="39"/>
                      </a:lnTo>
                      <a:lnTo>
                        <a:pt x="2" y="39"/>
                      </a:lnTo>
                      <a:lnTo>
                        <a:pt x="3" y="39"/>
                      </a:lnTo>
                      <a:lnTo>
                        <a:pt x="3" y="38"/>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0" name="Freeform 872">
                  <a:extLst>
                    <a:ext uri="{FF2B5EF4-FFF2-40B4-BE49-F238E27FC236}">
                      <a16:creationId xmlns:a16="http://schemas.microsoft.com/office/drawing/2014/main" id="{EFA97BCB-6E8E-40C3-5BCE-06E0E45F452A}"/>
                    </a:ext>
                  </a:extLst>
                </p:cNvPr>
                <p:cNvSpPr>
                  <a:spLocks/>
                </p:cNvSpPr>
                <p:nvPr/>
              </p:nvSpPr>
              <p:spPr bwMode="auto">
                <a:xfrm>
                  <a:off x="421" y="1948"/>
                  <a:ext cx="49" cy="19"/>
                </a:xfrm>
                <a:custGeom>
                  <a:avLst/>
                  <a:gdLst>
                    <a:gd name="T0" fmla="*/ 1 w 69"/>
                    <a:gd name="T1" fmla="*/ 2 h 26"/>
                    <a:gd name="T2" fmla="*/ 2 w 69"/>
                    <a:gd name="T3" fmla="*/ 2 h 26"/>
                    <a:gd name="T4" fmla="*/ 4 w 69"/>
                    <a:gd name="T5" fmla="*/ 3 h 26"/>
                    <a:gd name="T6" fmla="*/ 6 w 69"/>
                    <a:gd name="T7" fmla="*/ 4 h 26"/>
                    <a:gd name="T8" fmla="*/ 8 w 69"/>
                    <a:gd name="T9" fmla="*/ 5 h 26"/>
                    <a:gd name="T10" fmla="*/ 11 w 69"/>
                    <a:gd name="T11" fmla="*/ 7 h 26"/>
                    <a:gd name="T12" fmla="*/ 14 w 69"/>
                    <a:gd name="T13" fmla="*/ 8 h 26"/>
                    <a:gd name="T14" fmla="*/ 17 w 69"/>
                    <a:gd name="T15" fmla="*/ 10 h 26"/>
                    <a:gd name="T16" fmla="*/ 20 w 69"/>
                    <a:gd name="T17" fmla="*/ 11 h 26"/>
                    <a:gd name="T18" fmla="*/ 23 w 69"/>
                    <a:gd name="T19" fmla="*/ 12 h 26"/>
                    <a:gd name="T20" fmla="*/ 26 w 69"/>
                    <a:gd name="T21" fmla="*/ 13 h 26"/>
                    <a:gd name="T22" fmla="*/ 28 w 69"/>
                    <a:gd name="T23" fmla="*/ 14 h 26"/>
                    <a:gd name="T24" fmla="*/ 31 w 69"/>
                    <a:gd name="T25" fmla="*/ 14 h 26"/>
                    <a:gd name="T26" fmla="*/ 33 w 69"/>
                    <a:gd name="T27" fmla="*/ 13 h 26"/>
                    <a:gd name="T28" fmla="*/ 34 w 69"/>
                    <a:gd name="T29" fmla="*/ 12 h 26"/>
                    <a:gd name="T30" fmla="*/ 35 w 69"/>
                    <a:gd name="T31" fmla="*/ 9 h 26"/>
                    <a:gd name="T32" fmla="*/ 33 w 69"/>
                    <a:gd name="T33" fmla="*/ 10 h 26"/>
                    <a:gd name="T34" fmla="*/ 32 w 69"/>
                    <a:gd name="T35" fmla="*/ 11 h 26"/>
                    <a:gd name="T36" fmla="*/ 32 w 69"/>
                    <a:gd name="T37" fmla="*/ 12 h 26"/>
                    <a:gd name="T38" fmla="*/ 30 w 69"/>
                    <a:gd name="T39" fmla="*/ 12 h 26"/>
                    <a:gd name="T40" fmla="*/ 28 w 69"/>
                    <a:gd name="T41" fmla="*/ 12 h 26"/>
                    <a:gd name="T42" fmla="*/ 26 w 69"/>
                    <a:gd name="T43" fmla="*/ 11 h 26"/>
                    <a:gd name="T44" fmla="*/ 22 w 69"/>
                    <a:gd name="T45" fmla="*/ 10 h 26"/>
                    <a:gd name="T46" fmla="*/ 19 w 69"/>
                    <a:gd name="T47" fmla="*/ 8 h 26"/>
                    <a:gd name="T48" fmla="*/ 16 w 69"/>
                    <a:gd name="T49" fmla="*/ 7 h 26"/>
                    <a:gd name="T50" fmla="*/ 13 w 69"/>
                    <a:gd name="T51" fmla="*/ 5 h 26"/>
                    <a:gd name="T52" fmla="*/ 10 w 69"/>
                    <a:gd name="T53" fmla="*/ 4 h 26"/>
                    <a:gd name="T54" fmla="*/ 8 w 69"/>
                    <a:gd name="T55" fmla="*/ 2 h 26"/>
                    <a:gd name="T56" fmla="*/ 5 w 69"/>
                    <a:gd name="T57" fmla="*/ 1 h 26"/>
                    <a:gd name="T58" fmla="*/ 3 w 69"/>
                    <a:gd name="T59" fmla="*/ 1 h 26"/>
                    <a:gd name="T60" fmla="*/ 1 w 69"/>
                    <a:gd name="T61" fmla="*/ 0 h 26"/>
                    <a:gd name="T62" fmla="*/ 1 w 69"/>
                    <a:gd name="T63" fmla="*/ 1 h 26"/>
                    <a:gd name="T64" fmla="*/ 0 w 69"/>
                    <a:gd name="T65" fmla="*/ 2 h 26"/>
                    <a:gd name="T66" fmla="*/ 0 w 69"/>
                    <a:gd name="T67" fmla="*/ 3 h 26"/>
                    <a:gd name="T68" fmla="*/ 1 w 69"/>
                    <a:gd name="T69" fmla="*/ 3 h 26"/>
                    <a:gd name="T70" fmla="*/ 1 w 69"/>
                    <a:gd name="T71" fmla="*/ 3 h 26"/>
                    <a:gd name="T72" fmla="*/ 1 w 69"/>
                    <a:gd name="T73" fmla="*/ 3 h 26"/>
                    <a:gd name="T74" fmla="*/ 1 w 69"/>
                    <a:gd name="T75" fmla="*/ 3 h 26"/>
                    <a:gd name="T76" fmla="*/ 1 w 69"/>
                    <a:gd name="T77" fmla="*/ 3 h 26"/>
                    <a:gd name="T78" fmla="*/ 1 w 69"/>
                    <a:gd name="T79" fmla="*/ 3 h 26"/>
                    <a:gd name="T80" fmla="*/ 1 w 69"/>
                    <a:gd name="T81" fmla="*/ 3 h 26"/>
                    <a:gd name="T82" fmla="*/ 1 w 69"/>
                    <a:gd name="T83" fmla="*/ 2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9" h="26">
                      <a:moveTo>
                        <a:pt x="3" y="4"/>
                      </a:moveTo>
                      <a:lnTo>
                        <a:pt x="3" y="4"/>
                      </a:lnTo>
                      <a:lnTo>
                        <a:pt x="4" y="4"/>
                      </a:lnTo>
                      <a:lnTo>
                        <a:pt x="6" y="4"/>
                      </a:lnTo>
                      <a:lnTo>
                        <a:pt x="7" y="5"/>
                      </a:lnTo>
                      <a:lnTo>
                        <a:pt x="9" y="6"/>
                      </a:lnTo>
                      <a:lnTo>
                        <a:pt x="12" y="7"/>
                      </a:lnTo>
                      <a:lnTo>
                        <a:pt x="14" y="8"/>
                      </a:lnTo>
                      <a:lnTo>
                        <a:pt x="16" y="9"/>
                      </a:lnTo>
                      <a:lnTo>
                        <a:pt x="19" y="10"/>
                      </a:lnTo>
                      <a:lnTo>
                        <a:pt x="22" y="12"/>
                      </a:lnTo>
                      <a:lnTo>
                        <a:pt x="25" y="13"/>
                      </a:lnTo>
                      <a:lnTo>
                        <a:pt x="28" y="15"/>
                      </a:lnTo>
                      <a:lnTo>
                        <a:pt x="31" y="16"/>
                      </a:lnTo>
                      <a:lnTo>
                        <a:pt x="34" y="18"/>
                      </a:lnTo>
                      <a:lnTo>
                        <a:pt x="37" y="19"/>
                      </a:lnTo>
                      <a:lnTo>
                        <a:pt x="40" y="20"/>
                      </a:lnTo>
                      <a:lnTo>
                        <a:pt x="43" y="22"/>
                      </a:lnTo>
                      <a:lnTo>
                        <a:pt x="46" y="22"/>
                      </a:lnTo>
                      <a:lnTo>
                        <a:pt x="49" y="24"/>
                      </a:lnTo>
                      <a:lnTo>
                        <a:pt x="52" y="25"/>
                      </a:lnTo>
                      <a:lnTo>
                        <a:pt x="54" y="25"/>
                      </a:lnTo>
                      <a:lnTo>
                        <a:pt x="57" y="26"/>
                      </a:lnTo>
                      <a:lnTo>
                        <a:pt x="59" y="26"/>
                      </a:lnTo>
                      <a:lnTo>
                        <a:pt x="61" y="26"/>
                      </a:lnTo>
                      <a:lnTo>
                        <a:pt x="63" y="26"/>
                      </a:lnTo>
                      <a:lnTo>
                        <a:pt x="65" y="25"/>
                      </a:lnTo>
                      <a:lnTo>
                        <a:pt x="67" y="23"/>
                      </a:lnTo>
                      <a:lnTo>
                        <a:pt x="68" y="22"/>
                      </a:lnTo>
                      <a:lnTo>
                        <a:pt x="69" y="19"/>
                      </a:lnTo>
                      <a:lnTo>
                        <a:pt x="69" y="16"/>
                      </a:lnTo>
                      <a:lnTo>
                        <a:pt x="66" y="16"/>
                      </a:lnTo>
                      <a:lnTo>
                        <a:pt x="66" y="18"/>
                      </a:lnTo>
                      <a:lnTo>
                        <a:pt x="65" y="20"/>
                      </a:lnTo>
                      <a:lnTo>
                        <a:pt x="64" y="20"/>
                      </a:lnTo>
                      <a:lnTo>
                        <a:pt x="64" y="21"/>
                      </a:lnTo>
                      <a:lnTo>
                        <a:pt x="63" y="22"/>
                      </a:lnTo>
                      <a:lnTo>
                        <a:pt x="61" y="22"/>
                      </a:lnTo>
                      <a:lnTo>
                        <a:pt x="59" y="22"/>
                      </a:lnTo>
                      <a:lnTo>
                        <a:pt x="57" y="22"/>
                      </a:lnTo>
                      <a:lnTo>
                        <a:pt x="55" y="22"/>
                      </a:lnTo>
                      <a:lnTo>
                        <a:pt x="53" y="20"/>
                      </a:lnTo>
                      <a:lnTo>
                        <a:pt x="50" y="20"/>
                      </a:lnTo>
                      <a:lnTo>
                        <a:pt x="47" y="19"/>
                      </a:lnTo>
                      <a:lnTo>
                        <a:pt x="44" y="18"/>
                      </a:lnTo>
                      <a:lnTo>
                        <a:pt x="41" y="16"/>
                      </a:lnTo>
                      <a:lnTo>
                        <a:pt x="38" y="15"/>
                      </a:lnTo>
                      <a:lnTo>
                        <a:pt x="35" y="14"/>
                      </a:lnTo>
                      <a:lnTo>
                        <a:pt x="32" y="12"/>
                      </a:lnTo>
                      <a:lnTo>
                        <a:pt x="29" y="10"/>
                      </a:lnTo>
                      <a:lnTo>
                        <a:pt x="26" y="10"/>
                      </a:lnTo>
                      <a:lnTo>
                        <a:pt x="23" y="8"/>
                      </a:lnTo>
                      <a:lnTo>
                        <a:pt x="20" y="7"/>
                      </a:lnTo>
                      <a:lnTo>
                        <a:pt x="18" y="5"/>
                      </a:lnTo>
                      <a:lnTo>
                        <a:pt x="15" y="4"/>
                      </a:lnTo>
                      <a:lnTo>
                        <a:pt x="13" y="3"/>
                      </a:lnTo>
                      <a:lnTo>
                        <a:pt x="10" y="2"/>
                      </a:lnTo>
                      <a:lnTo>
                        <a:pt x="8" y="1"/>
                      </a:lnTo>
                      <a:lnTo>
                        <a:pt x="6" y="1"/>
                      </a:lnTo>
                      <a:lnTo>
                        <a:pt x="5" y="0"/>
                      </a:lnTo>
                      <a:lnTo>
                        <a:pt x="3" y="0"/>
                      </a:lnTo>
                      <a:lnTo>
                        <a:pt x="2" y="1"/>
                      </a:lnTo>
                      <a:lnTo>
                        <a:pt x="1" y="2"/>
                      </a:lnTo>
                      <a:lnTo>
                        <a:pt x="0" y="4"/>
                      </a:lnTo>
                      <a:lnTo>
                        <a:pt x="0" y="5"/>
                      </a:lnTo>
                      <a:lnTo>
                        <a:pt x="0" y="6"/>
                      </a:lnTo>
                      <a:lnTo>
                        <a:pt x="1" y="6"/>
                      </a:lnTo>
                      <a:lnTo>
                        <a:pt x="2" y="6"/>
                      </a:lnTo>
                      <a:lnTo>
                        <a:pt x="3" y="6"/>
                      </a:lnTo>
                      <a:lnTo>
                        <a:pt x="3" y="5"/>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1" name="Freeform 873">
                  <a:extLst>
                    <a:ext uri="{FF2B5EF4-FFF2-40B4-BE49-F238E27FC236}">
                      <a16:creationId xmlns:a16="http://schemas.microsoft.com/office/drawing/2014/main" id="{8C041B8B-AA8D-C2DA-75B2-E878A2D2B14A}"/>
                    </a:ext>
                  </a:extLst>
                </p:cNvPr>
                <p:cNvSpPr>
                  <a:spLocks/>
                </p:cNvSpPr>
                <p:nvPr/>
              </p:nvSpPr>
              <p:spPr bwMode="auto">
                <a:xfrm>
                  <a:off x="422" y="1952"/>
                  <a:ext cx="29" cy="35"/>
                </a:xfrm>
                <a:custGeom>
                  <a:avLst/>
                  <a:gdLst>
                    <a:gd name="T0" fmla="*/ 20 w 41"/>
                    <a:gd name="T1" fmla="*/ 24 h 50"/>
                    <a:gd name="T2" fmla="*/ 21 w 41"/>
                    <a:gd name="T3" fmla="*/ 22 h 50"/>
                    <a:gd name="T4" fmla="*/ 20 w 41"/>
                    <a:gd name="T5" fmla="*/ 19 h 50"/>
                    <a:gd name="T6" fmla="*/ 20 w 41"/>
                    <a:gd name="T7" fmla="*/ 18 h 50"/>
                    <a:gd name="T8" fmla="*/ 18 w 41"/>
                    <a:gd name="T9" fmla="*/ 15 h 50"/>
                    <a:gd name="T10" fmla="*/ 16 w 41"/>
                    <a:gd name="T11" fmla="*/ 14 h 50"/>
                    <a:gd name="T12" fmla="*/ 15 w 41"/>
                    <a:gd name="T13" fmla="*/ 13 h 50"/>
                    <a:gd name="T14" fmla="*/ 13 w 41"/>
                    <a:gd name="T15" fmla="*/ 13 h 50"/>
                    <a:gd name="T16" fmla="*/ 11 w 41"/>
                    <a:gd name="T17" fmla="*/ 11 h 50"/>
                    <a:gd name="T18" fmla="*/ 9 w 41"/>
                    <a:gd name="T19" fmla="*/ 11 h 50"/>
                    <a:gd name="T20" fmla="*/ 8 w 41"/>
                    <a:gd name="T21" fmla="*/ 9 h 50"/>
                    <a:gd name="T22" fmla="*/ 6 w 41"/>
                    <a:gd name="T23" fmla="*/ 8 h 50"/>
                    <a:gd name="T24" fmla="*/ 4 w 41"/>
                    <a:gd name="T25" fmla="*/ 7 h 50"/>
                    <a:gd name="T26" fmla="*/ 3 w 41"/>
                    <a:gd name="T27" fmla="*/ 6 h 50"/>
                    <a:gd name="T28" fmla="*/ 3 w 41"/>
                    <a:gd name="T29" fmla="*/ 4 h 50"/>
                    <a:gd name="T30" fmla="*/ 1 w 41"/>
                    <a:gd name="T31" fmla="*/ 2 h 50"/>
                    <a:gd name="T32" fmla="*/ 1 w 41"/>
                    <a:gd name="T33" fmla="*/ 0 h 50"/>
                    <a:gd name="T34" fmla="*/ 0 w 41"/>
                    <a:gd name="T35" fmla="*/ 1 h 50"/>
                    <a:gd name="T36" fmla="*/ 1 w 41"/>
                    <a:gd name="T37" fmla="*/ 4 h 50"/>
                    <a:gd name="T38" fmla="*/ 1 w 41"/>
                    <a:gd name="T39" fmla="*/ 6 h 50"/>
                    <a:gd name="T40" fmla="*/ 3 w 41"/>
                    <a:gd name="T41" fmla="*/ 8 h 50"/>
                    <a:gd name="T42" fmla="*/ 4 w 41"/>
                    <a:gd name="T43" fmla="*/ 9 h 50"/>
                    <a:gd name="T44" fmla="*/ 6 w 41"/>
                    <a:gd name="T45" fmla="*/ 11 h 50"/>
                    <a:gd name="T46" fmla="*/ 8 w 41"/>
                    <a:gd name="T47" fmla="*/ 12 h 50"/>
                    <a:gd name="T48" fmla="*/ 10 w 41"/>
                    <a:gd name="T49" fmla="*/ 13 h 50"/>
                    <a:gd name="T50" fmla="*/ 11 w 41"/>
                    <a:gd name="T51" fmla="*/ 13 h 50"/>
                    <a:gd name="T52" fmla="*/ 13 w 41"/>
                    <a:gd name="T53" fmla="*/ 14 h 50"/>
                    <a:gd name="T54" fmla="*/ 15 w 41"/>
                    <a:gd name="T55" fmla="*/ 15 h 50"/>
                    <a:gd name="T56" fmla="*/ 16 w 41"/>
                    <a:gd name="T57" fmla="*/ 17 h 50"/>
                    <a:gd name="T58" fmla="*/ 18 w 41"/>
                    <a:gd name="T59" fmla="*/ 18 h 50"/>
                    <a:gd name="T60" fmla="*/ 18 w 41"/>
                    <a:gd name="T61" fmla="*/ 19 h 50"/>
                    <a:gd name="T62" fmla="*/ 18 w 41"/>
                    <a:gd name="T63" fmla="*/ 20 h 50"/>
                    <a:gd name="T64" fmla="*/ 19 w 41"/>
                    <a:gd name="T65" fmla="*/ 22 h 50"/>
                    <a:gd name="T66" fmla="*/ 18 w 41"/>
                    <a:gd name="T67" fmla="*/ 23 h 50"/>
                    <a:gd name="T68" fmla="*/ 18 w 41"/>
                    <a:gd name="T69" fmla="*/ 23 h 50"/>
                    <a:gd name="T70" fmla="*/ 18 w 41"/>
                    <a:gd name="T71" fmla="*/ 24 h 50"/>
                    <a:gd name="T72" fmla="*/ 18 w 41"/>
                    <a:gd name="T73" fmla="*/ 24 h 50"/>
                    <a:gd name="T74" fmla="*/ 19 w 41"/>
                    <a:gd name="T75" fmla="*/ 24 h 50"/>
                    <a:gd name="T76" fmla="*/ 19 w 41"/>
                    <a:gd name="T77" fmla="*/ 25 h 50"/>
                    <a:gd name="T78" fmla="*/ 20 w 41"/>
                    <a:gd name="T79" fmla="*/ 25 h 50"/>
                    <a:gd name="T80" fmla="*/ 20 w 41"/>
                    <a:gd name="T81" fmla="*/ 25 h 50"/>
                    <a:gd name="T82" fmla="*/ 20 w 41"/>
                    <a:gd name="T83" fmla="*/ 24 h 50"/>
                    <a:gd name="T84" fmla="*/ 20 w 41"/>
                    <a:gd name="T85" fmla="*/ 24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 h="50">
                      <a:moveTo>
                        <a:pt x="40" y="49"/>
                      </a:moveTo>
                      <a:lnTo>
                        <a:pt x="40" y="48"/>
                      </a:lnTo>
                      <a:lnTo>
                        <a:pt x="41" y="46"/>
                      </a:lnTo>
                      <a:lnTo>
                        <a:pt x="41" y="44"/>
                      </a:lnTo>
                      <a:lnTo>
                        <a:pt x="41" y="41"/>
                      </a:lnTo>
                      <a:lnTo>
                        <a:pt x="40" y="39"/>
                      </a:lnTo>
                      <a:lnTo>
                        <a:pt x="40" y="37"/>
                      </a:lnTo>
                      <a:lnTo>
                        <a:pt x="39" y="35"/>
                      </a:lnTo>
                      <a:lnTo>
                        <a:pt x="37" y="33"/>
                      </a:lnTo>
                      <a:lnTo>
                        <a:pt x="36" y="32"/>
                      </a:lnTo>
                      <a:lnTo>
                        <a:pt x="35" y="30"/>
                      </a:lnTo>
                      <a:lnTo>
                        <a:pt x="33" y="29"/>
                      </a:lnTo>
                      <a:lnTo>
                        <a:pt x="32" y="28"/>
                      </a:lnTo>
                      <a:lnTo>
                        <a:pt x="30" y="27"/>
                      </a:lnTo>
                      <a:lnTo>
                        <a:pt x="28" y="25"/>
                      </a:lnTo>
                      <a:lnTo>
                        <a:pt x="26" y="25"/>
                      </a:lnTo>
                      <a:lnTo>
                        <a:pt x="24" y="24"/>
                      </a:lnTo>
                      <a:lnTo>
                        <a:pt x="22" y="22"/>
                      </a:lnTo>
                      <a:lnTo>
                        <a:pt x="21" y="22"/>
                      </a:lnTo>
                      <a:lnTo>
                        <a:pt x="19" y="21"/>
                      </a:lnTo>
                      <a:lnTo>
                        <a:pt x="17" y="20"/>
                      </a:lnTo>
                      <a:lnTo>
                        <a:pt x="15" y="18"/>
                      </a:lnTo>
                      <a:lnTo>
                        <a:pt x="14" y="18"/>
                      </a:lnTo>
                      <a:lnTo>
                        <a:pt x="12" y="16"/>
                      </a:lnTo>
                      <a:lnTo>
                        <a:pt x="10" y="15"/>
                      </a:lnTo>
                      <a:lnTo>
                        <a:pt x="9" y="14"/>
                      </a:lnTo>
                      <a:lnTo>
                        <a:pt x="8" y="12"/>
                      </a:lnTo>
                      <a:lnTo>
                        <a:pt x="6" y="11"/>
                      </a:lnTo>
                      <a:lnTo>
                        <a:pt x="5" y="10"/>
                      </a:lnTo>
                      <a:lnTo>
                        <a:pt x="5" y="8"/>
                      </a:lnTo>
                      <a:lnTo>
                        <a:pt x="4" y="5"/>
                      </a:lnTo>
                      <a:lnTo>
                        <a:pt x="3" y="4"/>
                      </a:lnTo>
                      <a:lnTo>
                        <a:pt x="3" y="2"/>
                      </a:lnTo>
                      <a:lnTo>
                        <a:pt x="3" y="0"/>
                      </a:lnTo>
                      <a:lnTo>
                        <a:pt x="0" y="0"/>
                      </a:lnTo>
                      <a:lnTo>
                        <a:pt x="0" y="2"/>
                      </a:lnTo>
                      <a:lnTo>
                        <a:pt x="0" y="5"/>
                      </a:lnTo>
                      <a:lnTo>
                        <a:pt x="1" y="7"/>
                      </a:lnTo>
                      <a:lnTo>
                        <a:pt x="1" y="10"/>
                      </a:lnTo>
                      <a:lnTo>
                        <a:pt x="3" y="12"/>
                      </a:lnTo>
                      <a:lnTo>
                        <a:pt x="4" y="14"/>
                      </a:lnTo>
                      <a:lnTo>
                        <a:pt x="5" y="16"/>
                      </a:lnTo>
                      <a:lnTo>
                        <a:pt x="7" y="17"/>
                      </a:lnTo>
                      <a:lnTo>
                        <a:pt x="8" y="18"/>
                      </a:lnTo>
                      <a:lnTo>
                        <a:pt x="10" y="20"/>
                      </a:lnTo>
                      <a:lnTo>
                        <a:pt x="12" y="21"/>
                      </a:lnTo>
                      <a:lnTo>
                        <a:pt x="14" y="22"/>
                      </a:lnTo>
                      <a:lnTo>
                        <a:pt x="16" y="24"/>
                      </a:lnTo>
                      <a:lnTo>
                        <a:pt x="17" y="24"/>
                      </a:lnTo>
                      <a:lnTo>
                        <a:pt x="20" y="25"/>
                      </a:lnTo>
                      <a:lnTo>
                        <a:pt x="22" y="26"/>
                      </a:lnTo>
                      <a:lnTo>
                        <a:pt x="23" y="27"/>
                      </a:lnTo>
                      <a:lnTo>
                        <a:pt x="25" y="28"/>
                      </a:lnTo>
                      <a:lnTo>
                        <a:pt x="27" y="29"/>
                      </a:lnTo>
                      <a:lnTo>
                        <a:pt x="28" y="30"/>
                      </a:lnTo>
                      <a:lnTo>
                        <a:pt x="30" y="32"/>
                      </a:lnTo>
                      <a:lnTo>
                        <a:pt x="32" y="32"/>
                      </a:lnTo>
                      <a:lnTo>
                        <a:pt x="33" y="34"/>
                      </a:lnTo>
                      <a:lnTo>
                        <a:pt x="34" y="35"/>
                      </a:lnTo>
                      <a:lnTo>
                        <a:pt x="35" y="36"/>
                      </a:lnTo>
                      <a:lnTo>
                        <a:pt x="36" y="37"/>
                      </a:lnTo>
                      <a:lnTo>
                        <a:pt x="37" y="39"/>
                      </a:lnTo>
                      <a:lnTo>
                        <a:pt x="37" y="40"/>
                      </a:lnTo>
                      <a:lnTo>
                        <a:pt x="37" y="42"/>
                      </a:lnTo>
                      <a:lnTo>
                        <a:pt x="38" y="44"/>
                      </a:lnTo>
                      <a:lnTo>
                        <a:pt x="38" y="45"/>
                      </a:lnTo>
                      <a:lnTo>
                        <a:pt x="37" y="47"/>
                      </a:lnTo>
                      <a:lnTo>
                        <a:pt x="37" y="48"/>
                      </a:lnTo>
                      <a:lnTo>
                        <a:pt x="37" y="49"/>
                      </a:lnTo>
                      <a:lnTo>
                        <a:pt x="38" y="49"/>
                      </a:lnTo>
                      <a:lnTo>
                        <a:pt x="38" y="50"/>
                      </a:lnTo>
                      <a:lnTo>
                        <a:pt x="39" y="50"/>
                      </a:lnTo>
                      <a:lnTo>
                        <a:pt x="40" y="50"/>
                      </a:lnTo>
                      <a:lnTo>
                        <a:pt x="40" y="49"/>
                      </a:lnTo>
                      <a:lnTo>
                        <a:pt x="40" y="48"/>
                      </a:lnTo>
                      <a:lnTo>
                        <a:pt x="40"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2" name="Freeform 874">
                  <a:extLst>
                    <a:ext uri="{FF2B5EF4-FFF2-40B4-BE49-F238E27FC236}">
                      <a16:creationId xmlns:a16="http://schemas.microsoft.com/office/drawing/2014/main" id="{22D61B44-2986-7009-9CD1-8A7A6816CF3B}"/>
                    </a:ext>
                  </a:extLst>
                </p:cNvPr>
                <p:cNvSpPr>
                  <a:spLocks/>
                </p:cNvSpPr>
                <p:nvPr/>
              </p:nvSpPr>
              <p:spPr bwMode="auto">
                <a:xfrm>
                  <a:off x="409" y="1974"/>
                  <a:ext cx="41" cy="38"/>
                </a:xfrm>
                <a:custGeom>
                  <a:avLst/>
                  <a:gdLst>
                    <a:gd name="T0" fmla="*/ 4 w 58"/>
                    <a:gd name="T1" fmla="*/ 1 h 54"/>
                    <a:gd name="T2" fmla="*/ 1 w 58"/>
                    <a:gd name="T3" fmla="*/ 6 h 54"/>
                    <a:gd name="T4" fmla="*/ 1 w 58"/>
                    <a:gd name="T5" fmla="*/ 10 h 54"/>
                    <a:gd name="T6" fmla="*/ 0 w 58"/>
                    <a:gd name="T7" fmla="*/ 14 h 54"/>
                    <a:gd name="T8" fmla="*/ 1 w 58"/>
                    <a:gd name="T9" fmla="*/ 18 h 54"/>
                    <a:gd name="T10" fmla="*/ 1 w 58"/>
                    <a:gd name="T11" fmla="*/ 21 h 54"/>
                    <a:gd name="T12" fmla="*/ 3 w 58"/>
                    <a:gd name="T13" fmla="*/ 23 h 54"/>
                    <a:gd name="T14" fmla="*/ 5 w 58"/>
                    <a:gd name="T15" fmla="*/ 25 h 54"/>
                    <a:gd name="T16" fmla="*/ 8 w 58"/>
                    <a:gd name="T17" fmla="*/ 26 h 54"/>
                    <a:gd name="T18" fmla="*/ 10 w 58"/>
                    <a:gd name="T19" fmla="*/ 27 h 54"/>
                    <a:gd name="T20" fmla="*/ 13 w 58"/>
                    <a:gd name="T21" fmla="*/ 26 h 54"/>
                    <a:gd name="T22" fmla="*/ 16 w 58"/>
                    <a:gd name="T23" fmla="*/ 25 h 54"/>
                    <a:gd name="T24" fmla="*/ 19 w 58"/>
                    <a:gd name="T25" fmla="*/ 23 h 54"/>
                    <a:gd name="T26" fmla="*/ 21 w 58"/>
                    <a:gd name="T27" fmla="*/ 20 h 54"/>
                    <a:gd name="T28" fmla="*/ 25 w 58"/>
                    <a:gd name="T29" fmla="*/ 17 h 54"/>
                    <a:gd name="T30" fmla="*/ 27 w 58"/>
                    <a:gd name="T31" fmla="*/ 13 h 54"/>
                    <a:gd name="T32" fmla="*/ 29 w 58"/>
                    <a:gd name="T33" fmla="*/ 8 h 54"/>
                    <a:gd name="T34" fmla="*/ 26 w 58"/>
                    <a:gd name="T35" fmla="*/ 9 h 54"/>
                    <a:gd name="T36" fmla="*/ 25 w 58"/>
                    <a:gd name="T37" fmla="*/ 14 h 54"/>
                    <a:gd name="T38" fmla="*/ 21 w 58"/>
                    <a:gd name="T39" fmla="*/ 18 h 54"/>
                    <a:gd name="T40" fmla="*/ 19 w 58"/>
                    <a:gd name="T41" fmla="*/ 20 h 54"/>
                    <a:gd name="T42" fmla="*/ 16 w 58"/>
                    <a:gd name="T43" fmla="*/ 23 h 54"/>
                    <a:gd name="T44" fmla="*/ 14 w 58"/>
                    <a:gd name="T45" fmla="*/ 24 h 54"/>
                    <a:gd name="T46" fmla="*/ 11 w 58"/>
                    <a:gd name="T47" fmla="*/ 24 h 54"/>
                    <a:gd name="T48" fmla="*/ 9 w 58"/>
                    <a:gd name="T49" fmla="*/ 24 h 54"/>
                    <a:gd name="T50" fmla="*/ 6 w 58"/>
                    <a:gd name="T51" fmla="*/ 24 h 54"/>
                    <a:gd name="T52" fmla="*/ 4 w 58"/>
                    <a:gd name="T53" fmla="*/ 23 h 54"/>
                    <a:gd name="T54" fmla="*/ 4 w 58"/>
                    <a:gd name="T55" fmla="*/ 21 h 54"/>
                    <a:gd name="T56" fmla="*/ 2 w 58"/>
                    <a:gd name="T57" fmla="*/ 18 h 54"/>
                    <a:gd name="T58" fmla="*/ 2 w 58"/>
                    <a:gd name="T59" fmla="*/ 16 h 54"/>
                    <a:gd name="T60" fmla="*/ 2 w 58"/>
                    <a:gd name="T61" fmla="*/ 13 h 54"/>
                    <a:gd name="T62" fmla="*/ 3 w 58"/>
                    <a:gd name="T63" fmla="*/ 8 h 54"/>
                    <a:gd name="T64" fmla="*/ 4 w 58"/>
                    <a:gd name="T65" fmla="*/ 4 h 54"/>
                    <a:gd name="T66" fmla="*/ 4 w 58"/>
                    <a:gd name="T67" fmla="*/ 1 h 54"/>
                    <a:gd name="T68" fmla="*/ 5 w 58"/>
                    <a:gd name="T69" fmla="*/ 1 h 54"/>
                    <a:gd name="T70" fmla="*/ 5 w 58"/>
                    <a:gd name="T71" fmla="*/ 1 h 54"/>
                    <a:gd name="T72" fmla="*/ 5 w 58"/>
                    <a:gd name="T73" fmla="*/ 1 h 54"/>
                    <a:gd name="T74" fmla="*/ 5 w 58"/>
                    <a:gd name="T75" fmla="*/ 1 h 54"/>
                    <a:gd name="T76" fmla="*/ 4 w 58"/>
                    <a:gd name="T77" fmla="*/ 0 h 54"/>
                    <a:gd name="T78" fmla="*/ 4 w 58"/>
                    <a:gd name="T79" fmla="*/ 0 h 54"/>
                    <a:gd name="T80" fmla="*/ 4 w 58"/>
                    <a:gd name="T81" fmla="*/ 0 h 54"/>
                    <a:gd name="T82" fmla="*/ 4 w 58"/>
                    <a:gd name="T83" fmla="*/ 0 h 54"/>
                    <a:gd name="T84" fmla="*/ 4 w 58"/>
                    <a:gd name="T85" fmla="*/ 1 h 54"/>
                    <a:gd name="T86" fmla="*/ 5 w 58"/>
                    <a:gd name="T87" fmla="*/ 1 h 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54">
                      <a:moveTo>
                        <a:pt x="10" y="3"/>
                      </a:moveTo>
                      <a:lnTo>
                        <a:pt x="8" y="1"/>
                      </a:lnTo>
                      <a:lnTo>
                        <a:pt x="5" y="6"/>
                      </a:lnTo>
                      <a:lnTo>
                        <a:pt x="3" y="11"/>
                      </a:lnTo>
                      <a:lnTo>
                        <a:pt x="2" y="16"/>
                      </a:lnTo>
                      <a:lnTo>
                        <a:pt x="1" y="20"/>
                      </a:lnTo>
                      <a:lnTo>
                        <a:pt x="0" y="24"/>
                      </a:lnTo>
                      <a:lnTo>
                        <a:pt x="0" y="28"/>
                      </a:lnTo>
                      <a:lnTo>
                        <a:pt x="0" y="32"/>
                      </a:lnTo>
                      <a:lnTo>
                        <a:pt x="1" y="36"/>
                      </a:lnTo>
                      <a:lnTo>
                        <a:pt x="1" y="39"/>
                      </a:lnTo>
                      <a:lnTo>
                        <a:pt x="3" y="42"/>
                      </a:lnTo>
                      <a:lnTo>
                        <a:pt x="4" y="44"/>
                      </a:lnTo>
                      <a:lnTo>
                        <a:pt x="6" y="47"/>
                      </a:lnTo>
                      <a:lnTo>
                        <a:pt x="8" y="49"/>
                      </a:lnTo>
                      <a:lnTo>
                        <a:pt x="10" y="50"/>
                      </a:lnTo>
                      <a:lnTo>
                        <a:pt x="12" y="52"/>
                      </a:lnTo>
                      <a:lnTo>
                        <a:pt x="15" y="52"/>
                      </a:lnTo>
                      <a:lnTo>
                        <a:pt x="17" y="53"/>
                      </a:lnTo>
                      <a:lnTo>
                        <a:pt x="20" y="54"/>
                      </a:lnTo>
                      <a:lnTo>
                        <a:pt x="23" y="53"/>
                      </a:lnTo>
                      <a:lnTo>
                        <a:pt x="26" y="52"/>
                      </a:lnTo>
                      <a:lnTo>
                        <a:pt x="28" y="52"/>
                      </a:lnTo>
                      <a:lnTo>
                        <a:pt x="31" y="50"/>
                      </a:lnTo>
                      <a:lnTo>
                        <a:pt x="35" y="48"/>
                      </a:lnTo>
                      <a:lnTo>
                        <a:pt x="38" y="46"/>
                      </a:lnTo>
                      <a:lnTo>
                        <a:pt x="41" y="44"/>
                      </a:lnTo>
                      <a:lnTo>
                        <a:pt x="43" y="41"/>
                      </a:lnTo>
                      <a:lnTo>
                        <a:pt x="46" y="38"/>
                      </a:lnTo>
                      <a:lnTo>
                        <a:pt x="49" y="34"/>
                      </a:lnTo>
                      <a:lnTo>
                        <a:pt x="51" y="30"/>
                      </a:lnTo>
                      <a:lnTo>
                        <a:pt x="54" y="26"/>
                      </a:lnTo>
                      <a:lnTo>
                        <a:pt x="56" y="21"/>
                      </a:lnTo>
                      <a:lnTo>
                        <a:pt x="58" y="16"/>
                      </a:lnTo>
                      <a:lnTo>
                        <a:pt x="55" y="14"/>
                      </a:lnTo>
                      <a:lnTo>
                        <a:pt x="53" y="19"/>
                      </a:lnTo>
                      <a:lnTo>
                        <a:pt x="51" y="24"/>
                      </a:lnTo>
                      <a:lnTo>
                        <a:pt x="49" y="28"/>
                      </a:lnTo>
                      <a:lnTo>
                        <a:pt x="46" y="32"/>
                      </a:lnTo>
                      <a:lnTo>
                        <a:pt x="43" y="35"/>
                      </a:lnTo>
                      <a:lnTo>
                        <a:pt x="41" y="38"/>
                      </a:lnTo>
                      <a:lnTo>
                        <a:pt x="38" y="40"/>
                      </a:lnTo>
                      <a:lnTo>
                        <a:pt x="36" y="43"/>
                      </a:lnTo>
                      <a:lnTo>
                        <a:pt x="33" y="45"/>
                      </a:lnTo>
                      <a:lnTo>
                        <a:pt x="30" y="46"/>
                      </a:lnTo>
                      <a:lnTo>
                        <a:pt x="28" y="48"/>
                      </a:lnTo>
                      <a:lnTo>
                        <a:pt x="25" y="48"/>
                      </a:lnTo>
                      <a:lnTo>
                        <a:pt x="22" y="49"/>
                      </a:lnTo>
                      <a:lnTo>
                        <a:pt x="20" y="50"/>
                      </a:lnTo>
                      <a:lnTo>
                        <a:pt x="18" y="49"/>
                      </a:lnTo>
                      <a:lnTo>
                        <a:pt x="15" y="48"/>
                      </a:lnTo>
                      <a:lnTo>
                        <a:pt x="13" y="48"/>
                      </a:lnTo>
                      <a:lnTo>
                        <a:pt x="11" y="47"/>
                      </a:lnTo>
                      <a:lnTo>
                        <a:pt x="9" y="45"/>
                      </a:lnTo>
                      <a:lnTo>
                        <a:pt x="8" y="44"/>
                      </a:lnTo>
                      <a:lnTo>
                        <a:pt x="7" y="42"/>
                      </a:lnTo>
                      <a:lnTo>
                        <a:pt x="5" y="40"/>
                      </a:lnTo>
                      <a:lnTo>
                        <a:pt x="4" y="37"/>
                      </a:lnTo>
                      <a:lnTo>
                        <a:pt x="4" y="35"/>
                      </a:lnTo>
                      <a:lnTo>
                        <a:pt x="4" y="32"/>
                      </a:lnTo>
                      <a:lnTo>
                        <a:pt x="3" y="28"/>
                      </a:lnTo>
                      <a:lnTo>
                        <a:pt x="4" y="25"/>
                      </a:lnTo>
                      <a:lnTo>
                        <a:pt x="4" y="21"/>
                      </a:lnTo>
                      <a:lnTo>
                        <a:pt x="5" y="17"/>
                      </a:lnTo>
                      <a:lnTo>
                        <a:pt x="6" y="13"/>
                      </a:lnTo>
                      <a:lnTo>
                        <a:pt x="8" y="8"/>
                      </a:lnTo>
                      <a:lnTo>
                        <a:pt x="10" y="3"/>
                      </a:lnTo>
                      <a:lnTo>
                        <a:pt x="8" y="1"/>
                      </a:lnTo>
                      <a:lnTo>
                        <a:pt x="10" y="3"/>
                      </a:lnTo>
                      <a:lnTo>
                        <a:pt x="10" y="2"/>
                      </a:lnTo>
                      <a:lnTo>
                        <a:pt x="10" y="1"/>
                      </a:lnTo>
                      <a:lnTo>
                        <a:pt x="9" y="1"/>
                      </a:lnTo>
                      <a:lnTo>
                        <a:pt x="9" y="0"/>
                      </a:lnTo>
                      <a:lnTo>
                        <a:pt x="8" y="0"/>
                      </a:lnTo>
                      <a:lnTo>
                        <a:pt x="8" y="1"/>
                      </a:lnTo>
                      <a:lnTo>
                        <a:pt x="1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3" name="Freeform 875">
                  <a:extLst>
                    <a:ext uri="{FF2B5EF4-FFF2-40B4-BE49-F238E27FC236}">
                      <a16:creationId xmlns:a16="http://schemas.microsoft.com/office/drawing/2014/main" id="{832D57DD-952B-3F34-2857-7EDD4FFC24A7}"/>
                    </a:ext>
                  </a:extLst>
                </p:cNvPr>
                <p:cNvSpPr>
                  <a:spLocks/>
                </p:cNvSpPr>
                <p:nvPr/>
              </p:nvSpPr>
              <p:spPr bwMode="auto">
                <a:xfrm>
                  <a:off x="359" y="1975"/>
                  <a:ext cx="58" cy="45"/>
                </a:xfrm>
                <a:custGeom>
                  <a:avLst/>
                  <a:gdLst>
                    <a:gd name="T0" fmla="*/ 3 w 85"/>
                    <a:gd name="T1" fmla="*/ 29 h 64"/>
                    <a:gd name="T2" fmla="*/ 2 w 85"/>
                    <a:gd name="T3" fmla="*/ 26 h 64"/>
                    <a:gd name="T4" fmla="*/ 1 w 85"/>
                    <a:gd name="T5" fmla="*/ 24 h 64"/>
                    <a:gd name="T6" fmla="*/ 2 w 85"/>
                    <a:gd name="T7" fmla="*/ 23 h 64"/>
                    <a:gd name="T8" fmla="*/ 3 w 85"/>
                    <a:gd name="T9" fmla="*/ 22 h 64"/>
                    <a:gd name="T10" fmla="*/ 5 w 85"/>
                    <a:gd name="T11" fmla="*/ 21 h 64"/>
                    <a:gd name="T12" fmla="*/ 8 w 85"/>
                    <a:gd name="T13" fmla="*/ 20 h 64"/>
                    <a:gd name="T14" fmla="*/ 11 w 85"/>
                    <a:gd name="T15" fmla="*/ 19 h 64"/>
                    <a:gd name="T16" fmla="*/ 14 w 85"/>
                    <a:gd name="T17" fmla="*/ 18 h 64"/>
                    <a:gd name="T18" fmla="*/ 18 w 85"/>
                    <a:gd name="T19" fmla="*/ 17 h 64"/>
                    <a:gd name="T20" fmla="*/ 21 w 85"/>
                    <a:gd name="T21" fmla="*/ 15 h 64"/>
                    <a:gd name="T22" fmla="*/ 25 w 85"/>
                    <a:gd name="T23" fmla="*/ 14 h 64"/>
                    <a:gd name="T24" fmla="*/ 29 w 85"/>
                    <a:gd name="T25" fmla="*/ 13 h 64"/>
                    <a:gd name="T26" fmla="*/ 32 w 85"/>
                    <a:gd name="T27" fmla="*/ 10 h 64"/>
                    <a:gd name="T28" fmla="*/ 35 w 85"/>
                    <a:gd name="T29" fmla="*/ 7 h 64"/>
                    <a:gd name="T30" fmla="*/ 38 w 85"/>
                    <a:gd name="T31" fmla="*/ 4 h 64"/>
                    <a:gd name="T32" fmla="*/ 38 w 85"/>
                    <a:gd name="T33" fmla="*/ 0 h 64"/>
                    <a:gd name="T34" fmla="*/ 36 w 85"/>
                    <a:gd name="T35" fmla="*/ 4 h 64"/>
                    <a:gd name="T36" fmla="*/ 33 w 85"/>
                    <a:gd name="T37" fmla="*/ 7 h 64"/>
                    <a:gd name="T38" fmla="*/ 30 w 85"/>
                    <a:gd name="T39" fmla="*/ 9 h 64"/>
                    <a:gd name="T40" fmla="*/ 27 w 85"/>
                    <a:gd name="T41" fmla="*/ 11 h 64"/>
                    <a:gd name="T42" fmla="*/ 23 w 85"/>
                    <a:gd name="T43" fmla="*/ 13 h 64"/>
                    <a:gd name="T44" fmla="*/ 19 w 85"/>
                    <a:gd name="T45" fmla="*/ 14 h 64"/>
                    <a:gd name="T46" fmla="*/ 16 w 85"/>
                    <a:gd name="T47" fmla="*/ 15 h 64"/>
                    <a:gd name="T48" fmla="*/ 12 w 85"/>
                    <a:gd name="T49" fmla="*/ 16 h 64"/>
                    <a:gd name="T50" fmla="*/ 9 w 85"/>
                    <a:gd name="T51" fmla="*/ 18 h 64"/>
                    <a:gd name="T52" fmla="*/ 5 w 85"/>
                    <a:gd name="T53" fmla="*/ 18 h 64"/>
                    <a:gd name="T54" fmla="*/ 3 w 85"/>
                    <a:gd name="T55" fmla="*/ 19 h 64"/>
                    <a:gd name="T56" fmla="*/ 1 w 85"/>
                    <a:gd name="T57" fmla="*/ 21 h 64"/>
                    <a:gd name="T58" fmla="*/ 0 w 85"/>
                    <a:gd name="T59" fmla="*/ 23 h 64"/>
                    <a:gd name="T60" fmla="*/ 0 w 85"/>
                    <a:gd name="T61" fmla="*/ 26 h 64"/>
                    <a:gd name="T62" fmla="*/ 1 w 85"/>
                    <a:gd name="T63" fmla="*/ 28 h 64"/>
                    <a:gd name="T64" fmla="*/ 3 w 85"/>
                    <a:gd name="T65" fmla="*/ 32 h 64"/>
                    <a:gd name="T66" fmla="*/ 3 w 85"/>
                    <a:gd name="T67" fmla="*/ 32 h 64"/>
                    <a:gd name="T68" fmla="*/ 4 w 85"/>
                    <a:gd name="T69" fmla="*/ 32 h 64"/>
                    <a:gd name="T70" fmla="*/ 5 w 85"/>
                    <a:gd name="T71" fmla="*/ 32 h 64"/>
                    <a:gd name="T72" fmla="*/ 5 w 85"/>
                    <a:gd name="T73" fmla="*/ 32 h 64"/>
                    <a:gd name="T74" fmla="*/ 5 w 85"/>
                    <a:gd name="T75" fmla="*/ 31 h 64"/>
                    <a:gd name="T76" fmla="*/ 5 w 85"/>
                    <a:gd name="T77" fmla="*/ 31 h 64"/>
                    <a:gd name="T78" fmla="*/ 5 w 85"/>
                    <a:gd name="T79" fmla="*/ 31 h 64"/>
                    <a:gd name="T80" fmla="*/ 5 w 85"/>
                    <a:gd name="T81" fmla="*/ 30 h 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5" h="64">
                      <a:moveTo>
                        <a:pt x="10" y="61"/>
                      </a:moveTo>
                      <a:lnTo>
                        <a:pt x="7" y="58"/>
                      </a:lnTo>
                      <a:lnTo>
                        <a:pt x="5" y="55"/>
                      </a:lnTo>
                      <a:lnTo>
                        <a:pt x="5" y="52"/>
                      </a:lnTo>
                      <a:lnTo>
                        <a:pt x="4" y="50"/>
                      </a:lnTo>
                      <a:lnTo>
                        <a:pt x="3" y="49"/>
                      </a:lnTo>
                      <a:lnTo>
                        <a:pt x="4" y="48"/>
                      </a:lnTo>
                      <a:lnTo>
                        <a:pt x="5" y="47"/>
                      </a:lnTo>
                      <a:lnTo>
                        <a:pt x="5" y="46"/>
                      </a:lnTo>
                      <a:lnTo>
                        <a:pt x="6" y="44"/>
                      </a:lnTo>
                      <a:lnTo>
                        <a:pt x="8" y="43"/>
                      </a:lnTo>
                      <a:lnTo>
                        <a:pt x="11" y="42"/>
                      </a:lnTo>
                      <a:lnTo>
                        <a:pt x="13" y="41"/>
                      </a:lnTo>
                      <a:lnTo>
                        <a:pt x="16" y="40"/>
                      </a:lnTo>
                      <a:lnTo>
                        <a:pt x="19" y="39"/>
                      </a:lnTo>
                      <a:lnTo>
                        <a:pt x="23" y="38"/>
                      </a:lnTo>
                      <a:lnTo>
                        <a:pt x="26" y="37"/>
                      </a:lnTo>
                      <a:lnTo>
                        <a:pt x="30" y="36"/>
                      </a:lnTo>
                      <a:lnTo>
                        <a:pt x="33" y="35"/>
                      </a:lnTo>
                      <a:lnTo>
                        <a:pt x="38" y="34"/>
                      </a:lnTo>
                      <a:lnTo>
                        <a:pt x="42" y="33"/>
                      </a:lnTo>
                      <a:lnTo>
                        <a:pt x="46" y="31"/>
                      </a:lnTo>
                      <a:lnTo>
                        <a:pt x="50" y="30"/>
                      </a:lnTo>
                      <a:lnTo>
                        <a:pt x="54" y="29"/>
                      </a:lnTo>
                      <a:lnTo>
                        <a:pt x="58" y="27"/>
                      </a:lnTo>
                      <a:lnTo>
                        <a:pt x="62" y="25"/>
                      </a:lnTo>
                      <a:lnTo>
                        <a:pt x="66" y="23"/>
                      </a:lnTo>
                      <a:lnTo>
                        <a:pt x="69" y="20"/>
                      </a:lnTo>
                      <a:lnTo>
                        <a:pt x="73" y="17"/>
                      </a:lnTo>
                      <a:lnTo>
                        <a:pt x="76" y="14"/>
                      </a:lnTo>
                      <a:lnTo>
                        <a:pt x="80" y="11"/>
                      </a:lnTo>
                      <a:lnTo>
                        <a:pt x="82" y="7"/>
                      </a:lnTo>
                      <a:lnTo>
                        <a:pt x="85" y="2"/>
                      </a:lnTo>
                      <a:lnTo>
                        <a:pt x="82" y="0"/>
                      </a:lnTo>
                      <a:lnTo>
                        <a:pt x="80" y="4"/>
                      </a:lnTo>
                      <a:lnTo>
                        <a:pt x="77" y="8"/>
                      </a:lnTo>
                      <a:lnTo>
                        <a:pt x="74" y="11"/>
                      </a:lnTo>
                      <a:lnTo>
                        <a:pt x="71" y="14"/>
                      </a:lnTo>
                      <a:lnTo>
                        <a:pt x="68" y="17"/>
                      </a:lnTo>
                      <a:lnTo>
                        <a:pt x="64" y="19"/>
                      </a:lnTo>
                      <a:lnTo>
                        <a:pt x="61" y="21"/>
                      </a:lnTo>
                      <a:lnTo>
                        <a:pt x="57" y="23"/>
                      </a:lnTo>
                      <a:lnTo>
                        <a:pt x="53" y="25"/>
                      </a:lnTo>
                      <a:lnTo>
                        <a:pt x="49" y="26"/>
                      </a:lnTo>
                      <a:lnTo>
                        <a:pt x="45" y="27"/>
                      </a:lnTo>
                      <a:lnTo>
                        <a:pt x="41" y="29"/>
                      </a:lnTo>
                      <a:lnTo>
                        <a:pt x="37" y="30"/>
                      </a:lnTo>
                      <a:lnTo>
                        <a:pt x="33" y="31"/>
                      </a:lnTo>
                      <a:lnTo>
                        <a:pt x="29" y="32"/>
                      </a:lnTo>
                      <a:lnTo>
                        <a:pt x="26" y="33"/>
                      </a:lnTo>
                      <a:lnTo>
                        <a:pt x="22" y="34"/>
                      </a:lnTo>
                      <a:lnTo>
                        <a:pt x="19" y="35"/>
                      </a:lnTo>
                      <a:lnTo>
                        <a:pt x="15" y="36"/>
                      </a:lnTo>
                      <a:lnTo>
                        <a:pt x="12" y="37"/>
                      </a:lnTo>
                      <a:lnTo>
                        <a:pt x="10" y="38"/>
                      </a:lnTo>
                      <a:lnTo>
                        <a:pt x="7" y="39"/>
                      </a:lnTo>
                      <a:lnTo>
                        <a:pt x="5" y="41"/>
                      </a:lnTo>
                      <a:lnTo>
                        <a:pt x="3" y="42"/>
                      </a:lnTo>
                      <a:lnTo>
                        <a:pt x="1" y="44"/>
                      </a:lnTo>
                      <a:lnTo>
                        <a:pt x="0" y="46"/>
                      </a:lnTo>
                      <a:lnTo>
                        <a:pt x="0" y="49"/>
                      </a:lnTo>
                      <a:lnTo>
                        <a:pt x="0" y="52"/>
                      </a:lnTo>
                      <a:lnTo>
                        <a:pt x="1" y="54"/>
                      </a:lnTo>
                      <a:lnTo>
                        <a:pt x="3" y="57"/>
                      </a:lnTo>
                      <a:lnTo>
                        <a:pt x="5" y="61"/>
                      </a:lnTo>
                      <a:lnTo>
                        <a:pt x="8" y="64"/>
                      </a:lnTo>
                      <a:lnTo>
                        <a:pt x="9" y="64"/>
                      </a:lnTo>
                      <a:lnTo>
                        <a:pt x="10" y="64"/>
                      </a:lnTo>
                      <a:lnTo>
                        <a:pt x="10" y="63"/>
                      </a:lnTo>
                      <a:lnTo>
                        <a:pt x="11" y="63"/>
                      </a:lnTo>
                      <a:lnTo>
                        <a:pt x="11" y="62"/>
                      </a:lnTo>
                      <a:lnTo>
                        <a:pt x="10" y="62"/>
                      </a:lnTo>
                      <a:lnTo>
                        <a:pt x="1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4" name="Freeform 876">
                  <a:extLst>
                    <a:ext uri="{FF2B5EF4-FFF2-40B4-BE49-F238E27FC236}">
                      <a16:creationId xmlns:a16="http://schemas.microsoft.com/office/drawing/2014/main" id="{B9BB1391-0690-D7E5-4862-009322E8441B}"/>
                    </a:ext>
                  </a:extLst>
                </p:cNvPr>
                <p:cNvSpPr>
                  <a:spLocks/>
                </p:cNvSpPr>
                <p:nvPr/>
              </p:nvSpPr>
              <p:spPr bwMode="auto">
                <a:xfrm>
                  <a:off x="349" y="2019"/>
                  <a:ext cx="41" cy="36"/>
                </a:xfrm>
                <a:custGeom>
                  <a:avLst/>
                  <a:gdLst>
                    <a:gd name="T0" fmla="*/ 1 w 59"/>
                    <a:gd name="T1" fmla="*/ 26 h 50"/>
                    <a:gd name="T2" fmla="*/ 8 w 59"/>
                    <a:gd name="T3" fmla="*/ 25 h 50"/>
                    <a:gd name="T4" fmla="*/ 14 w 59"/>
                    <a:gd name="T5" fmla="*/ 25 h 50"/>
                    <a:gd name="T6" fmla="*/ 19 w 59"/>
                    <a:gd name="T7" fmla="*/ 25 h 50"/>
                    <a:gd name="T8" fmla="*/ 23 w 59"/>
                    <a:gd name="T9" fmla="*/ 25 h 50"/>
                    <a:gd name="T10" fmla="*/ 26 w 59"/>
                    <a:gd name="T11" fmla="*/ 24 h 50"/>
                    <a:gd name="T12" fmla="*/ 28 w 59"/>
                    <a:gd name="T13" fmla="*/ 24 h 50"/>
                    <a:gd name="T14" fmla="*/ 28 w 59"/>
                    <a:gd name="T15" fmla="*/ 23 h 50"/>
                    <a:gd name="T16" fmla="*/ 28 w 59"/>
                    <a:gd name="T17" fmla="*/ 22 h 50"/>
                    <a:gd name="T18" fmla="*/ 28 w 59"/>
                    <a:gd name="T19" fmla="*/ 19 h 50"/>
                    <a:gd name="T20" fmla="*/ 26 w 59"/>
                    <a:gd name="T21" fmla="*/ 17 h 50"/>
                    <a:gd name="T22" fmla="*/ 24 w 59"/>
                    <a:gd name="T23" fmla="*/ 16 h 50"/>
                    <a:gd name="T24" fmla="*/ 23 w 59"/>
                    <a:gd name="T25" fmla="*/ 13 h 50"/>
                    <a:gd name="T26" fmla="*/ 19 w 59"/>
                    <a:gd name="T27" fmla="*/ 11 h 50"/>
                    <a:gd name="T28" fmla="*/ 17 w 59"/>
                    <a:gd name="T29" fmla="*/ 8 h 50"/>
                    <a:gd name="T30" fmla="*/ 13 w 59"/>
                    <a:gd name="T31" fmla="*/ 4 h 50"/>
                    <a:gd name="T32" fmla="*/ 10 w 59"/>
                    <a:gd name="T33" fmla="*/ 0 h 50"/>
                    <a:gd name="T34" fmla="*/ 11 w 59"/>
                    <a:gd name="T35" fmla="*/ 4 h 50"/>
                    <a:gd name="T36" fmla="*/ 14 w 59"/>
                    <a:gd name="T37" fmla="*/ 7 h 50"/>
                    <a:gd name="T38" fmla="*/ 17 w 59"/>
                    <a:gd name="T39" fmla="*/ 11 h 50"/>
                    <a:gd name="T40" fmla="*/ 20 w 59"/>
                    <a:gd name="T41" fmla="*/ 14 h 50"/>
                    <a:gd name="T42" fmla="*/ 23 w 59"/>
                    <a:gd name="T43" fmla="*/ 16 h 50"/>
                    <a:gd name="T44" fmla="*/ 24 w 59"/>
                    <a:gd name="T45" fmla="*/ 18 h 50"/>
                    <a:gd name="T46" fmla="*/ 26 w 59"/>
                    <a:gd name="T47" fmla="*/ 20 h 50"/>
                    <a:gd name="T48" fmla="*/ 27 w 59"/>
                    <a:gd name="T49" fmla="*/ 22 h 50"/>
                    <a:gd name="T50" fmla="*/ 27 w 59"/>
                    <a:gd name="T51" fmla="*/ 22 h 50"/>
                    <a:gd name="T52" fmla="*/ 26 w 59"/>
                    <a:gd name="T53" fmla="*/ 22 h 50"/>
                    <a:gd name="T54" fmla="*/ 24 w 59"/>
                    <a:gd name="T55" fmla="*/ 23 h 50"/>
                    <a:gd name="T56" fmla="*/ 21 w 59"/>
                    <a:gd name="T57" fmla="*/ 23 h 50"/>
                    <a:gd name="T58" fmla="*/ 17 w 59"/>
                    <a:gd name="T59" fmla="*/ 23 h 50"/>
                    <a:gd name="T60" fmla="*/ 11 w 59"/>
                    <a:gd name="T61" fmla="*/ 23 h 50"/>
                    <a:gd name="T62" fmla="*/ 5 w 59"/>
                    <a:gd name="T63" fmla="*/ 23 h 50"/>
                    <a:gd name="T64" fmla="*/ 1 w 59"/>
                    <a:gd name="T65" fmla="*/ 26 h 50"/>
                    <a:gd name="T66" fmla="*/ 1 w 59"/>
                    <a:gd name="T67" fmla="*/ 23 h 50"/>
                    <a:gd name="T68" fmla="*/ 1 w 59"/>
                    <a:gd name="T69" fmla="*/ 23 h 50"/>
                    <a:gd name="T70" fmla="*/ 1 w 59"/>
                    <a:gd name="T71" fmla="*/ 24 h 50"/>
                    <a:gd name="T72" fmla="*/ 1 w 59"/>
                    <a:gd name="T73" fmla="*/ 24 h 50"/>
                    <a:gd name="T74" fmla="*/ 0 w 59"/>
                    <a:gd name="T75" fmla="*/ 24 h 50"/>
                    <a:gd name="T76" fmla="*/ 1 w 59"/>
                    <a:gd name="T77" fmla="*/ 25 h 50"/>
                    <a:gd name="T78" fmla="*/ 1 w 59"/>
                    <a:gd name="T79" fmla="*/ 25 h 50"/>
                    <a:gd name="T80" fmla="*/ 1 w 59"/>
                    <a:gd name="T81" fmla="*/ 25 h 50"/>
                    <a:gd name="T82" fmla="*/ 1 w 59"/>
                    <a:gd name="T83" fmla="*/ 25 h 50"/>
                    <a:gd name="T84" fmla="*/ 1 w 59"/>
                    <a:gd name="T85" fmla="*/ 26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 h="50">
                      <a:moveTo>
                        <a:pt x="2" y="45"/>
                      </a:moveTo>
                      <a:lnTo>
                        <a:pt x="2" y="50"/>
                      </a:lnTo>
                      <a:lnTo>
                        <a:pt x="10" y="49"/>
                      </a:lnTo>
                      <a:lnTo>
                        <a:pt x="17" y="49"/>
                      </a:lnTo>
                      <a:lnTo>
                        <a:pt x="23" y="49"/>
                      </a:lnTo>
                      <a:lnTo>
                        <a:pt x="29" y="49"/>
                      </a:lnTo>
                      <a:lnTo>
                        <a:pt x="34" y="49"/>
                      </a:lnTo>
                      <a:lnTo>
                        <a:pt x="39" y="49"/>
                      </a:lnTo>
                      <a:lnTo>
                        <a:pt x="43" y="49"/>
                      </a:lnTo>
                      <a:lnTo>
                        <a:pt x="47" y="48"/>
                      </a:lnTo>
                      <a:lnTo>
                        <a:pt x="50" y="48"/>
                      </a:lnTo>
                      <a:lnTo>
                        <a:pt x="53" y="47"/>
                      </a:lnTo>
                      <a:lnTo>
                        <a:pt x="55" y="47"/>
                      </a:lnTo>
                      <a:lnTo>
                        <a:pt x="57" y="46"/>
                      </a:lnTo>
                      <a:lnTo>
                        <a:pt x="58" y="45"/>
                      </a:lnTo>
                      <a:lnTo>
                        <a:pt x="59" y="44"/>
                      </a:lnTo>
                      <a:lnTo>
                        <a:pt x="59" y="42"/>
                      </a:lnTo>
                      <a:lnTo>
                        <a:pt x="59" y="41"/>
                      </a:lnTo>
                      <a:lnTo>
                        <a:pt x="59" y="39"/>
                      </a:lnTo>
                      <a:lnTo>
                        <a:pt x="58" y="37"/>
                      </a:lnTo>
                      <a:lnTo>
                        <a:pt x="57" y="36"/>
                      </a:lnTo>
                      <a:lnTo>
                        <a:pt x="55" y="34"/>
                      </a:lnTo>
                      <a:lnTo>
                        <a:pt x="53" y="32"/>
                      </a:lnTo>
                      <a:lnTo>
                        <a:pt x="51" y="30"/>
                      </a:lnTo>
                      <a:lnTo>
                        <a:pt x="49" y="28"/>
                      </a:lnTo>
                      <a:lnTo>
                        <a:pt x="47" y="25"/>
                      </a:lnTo>
                      <a:lnTo>
                        <a:pt x="44" y="23"/>
                      </a:lnTo>
                      <a:lnTo>
                        <a:pt x="41" y="21"/>
                      </a:lnTo>
                      <a:lnTo>
                        <a:pt x="38" y="17"/>
                      </a:lnTo>
                      <a:lnTo>
                        <a:pt x="35" y="15"/>
                      </a:lnTo>
                      <a:lnTo>
                        <a:pt x="32" y="11"/>
                      </a:lnTo>
                      <a:lnTo>
                        <a:pt x="28" y="7"/>
                      </a:lnTo>
                      <a:lnTo>
                        <a:pt x="25" y="4"/>
                      </a:lnTo>
                      <a:lnTo>
                        <a:pt x="21" y="0"/>
                      </a:lnTo>
                      <a:lnTo>
                        <a:pt x="19" y="2"/>
                      </a:lnTo>
                      <a:lnTo>
                        <a:pt x="23" y="7"/>
                      </a:lnTo>
                      <a:lnTo>
                        <a:pt x="26" y="11"/>
                      </a:lnTo>
                      <a:lnTo>
                        <a:pt x="29" y="14"/>
                      </a:lnTo>
                      <a:lnTo>
                        <a:pt x="33" y="18"/>
                      </a:lnTo>
                      <a:lnTo>
                        <a:pt x="36" y="21"/>
                      </a:lnTo>
                      <a:lnTo>
                        <a:pt x="39" y="23"/>
                      </a:lnTo>
                      <a:lnTo>
                        <a:pt x="42" y="26"/>
                      </a:lnTo>
                      <a:lnTo>
                        <a:pt x="45" y="29"/>
                      </a:lnTo>
                      <a:lnTo>
                        <a:pt x="47" y="31"/>
                      </a:lnTo>
                      <a:lnTo>
                        <a:pt x="49" y="33"/>
                      </a:lnTo>
                      <a:lnTo>
                        <a:pt x="51" y="35"/>
                      </a:lnTo>
                      <a:lnTo>
                        <a:pt x="53" y="37"/>
                      </a:lnTo>
                      <a:lnTo>
                        <a:pt x="54" y="39"/>
                      </a:lnTo>
                      <a:lnTo>
                        <a:pt x="55" y="40"/>
                      </a:lnTo>
                      <a:lnTo>
                        <a:pt x="56" y="41"/>
                      </a:lnTo>
                      <a:lnTo>
                        <a:pt x="56" y="42"/>
                      </a:lnTo>
                      <a:lnTo>
                        <a:pt x="55" y="43"/>
                      </a:lnTo>
                      <a:lnTo>
                        <a:pt x="54" y="43"/>
                      </a:lnTo>
                      <a:lnTo>
                        <a:pt x="52" y="43"/>
                      </a:lnTo>
                      <a:lnTo>
                        <a:pt x="50" y="44"/>
                      </a:lnTo>
                      <a:lnTo>
                        <a:pt x="47" y="44"/>
                      </a:lnTo>
                      <a:lnTo>
                        <a:pt x="43" y="45"/>
                      </a:lnTo>
                      <a:lnTo>
                        <a:pt x="39" y="45"/>
                      </a:lnTo>
                      <a:lnTo>
                        <a:pt x="34" y="45"/>
                      </a:lnTo>
                      <a:lnTo>
                        <a:pt x="29" y="45"/>
                      </a:lnTo>
                      <a:lnTo>
                        <a:pt x="23" y="45"/>
                      </a:lnTo>
                      <a:lnTo>
                        <a:pt x="17" y="45"/>
                      </a:lnTo>
                      <a:lnTo>
                        <a:pt x="10" y="45"/>
                      </a:lnTo>
                      <a:lnTo>
                        <a:pt x="2" y="45"/>
                      </a:lnTo>
                      <a:lnTo>
                        <a:pt x="2" y="50"/>
                      </a:lnTo>
                      <a:lnTo>
                        <a:pt x="2" y="45"/>
                      </a:lnTo>
                      <a:lnTo>
                        <a:pt x="1" y="45"/>
                      </a:lnTo>
                      <a:lnTo>
                        <a:pt x="1" y="46"/>
                      </a:lnTo>
                      <a:lnTo>
                        <a:pt x="1" y="47"/>
                      </a:lnTo>
                      <a:lnTo>
                        <a:pt x="0" y="47"/>
                      </a:lnTo>
                      <a:lnTo>
                        <a:pt x="1" y="47"/>
                      </a:lnTo>
                      <a:lnTo>
                        <a:pt x="1" y="48"/>
                      </a:lnTo>
                      <a:lnTo>
                        <a:pt x="1" y="49"/>
                      </a:lnTo>
                      <a:lnTo>
                        <a:pt x="2" y="49"/>
                      </a:lnTo>
                      <a:lnTo>
                        <a:pt x="2" y="50"/>
                      </a:lnTo>
                      <a:lnTo>
                        <a:pt x="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5" name="Freeform 877">
                  <a:extLst>
                    <a:ext uri="{FF2B5EF4-FFF2-40B4-BE49-F238E27FC236}">
                      <a16:creationId xmlns:a16="http://schemas.microsoft.com/office/drawing/2014/main" id="{F0F00489-76A7-282B-3D40-2CF09CE6EAD7}"/>
                    </a:ext>
                  </a:extLst>
                </p:cNvPr>
                <p:cNvSpPr>
                  <a:spLocks/>
                </p:cNvSpPr>
                <p:nvPr/>
              </p:nvSpPr>
              <p:spPr bwMode="auto">
                <a:xfrm>
                  <a:off x="351" y="2051"/>
                  <a:ext cx="57" cy="47"/>
                </a:xfrm>
                <a:custGeom>
                  <a:avLst/>
                  <a:gdLst>
                    <a:gd name="T0" fmla="*/ 35 w 81"/>
                    <a:gd name="T1" fmla="*/ 31 h 65"/>
                    <a:gd name="T2" fmla="*/ 39 w 81"/>
                    <a:gd name="T3" fmla="*/ 25 h 65"/>
                    <a:gd name="T4" fmla="*/ 40 w 81"/>
                    <a:gd name="T5" fmla="*/ 20 h 65"/>
                    <a:gd name="T6" fmla="*/ 40 w 81"/>
                    <a:gd name="T7" fmla="*/ 16 h 65"/>
                    <a:gd name="T8" fmla="*/ 39 w 81"/>
                    <a:gd name="T9" fmla="*/ 12 h 65"/>
                    <a:gd name="T10" fmla="*/ 36 w 81"/>
                    <a:gd name="T11" fmla="*/ 9 h 65"/>
                    <a:gd name="T12" fmla="*/ 33 w 81"/>
                    <a:gd name="T13" fmla="*/ 7 h 65"/>
                    <a:gd name="T14" fmla="*/ 30 w 81"/>
                    <a:gd name="T15" fmla="*/ 4 h 65"/>
                    <a:gd name="T16" fmla="*/ 25 w 81"/>
                    <a:gd name="T17" fmla="*/ 3 h 65"/>
                    <a:gd name="T18" fmla="*/ 20 w 81"/>
                    <a:gd name="T19" fmla="*/ 1 h 65"/>
                    <a:gd name="T20" fmla="*/ 16 w 81"/>
                    <a:gd name="T21" fmla="*/ 1 h 65"/>
                    <a:gd name="T22" fmla="*/ 12 w 81"/>
                    <a:gd name="T23" fmla="*/ 0 h 65"/>
                    <a:gd name="T24" fmla="*/ 8 w 81"/>
                    <a:gd name="T25" fmla="*/ 0 h 65"/>
                    <a:gd name="T26" fmla="*/ 4 w 81"/>
                    <a:gd name="T27" fmla="*/ 0 h 65"/>
                    <a:gd name="T28" fmla="*/ 2 w 81"/>
                    <a:gd name="T29" fmla="*/ 0 h 65"/>
                    <a:gd name="T30" fmla="*/ 0 w 81"/>
                    <a:gd name="T31" fmla="*/ 0 h 65"/>
                    <a:gd name="T32" fmla="*/ 0 w 81"/>
                    <a:gd name="T33" fmla="*/ 2 h 65"/>
                    <a:gd name="T34" fmla="*/ 1 w 81"/>
                    <a:gd name="T35" fmla="*/ 2 h 65"/>
                    <a:gd name="T36" fmla="*/ 3 w 81"/>
                    <a:gd name="T37" fmla="*/ 2 h 65"/>
                    <a:gd name="T38" fmla="*/ 6 w 81"/>
                    <a:gd name="T39" fmla="*/ 2 h 65"/>
                    <a:gd name="T40" fmla="*/ 9 w 81"/>
                    <a:gd name="T41" fmla="*/ 2 h 65"/>
                    <a:gd name="T42" fmla="*/ 14 w 81"/>
                    <a:gd name="T43" fmla="*/ 3 h 65"/>
                    <a:gd name="T44" fmla="*/ 18 w 81"/>
                    <a:gd name="T45" fmla="*/ 3 h 65"/>
                    <a:gd name="T46" fmla="*/ 23 w 81"/>
                    <a:gd name="T47" fmla="*/ 4 h 65"/>
                    <a:gd name="T48" fmla="*/ 27 w 81"/>
                    <a:gd name="T49" fmla="*/ 5 h 65"/>
                    <a:gd name="T50" fmla="*/ 31 w 81"/>
                    <a:gd name="T51" fmla="*/ 7 h 65"/>
                    <a:gd name="T52" fmla="*/ 34 w 81"/>
                    <a:gd name="T53" fmla="*/ 9 h 65"/>
                    <a:gd name="T54" fmla="*/ 37 w 81"/>
                    <a:gd name="T55" fmla="*/ 12 h 65"/>
                    <a:gd name="T56" fmla="*/ 38 w 81"/>
                    <a:gd name="T57" fmla="*/ 14 h 65"/>
                    <a:gd name="T58" fmla="*/ 39 w 81"/>
                    <a:gd name="T59" fmla="*/ 18 h 65"/>
                    <a:gd name="T60" fmla="*/ 38 w 81"/>
                    <a:gd name="T61" fmla="*/ 22 h 65"/>
                    <a:gd name="T62" fmla="*/ 36 w 81"/>
                    <a:gd name="T63" fmla="*/ 26 h 65"/>
                    <a:gd name="T64" fmla="*/ 32 w 81"/>
                    <a:gd name="T65" fmla="*/ 32 h 65"/>
                    <a:gd name="T66" fmla="*/ 32 w 81"/>
                    <a:gd name="T67" fmla="*/ 33 h 65"/>
                    <a:gd name="T68" fmla="*/ 32 w 81"/>
                    <a:gd name="T69" fmla="*/ 33 h 65"/>
                    <a:gd name="T70" fmla="*/ 32 w 81"/>
                    <a:gd name="T71" fmla="*/ 33 h 65"/>
                    <a:gd name="T72" fmla="*/ 32 w 81"/>
                    <a:gd name="T73" fmla="*/ 33 h 65"/>
                    <a:gd name="T74" fmla="*/ 32 w 81"/>
                    <a:gd name="T75" fmla="*/ 33 h 65"/>
                    <a:gd name="T76" fmla="*/ 32 w 81"/>
                    <a:gd name="T77" fmla="*/ 33 h 65"/>
                    <a:gd name="T78" fmla="*/ 32 w 81"/>
                    <a:gd name="T79" fmla="*/ 34 h 65"/>
                    <a:gd name="T80" fmla="*/ 32 w 81"/>
                    <a:gd name="T81" fmla="*/ 33 h 65"/>
                    <a:gd name="T82" fmla="*/ 32 w 81"/>
                    <a:gd name="T83" fmla="*/ 33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1" h="65">
                      <a:moveTo>
                        <a:pt x="67" y="64"/>
                      </a:moveTo>
                      <a:lnTo>
                        <a:pt x="71" y="59"/>
                      </a:lnTo>
                      <a:lnTo>
                        <a:pt x="75" y="53"/>
                      </a:lnTo>
                      <a:lnTo>
                        <a:pt x="78" y="47"/>
                      </a:lnTo>
                      <a:lnTo>
                        <a:pt x="80" y="42"/>
                      </a:lnTo>
                      <a:lnTo>
                        <a:pt x="81" y="38"/>
                      </a:lnTo>
                      <a:lnTo>
                        <a:pt x="81" y="34"/>
                      </a:lnTo>
                      <a:lnTo>
                        <a:pt x="81" y="30"/>
                      </a:lnTo>
                      <a:lnTo>
                        <a:pt x="80" y="26"/>
                      </a:lnTo>
                      <a:lnTo>
                        <a:pt x="78" y="22"/>
                      </a:lnTo>
                      <a:lnTo>
                        <a:pt x="76" y="20"/>
                      </a:lnTo>
                      <a:lnTo>
                        <a:pt x="73" y="17"/>
                      </a:lnTo>
                      <a:lnTo>
                        <a:pt x="71" y="14"/>
                      </a:lnTo>
                      <a:lnTo>
                        <a:pt x="67" y="12"/>
                      </a:lnTo>
                      <a:lnTo>
                        <a:pt x="63" y="10"/>
                      </a:lnTo>
                      <a:lnTo>
                        <a:pt x="59" y="8"/>
                      </a:lnTo>
                      <a:lnTo>
                        <a:pt x="55" y="6"/>
                      </a:lnTo>
                      <a:lnTo>
                        <a:pt x="51" y="5"/>
                      </a:lnTo>
                      <a:lnTo>
                        <a:pt x="46" y="4"/>
                      </a:lnTo>
                      <a:lnTo>
                        <a:pt x="41" y="3"/>
                      </a:lnTo>
                      <a:lnTo>
                        <a:pt x="37" y="2"/>
                      </a:lnTo>
                      <a:lnTo>
                        <a:pt x="33" y="1"/>
                      </a:lnTo>
                      <a:lnTo>
                        <a:pt x="28" y="1"/>
                      </a:lnTo>
                      <a:lnTo>
                        <a:pt x="24" y="0"/>
                      </a:lnTo>
                      <a:lnTo>
                        <a:pt x="20" y="0"/>
                      </a:lnTo>
                      <a:lnTo>
                        <a:pt x="16" y="0"/>
                      </a:lnTo>
                      <a:lnTo>
                        <a:pt x="12" y="0"/>
                      </a:lnTo>
                      <a:lnTo>
                        <a:pt x="9" y="0"/>
                      </a:lnTo>
                      <a:lnTo>
                        <a:pt x="6" y="0"/>
                      </a:lnTo>
                      <a:lnTo>
                        <a:pt x="4" y="0"/>
                      </a:lnTo>
                      <a:lnTo>
                        <a:pt x="2" y="0"/>
                      </a:lnTo>
                      <a:lnTo>
                        <a:pt x="0" y="0"/>
                      </a:lnTo>
                      <a:lnTo>
                        <a:pt x="0" y="4"/>
                      </a:lnTo>
                      <a:lnTo>
                        <a:pt x="0" y="3"/>
                      </a:lnTo>
                      <a:lnTo>
                        <a:pt x="2" y="4"/>
                      </a:lnTo>
                      <a:lnTo>
                        <a:pt x="4" y="4"/>
                      </a:lnTo>
                      <a:lnTo>
                        <a:pt x="6" y="4"/>
                      </a:lnTo>
                      <a:lnTo>
                        <a:pt x="9" y="4"/>
                      </a:lnTo>
                      <a:lnTo>
                        <a:pt x="12" y="4"/>
                      </a:lnTo>
                      <a:lnTo>
                        <a:pt x="15" y="4"/>
                      </a:lnTo>
                      <a:lnTo>
                        <a:pt x="19" y="4"/>
                      </a:lnTo>
                      <a:lnTo>
                        <a:pt x="24" y="5"/>
                      </a:lnTo>
                      <a:lnTo>
                        <a:pt x="28" y="5"/>
                      </a:lnTo>
                      <a:lnTo>
                        <a:pt x="32" y="6"/>
                      </a:lnTo>
                      <a:lnTo>
                        <a:pt x="37" y="6"/>
                      </a:lnTo>
                      <a:lnTo>
                        <a:pt x="41" y="7"/>
                      </a:lnTo>
                      <a:lnTo>
                        <a:pt x="46" y="8"/>
                      </a:lnTo>
                      <a:lnTo>
                        <a:pt x="50" y="10"/>
                      </a:lnTo>
                      <a:lnTo>
                        <a:pt x="54" y="10"/>
                      </a:lnTo>
                      <a:lnTo>
                        <a:pt x="59" y="12"/>
                      </a:lnTo>
                      <a:lnTo>
                        <a:pt x="62" y="13"/>
                      </a:lnTo>
                      <a:lnTo>
                        <a:pt x="66" y="16"/>
                      </a:lnTo>
                      <a:lnTo>
                        <a:pt x="69" y="18"/>
                      </a:lnTo>
                      <a:lnTo>
                        <a:pt x="72" y="20"/>
                      </a:lnTo>
                      <a:lnTo>
                        <a:pt x="74" y="22"/>
                      </a:lnTo>
                      <a:lnTo>
                        <a:pt x="76" y="25"/>
                      </a:lnTo>
                      <a:lnTo>
                        <a:pt x="77" y="28"/>
                      </a:lnTo>
                      <a:lnTo>
                        <a:pt x="78" y="30"/>
                      </a:lnTo>
                      <a:lnTo>
                        <a:pt x="78" y="34"/>
                      </a:lnTo>
                      <a:lnTo>
                        <a:pt x="78" y="37"/>
                      </a:lnTo>
                      <a:lnTo>
                        <a:pt x="77" y="41"/>
                      </a:lnTo>
                      <a:lnTo>
                        <a:pt x="75" y="45"/>
                      </a:lnTo>
                      <a:lnTo>
                        <a:pt x="72" y="50"/>
                      </a:lnTo>
                      <a:lnTo>
                        <a:pt x="69" y="55"/>
                      </a:lnTo>
                      <a:lnTo>
                        <a:pt x="65" y="61"/>
                      </a:lnTo>
                      <a:lnTo>
                        <a:pt x="64" y="62"/>
                      </a:lnTo>
                      <a:lnTo>
                        <a:pt x="64" y="63"/>
                      </a:lnTo>
                      <a:lnTo>
                        <a:pt x="64" y="64"/>
                      </a:lnTo>
                      <a:lnTo>
                        <a:pt x="65" y="64"/>
                      </a:lnTo>
                      <a:lnTo>
                        <a:pt x="66" y="64"/>
                      </a:lnTo>
                      <a:lnTo>
                        <a:pt x="66" y="65"/>
                      </a:lnTo>
                      <a:lnTo>
                        <a:pt x="66" y="64"/>
                      </a:lnTo>
                      <a:lnTo>
                        <a:pt x="67"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6" name="Freeform 878">
                  <a:extLst>
                    <a:ext uri="{FF2B5EF4-FFF2-40B4-BE49-F238E27FC236}">
                      <a16:creationId xmlns:a16="http://schemas.microsoft.com/office/drawing/2014/main" id="{0BE94B40-D523-2C0F-981C-AD197ECF03C7}"/>
                    </a:ext>
                  </a:extLst>
                </p:cNvPr>
                <p:cNvSpPr>
                  <a:spLocks/>
                </p:cNvSpPr>
                <p:nvPr/>
              </p:nvSpPr>
              <p:spPr bwMode="auto">
                <a:xfrm>
                  <a:off x="357" y="2094"/>
                  <a:ext cx="42" cy="71"/>
                </a:xfrm>
                <a:custGeom>
                  <a:avLst/>
                  <a:gdLst>
                    <a:gd name="T0" fmla="*/ 2 w 59"/>
                    <a:gd name="T1" fmla="*/ 49 h 99"/>
                    <a:gd name="T2" fmla="*/ 4 w 59"/>
                    <a:gd name="T3" fmla="*/ 47 h 99"/>
                    <a:gd name="T4" fmla="*/ 6 w 59"/>
                    <a:gd name="T5" fmla="*/ 43 h 99"/>
                    <a:gd name="T6" fmla="*/ 8 w 59"/>
                    <a:gd name="T7" fmla="*/ 41 h 99"/>
                    <a:gd name="T8" fmla="*/ 9 w 59"/>
                    <a:gd name="T9" fmla="*/ 37 h 99"/>
                    <a:gd name="T10" fmla="*/ 11 w 59"/>
                    <a:gd name="T11" fmla="*/ 34 h 99"/>
                    <a:gd name="T12" fmla="*/ 13 w 59"/>
                    <a:gd name="T13" fmla="*/ 31 h 99"/>
                    <a:gd name="T14" fmla="*/ 14 w 59"/>
                    <a:gd name="T15" fmla="*/ 28 h 99"/>
                    <a:gd name="T16" fmla="*/ 16 w 59"/>
                    <a:gd name="T17" fmla="*/ 24 h 99"/>
                    <a:gd name="T18" fmla="*/ 17 w 59"/>
                    <a:gd name="T19" fmla="*/ 22 h 99"/>
                    <a:gd name="T20" fmla="*/ 19 w 59"/>
                    <a:gd name="T21" fmla="*/ 18 h 99"/>
                    <a:gd name="T22" fmla="*/ 21 w 59"/>
                    <a:gd name="T23" fmla="*/ 15 h 99"/>
                    <a:gd name="T24" fmla="*/ 22 w 59"/>
                    <a:gd name="T25" fmla="*/ 11 h 99"/>
                    <a:gd name="T26" fmla="*/ 24 w 59"/>
                    <a:gd name="T27" fmla="*/ 9 h 99"/>
                    <a:gd name="T28" fmla="*/ 26 w 59"/>
                    <a:gd name="T29" fmla="*/ 6 h 99"/>
                    <a:gd name="T30" fmla="*/ 28 w 59"/>
                    <a:gd name="T31" fmla="*/ 3 h 99"/>
                    <a:gd name="T32" fmla="*/ 28 w 59"/>
                    <a:gd name="T33" fmla="*/ 0 h 99"/>
                    <a:gd name="T34" fmla="*/ 26 w 59"/>
                    <a:gd name="T35" fmla="*/ 3 h 99"/>
                    <a:gd name="T36" fmla="*/ 24 w 59"/>
                    <a:gd name="T37" fmla="*/ 6 h 99"/>
                    <a:gd name="T38" fmla="*/ 22 w 59"/>
                    <a:gd name="T39" fmla="*/ 9 h 99"/>
                    <a:gd name="T40" fmla="*/ 20 w 59"/>
                    <a:gd name="T41" fmla="*/ 12 h 99"/>
                    <a:gd name="T42" fmla="*/ 19 w 59"/>
                    <a:gd name="T43" fmla="*/ 16 h 99"/>
                    <a:gd name="T44" fmla="*/ 16 w 59"/>
                    <a:gd name="T45" fmla="*/ 19 h 99"/>
                    <a:gd name="T46" fmla="*/ 15 w 59"/>
                    <a:gd name="T47" fmla="*/ 22 h 99"/>
                    <a:gd name="T48" fmla="*/ 14 w 59"/>
                    <a:gd name="T49" fmla="*/ 25 h 99"/>
                    <a:gd name="T50" fmla="*/ 11 w 59"/>
                    <a:gd name="T51" fmla="*/ 28 h 99"/>
                    <a:gd name="T52" fmla="*/ 10 w 59"/>
                    <a:gd name="T53" fmla="*/ 32 h 99"/>
                    <a:gd name="T54" fmla="*/ 9 w 59"/>
                    <a:gd name="T55" fmla="*/ 34 h 99"/>
                    <a:gd name="T56" fmla="*/ 7 w 59"/>
                    <a:gd name="T57" fmla="*/ 38 h 99"/>
                    <a:gd name="T58" fmla="*/ 6 w 59"/>
                    <a:gd name="T59" fmla="*/ 41 h 99"/>
                    <a:gd name="T60" fmla="*/ 4 w 59"/>
                    <a:gd name="T61" fmla="*/ 44 h 99"/>
                    <a:gd name="T62" fmla="*/ 2 w 59"/>
                    <a:gd name="T63" fmla="*/ 47 h 99"/>
                    <a:gd name="T64" fmla="*/ 0 w 59"/>
                    <a:gd name="T65" fmla="*/ 49 h 99"/>
                    <a:gd name="T66" fmla="*/ 0 w 59"/>
                    <a:gd name="T67" fmla="*/ 49 h 99"/>
                    <a:gd name="T68" fmla="*/ 0 w 59"/>
                    <a:gd name="T69" fmla="*/ 50 h 99"/>
                    <a:gd name="T70" fmla="*/ 0 w 59"/>
                    <a:gd name="T71" fmla="*/ 50 h 99"/>
                    <a:gd name="T72" fmla="*/ 1 w 59"/>
                    <a:gd name="T73" fmla="*/ 50 h 99"/>
                    <a:gd name="T74" fmla="*/ 1 w 59"/>
                    <a:gd name="T75" fmla="*/ 51 h 99"/>
                    <a:gd name="T76" fmla="*/ 1 w 59"/>
                    <a:gd name="T77" fmla="*/ 50 h 99"/>
                    <a:gd name="T78" fmla="*/ 1 w 59"/>
                    <a:gd name="T79" fmla="*/ 50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99">
                      <a:moveTo>
                        <a:pt x="2" y="98"/>
                      </a:moveTo>
                      <a:lnTo>
                        <a:pt x="4" y="96"/>
                      </a:lnTo>
                      <a:lnTo>
                        <a:pt x="6" y="92"/>
                      </a:lnTo>
                      <a:lnTo>
                        <a:pt x="8" y="90"/>
                      </a:lnTo>
                      <a:lnTo>
                        <a:pt x="10" y="87"/>
                      </a:lnTo>
                      <a:lnTo>
                        <a:pt x="12" y="84"/>
                      </a:lnTo>
                      <a:lnTo>
                        <a:pt x="14" y="82"/>
                      </a:lnTo>
                      <a:lnTo>
                        <a:pt x="15" y="79"/>
                      </a:lnTo>
                      <a:lnTo>
                        <a:pt x="17" y="76"/>
                      </a:lnTo>
                      <a:lnTo>
                        <a:pt x="18" y="72"/>
                      </a:lnTo>
                      <a:lnTo>
                        <a:pt x="20" y="70"/>
                      </a:lnTo>
                      <a:lnTo>
                        <a:pt x="21" y="66"/>
                      </a:lnTo>
                      <a:lnTo>
                        <a:pt x="23" y="64"/>
                      </a:lnTo>
                      <a:lnTo>
                        <a:pt x="25" y="60"/>
                      </a:lnTo>
                      <a:lnTo>
                        <a:pt x="26" y="57"/>
                      </a:lnTo>
                      <a:lnTo>
                        <a:pt x="28" y="54"/>
                      </a:lnTo>
                      <a:lnTo>
                        <a:pt x="29" y="51"/>
                      </a:lnTo>
                      <a:lnTo>
                        <a:pt x="31" y="48"/>
                      </a:lnTo>
                      <a:lnTo>
                        <a:pt x="32" y="45"/>
                      </a:lnTo>
                      <a:lnTo>
                        <a:pt x="34" y="42"/>
                      </a:lnTo>
                      <a:lnTo>
                        <a:pt x="36" y="39"/>
                      </a:lnTo>
                      <a:lnTo>
                        <a:pt x="38" y="35"/>
                      </a:lnTo>
                      <a:lnTo>
                        <a:pt x="39" y="33"/>
                      </a:lnTo>
                      <a:lnTo>
                        <a:pt x="41" y="29"/>
                      </a:lnTo>
                      <a:lnTo>
                        <a:pt x="43" y="27"/>
                      </a:lnTo>
                      <a:lnTo>
                        <a:pt x="44" y="23"/>
                      </a:lnTo>
                      <a:lnTo>
                        <a:pt x="46" y="20"/>
                      </a:lnTo>
                      <a:lnTo>
                        <a:pt x="48" y="17"/>
                      </a:lnTo>
                      <a:lnTo>
                        <a:pt x="50" y="14"/>
                      </a:lnTo>
                      <a:lnTo>
                        <a:pt x="52" y="11"/>
                      </a:lnTo>
                      <a:lnTo>
                        <a:pt x="54" y="9"/>
                      </a:lnTo>
                      <a:lnTo>
                        <a:pt x="56" y="6"/>
                      </a:lnTo>
                      <a:lnTo>
                        <a:pt x="59" y="3"/>
                      </a:lnTo>
                      <a:lnTo>
                        <a:pt x="56" y="0"/>
                      </a:lnTo>
                      <a:lnTo>
                        <a:pt x="54" y="3"/>
                      </a:lnTo>
                      <a:lnTo>
                        <a:pt x="52" y="6"/>
                      </a:lnTo>
                      <a:lnTo>
                        <a:pt x="49" y="9"/>
                      </a:lnTo>
                      <a:lnTo>
                        <a:pt x="48" y="12"/>
                      </a:lnTo>
                      <a:lnTo>
                        <a:pt x="45" y="15"/>
                      </a:lnTo>
                      <a:lnTo>
                        <a:pt x="44" y="18"/>
                      </a:lnTo>
                      <a:lnTo>
                        <a:pt x="41" y="21"/>
                      </a:lnTo>
                      <a:lnTo>
                        <a:pt x="40" y="24"/>
                      </a:lnTo>
                      <a:lnTo>
                        <a:pt x="38" y="27"/>
                      </a:lnTo>
                      <a:lnTo>
                        <a:pt x="36" y="30"/>
                      </a:lnTo>
                      <a:lnTo>
                        <a:pt x="34" y="33"/>
                      </a:lnTo>
                      <a:lnTo>
                        <a:pt x="33" y="36"/>
                      </a:lnTo>
                      <a:lnTo>
                        <a:pt x="31" y="39"/>
                      </a:lnTo>
                      <a:lnTo>
                        <a:pt x="30" y="43"/>
                      </a:lnTo>
                      <a:lnTo>
                        <a:pt x="28" y="45"/>
                      </a:lnTo>
                      <a:lnTo>
                        <a:pt x="27" y="49"/>
                      </a:lnTo>
                      <a:lnTo>
                        <a:pt x="25" y="52"/>
                      </a:lnTo>
                      <a:lnTo>
                        <a:pt x="23" y="55"/>
                      </a:lnTo>
                      <a:lnTo>
                        <a:pt x="22" y="58"/>
                      </a:lnTo>
                      <a:lnTo>
                        <a:pt x="20" y="62"/>
                      </a:lnTo>
                      <a:lnTo>
                        <a:pt x="19" y="64"/>
                      </a:lnTo>
                      <a:lnTo>
                        <a:pt x="17" y="67"/>
                      </a:lnTo>
                      <a:lnTo>
                        <a:pt x="16" y="70"/>
                      </a:lnTo>
                      <a:lnTo>
                        <a:pt x="14" y="74"/>
                      </a:lnTo>
                      <a:lnTo>
                        <a:pt x="12" y="76"/>
                      </a:lnTo>
                      <a:lnTo>
                        <a:pt x="11" y="79"/>
                      </a:lnTo>
                      <a:lnTo>
                        <a:pt x="9" y="82"/>
                      </a:lnTo>
                      <a:lnTo>
                        <a:pt x="8" y="85"/>
                      </a:lnTo>
                      <a:lnTo>
                        <a:pt x="6" y="87"/>
                      </a:lnTo>
                      <a:lnTo>
                        <a:pt x="4" y="90"/>
                      </a:lnTo>
                      <a:lnTo>
                        <a:pt x="2" y="92"/>
                      </a:lnTo>
                      <a:lnTo>
                        <a:pt x="0" y="95"/>
                      </a:lnTo>
                      <a:lnTo>
                        <a:pt x="0" y="96"/>
                      </a:lnTo>
                      <a:lnTo>
                        <a:pt x="0" y="97"/>
                      </a:lnTo>
                      <a:lnTo>
                        <a:pt x="0" y="98"/>
                      </a:lnTo>
                      <a:lnTo>
                        <a:pt x="1" y="98"/>
                      </a:lnTo>
                      <a:lnTo>
                        <a:pt x="1" y="99"/>
                      </a:lnTo>
                      <a:lnTo>
                        <a:pt x="2" y="9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7" name="Freeform 879">
                  <a:extLst>
                    <a:ext uri="{FF2B5EF4-FFF2-40B4-BE49-F238E27FC236}">
                      <a16:creationId xmlns:a16="http://schemas.microsoft.com/office/drawing/2014/main" id="{CC57DA95-AC3A-A93D-2EF2-EFFEBA0696C9}"/>
                    </a:ext>
                  </a:extLst>
                </p:cNvPr>
                <p:cNvSpPr>
                  <a:spLocks/>
                </p:cNvSpPr>
                <p:nvPr/>
              </p:nvSpPr>
              <p:spPr bwMode="auto">
                <a:xfrm>
                  <a:off x="355" y="2162"/>
                  <a:ext cx="29" cy="11"/>
                </a:xfrm>
                <a:custGeom>
                  <a:avLst/>
                  <a:gdLst>
                    <a:gd name="T0" fmla="*/ 18 w 42"/>
                    <a:gd name="T1" fmla="*/ 1 h 16"/>
                    <a:gd name="T2" fmla="*/ 17 w 42"/>
                    <a:gd name="T3" fmla="*/ 2 h 16"/>
                    <a:gd name="T4" fmla="*/ 15 w 42"/>
                    <a:gd name="T5" fmla="*/ 3 h 16"/>
                    <a:gd name="T6" fmla="*/ 13 w 42"/>
                    <a:gd name="T7" fmla="*/ 3 h 16"/>
                    <a:gd name="T8" fmla="*/ 12 w 42"/>
                    <a:gd name="T9" fmla="*/ 4 h 16"/>
                    <a:gd name="T10" fmla="*/ 10 w 42"/>
                    <a:gd name="T11" fmla="*/ 5 h 16"/>
                    <a:gd name="T12" fmla="*/ 8 w 42"/>
                    <a:gd name="T13" fmla="*/ 5 h 16"/>
                    <a:gd name="T14" fmla="*/ 6 w 42"/>
                    <a:gd name="T15" fmla="*/ 6 h 16"/>
                    <a:gd name="T16" fmla="*/ 4 w 42"/>
                    <a:gd name="T17" fmla="*/ 6 h 16"/>
                    <a:gd name="T18" fmla="*/ 3 w 42"/>
                    <a:gd name="T19" fmla="*/ 6 h 16"/>
                    <a:gd name="T20" fmla="*/ 2 w 42"/>
                    <a:gd name="T21" fmla="*/ 6 h 16"/>
                    <a:gd name="T22" fmla="*/ 2 w 42"/>
                    <a:gd name="T23" fmla="*/ 5 h 16"/>
                    <a:gd name="T24" fmla="*/ 1 w 42"/>
                    <a:gd name="T25" fmla="*/ 5 h 16"/>
                    <a:gd name="T26" fmla="*/ 1 w 42"/>
                    <a:gd name="T27" fmla="*/ 4 h 16"/>
                    <a:gd name="T28" fmla="*/ 2 w 42"/>
                    <a:gd name="T29" fmla="*/ 3 h 16"/>
                    <a:gd name="T30" fmla="*/ 3 w 42"/>
                    <a:gd name="T31" fmla="*/ 2 h 16"/>
                    <a:gd name="T32" fmla="*/ 1 w 42"/>
                    <a:gd name="T33" fmla="*/ 1 h 16"/>
                    <a:gd name="T34" fmla="*/ 0 w 42"/>
                    <a:gd name="T35" fmla="*/ 3 h 16"/>
                    <a:gd name="T36" fmla="*/ 0 w 42"/>
                    <a:gd name="T37" fmla="*/ 4 h 16"/>
                    <a:gd name="T38" fmla="*/ 0 w 42"/>
                    <a:gd name="T39" fmla="*/ 6 h 16"/>
                    <a:gd name="T40" fmla="*/ 1 w 42"/>
                    <a:gd name="T41" fmla="*/ 7 h 16"/>
                    <a:gd name="T42" fmla="*/ 2 w 42"/>
                    <a:gd name="T43" fmla="*/ 7 h 16"/>
                    <a:gd name="T44" fmla="*/ 3 w 42"/>
                    <a:gd name="T45" fmla="*/ 8 h 16"/>
                    <a:gd name="T46" fmla="*/ 5 w 42"/>
                    <a:gd name="T47" fmla="*/ 8 h 16"/>
                    <a:gd name="T48" fmla="*/ 7 w 42"/>
                    <a:gd name="T49" fmla="*/ 7 h 16"/>
                    <a:gd name="T50" fmla="*/ 8 w 42"/>
                    <a:gd name="T51" fmla="*/ 7 h 16"/>
                    <a:gd name="T52" fmla="*/ 10 w 42"/>
                    <a:gd name="T53" fmla="*/ 7 h 16"/>
                    <a:gd name="T54" fmla="*/ 12 w 42"/>
                    <a:gd name="T55" fmla="*/ 6 h 16"/>
                    <a:gd name="T56" fmla="*/ 14 w 42"/>
                    <a:gd name="T57" fmla="*/ 6 h 16"/>
                    <a:gd name="T58" fmla="*/ 16 w 42"/>
                    <a:gd name="T59" fmla="*/ 4 h 16"/>
                    <a:gd name="T60" fmla="*/ 17 w 42"/>
                    <a:gd name="T61" fmla="*/ 3 h 16"/>
                    <a:gd name="T62" fmla="*/ 19 w 42"/>
                    <a:gd name="T63" fmla="*/ 2 h 16"/>
                    <a:gd name="T64" fmla="*/ 20 w 42"/>
                    <a:gd name="T65" fmla="*/ 2 h 16"/>
                    <a:gd name="T66" fmla="*/ 20 w 42"/>
                    <a:gd name="T67" fmla="*/ 1 h 16"/>
                    <a:gd name="T68" fmla="*/ 20 w 42"/>
                    <a:gd name="T69" fmla="*/ 1 h 16"/>
                    <a:gd name="T70" fmla="*/ 20 w 42"/>
                    <a:gd name="T71" fmla="*/ 1 h 16"/>
                    <a:gd name="T72" fmla="*/ 20 w 42"/>
                    <a:gd name="T73" fmla="*/ 1 h 16"/>
                    <a:gd name="T74" fmla="*/ 19 w 42"/>
                    <a:gd name="T75" fmla="*/ 1 h 16"/>
                    <a:gd name="T76" fmla="*/ 19 w 42"/>
                    <a:gd name="T77" fmla="*/ 0 h 16"/>
                    <a:gd name="T78" fmla="*/ 19 w 42"/>
                    <a:gd name="T79" fmla="*/ 1 h 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 h="16">
                      <a:moveTo>
                        <a:pt x="40" y="1"/>
                      </a:moveTo>
                      <a:lnTo>
                        <a:pt x="38" y="2"/>
                      </a:lnTo>
                      <a:lnTo>
                        <a:pt x="37" y="3"/>
                      </a:lnTo>
                      <a:lnTo>
                        <a:pt x="35" y="4"/>
                      </a:lnTo>
                      <a:lnTo>
                        <a:pt x="34" y="4"/>
                      </a:lnTo>
                      <a:lnTo>
                        <a:pt x="31" y="6"/>
                      </a:lnTo>
                      <a:lnTo>
                        <a:pt x="30" y="7"/>
                      </a:lnTo>
                      <a:lnTo>
                        <a:pt x="28" y="7"/>
                      </a:lnTo>
                      <a:lnTo>
                        <a:pt x="26" y="8"/>
                      </a:lnTo>
                      <a:lnTo>
                        <a:pt x="24" y="9"/>
                      </a:lnTo>
                      <a:lnTo>
                        <a:pt x="22" y="9"/>
                      </a:lnTo>
                      <a:lnTo>
                        <a:pt x="20" y="10"/>
                      </a:lnTo>
                      <a:lnTo>
                        <a:pt x="19" y="10"/>
                      </a:lnTo>
                      <a:lnTo>
                        <a:pt x="17" y="10"/>
                      </a:lnTo>
                      <a:lnTo>
                        <a:pt x="15" y="11"/>
                      </a:lnTo>
                      <a:lnTo>
                        <a:pt x="13" y="11"/>
                      </a:lnTo>
                      <a:lnTo>
                        <a:pt x="11" y="12"/>
                      </a:lnTo>
                      <a:lnTo>
                        <a:pt x="9" y="12"/>
                      </a:lnTo>
                      <a:lnTo>
                        <a:pt x="7" y="12"/>
                      </a:lnTo>
                      <a:lnTo>
                        <a:pt x="6" y="11"/>
                      </a:lnTo>
                      <a:lnTo>
                        <a:pt x="5" y="11"/>
                      </a:lnTo>
                      <a:lnTo>
                        <a:pt x="4" y="11"/>
                      </a:lnTo>
                      <a:lnTo>
                        <a:pt x="4" y="10"/>
                      </a:lnTo>
                      <a:lnTo>
                        <a:pt x="3" y="10"/>
                      </a:lnTo>
                      <a:lnTo>
                        <a:pt x="3" y="9"/>
                      </a:lnTo>
                      <a:lnTo>
                        <a:pt x="3" y="8"/>
                      </a:lnTo>
                      <a:lnTo>
                        <a:pt x="4" y="7"/>
                      </a:lnTo>
                      <a:lnTo>
                        <a:pt x="4" y="6"/>
                      </a:lnTo>
                      <a:lnTo>
                        <a:pt x="6" y="4"/>
                      </a:lnTo>
                      <a:lnTo>
                        <a:pt x="4" y="1"/>
                      </a:lnTo>
                      <a:lnTo>
                        <a:pt x="2" y="3"/>
                      </a:lnTo>
                      <a:lnTo>
                        <a:pt x="1" y="4"/>
                      </a:lnTo>
                      <a:lnTo>
                        <a:pt x="0" y="6"/>
                      </a:lnTo>
                      <a:lnTo>
                        <a:pt x="0" y="8"/>
                      </a:lnTo>
                      <a:lnTo>
                        <a:pt x="0" y="9"/>
                      </a:lnTo>
                      <a:lnTo>
                        <a:pt x="0" y="11"/>
                      </a:lnTo>
                      <a:lnTo>
                        <a:pt x="0" y="12"/>
                      </a:lnTo>
                      <a:lnTo>
                        <a:pt x="1" y="13"/>
                      </a:lnTo>
                      <a:lnTo>
                        <a:pt x="2" y="14"/>
                      </a:lnTo>
                      <a:lnTo>
                        <a:pt x="3" y="15"/>
                      </a:lnTo>
                      <a:lnTo>
                        <a:pt x="4" y="15"/>
                      </a:lnTo>
                      <a:lnTo>
                        <a:pt x="5" y="15"/>
                      </a:lnTo>
                      <a:lnTo>
                        <a:pt x="7" y="16"/>
                      </a:lnTo>
                      <a:lnTo>
                        <a:pt x="9" y="16"/>
                      </a:lnTo>
                      <a:lnTo>
                        <a:pt x="10" y="16"/>
                      </a:lnTo>
                      <a:lnTo>
                        <a:pt x="12" y="15"/>
                      </a:lnTo>
                      <a:lnTo>
                        <a:pt x="14" y="15"/>
                      </a:lnTo>
                      <a:lnTo>
                        <a:pt x="15" y="15"/>
                      </a:lnTo>
                      <a:lnTo>
                        <a:pt x="17" y="15"/>
                      </a:lnTo>
                      <a:lnTo>
                        <a:pt x="19" y="14"/>
                      </a:lnTo>
                      <a:lnTo>
                        <a:pt x="21" y="14"/>
                      </a:lnTo>
                      <a:lnTo>
                        <a:pt x="23" y="13"/>
                      </a:lnTo>
                      <a:lnTo>
                        <a:pt x="25" y="13"/>
                      </a:lnTo>
                      <a:lnTo>
                        <a:pt x="27" y="12"/>
                      </a:lnTo>
                      <a:lnTo>
                        <a:pt x="29" y="11"/>
                      </a:lnTo>
                      <a:lnTo>
                        <a:pt x="30" y="10"/>
                      </a:lnTo>
                      <a:lnTo>
                        <a:pt x="33" y="9"/>
                      </a:lnTo>
                      <a:lnTo>
                        <a:pt x="35" y="9"/>
                      </a:lnTo>
                      <a:lnTo>
                        <a:pt x="36" y="7"/>
                      </a:lnTo>
                      <a:lnTo>
                        <a:pt x="38" y="7"/>
                      </a:lnTo>
                      <a:lnTo>
                        <a:pt x="40" y="5"/>
                      </a:lnTo>
                      <a:lnTo>
                        <a:pt x="41" y="4"/>
                      </a:lnTo>
                      <a:lnTo>
                        <a:pt x="42" y="4"/>
                      </a:lnTo>
                      <a:lnTo>
                        <a:pt x="42" y="3"/>
                      </a:lnTo>
                      <a:lnTo>
                        <a:pt x="42" y="2"/>
                      </a:lnTo>
                      <a:lnTo>
                        <a:pt x="42" y="1"/>
                      </a:lnTo>
                      <a:lnTo>
                        <a:pt x="41" y="1"/>
                      </a:lnTo>
                      <a:lnTo>
                        <a:pt x="41" y="0"/>
                      </a:lnTo>
                      <a:lnTo>
                        <a:pt x="41" y="1"/>
                      </a:lnTo>
                      <a:lnTo>
                        <a:pt x="4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8" name="Freeform 880">
                  <a:extLst>
                    <a:ext uri="{FF2B5EF4-FFF2-40B4-BE49-F238E27FC236}">
                      <a16:creationId xmlns:a16="http://schemas.microsoft.com/office/drawing/2014/main" id="{10106018-370A-E6E0-A730-84FD978613EC}"/>
                    </a:ext>
                  </a:extLst>
                </p:cNvPr>
                <p:cNvSpPr>
                  <a:spLocks/>
                </p:cNvSpPr>
                <p:nvPr/>
              </p:nvSpPr>
              <p:spPr bwMode="auto">
                <a:xfrm>
                  <a:off x="383" y="2147"/>
                  <a:ext cx="16" cy="34"/>
                </a:xfrm>
                <a:custGeom>
                  <a:avLst/>
                  <a:gdLst>
                    <a:gd name="T0" fmla="*/ 11 w 23"/>
                    <a:gd name="T1" fmla="*/ 23 h 48"/>
                    <a:gd name="T2" fmla="*/ 9 w 23"/>
                    <a:gd name="T3" fmla="*/ 16 h 48"/>
                    <a:gd name="T4" fmla="*/ 8 w 23"/>
                    <a:gd name="T5" fmla="*/ 11 h 48"/>
                    <a:gd name="T6" fmla="*/ 7 w 23"/>
                    <a:gd name="T7" fmla="*/ 8 h 48"/>
                    <a:gd name="T8" fmla="*/ 7 w 23"/>
                    <a:gd name="T9" fmla="*/ 4 h 48"/>
                    <a:gd name="T10" fmla="*/ 6 w 23"/>
                    <a:gd name="T11" fmla="*/ 3 h 48"/>
                    <a:gd name="T12" fmla="*/ 6 w 23"/>
                    <a:gd name="T13" fmla="*/ 1 h 48"/>
                    <a:gd name="T14" fmla="*/ 6 w 23"/>
                    <a:gd name="T15" fmla="*/ 2 h 48"/>
                    <a:gd name="T16" fmla="*/ 6 w 23"/>
                    <a:gd name="T17" fmla="*/ 1 h 48"/>
                    <a:gd name="T18" fmla="*/ 6 w 23"/>
                    <a:gd name="T19" fmla="*/ 2 h 48"/>
                    <a:gd name="T20" fmla="*/ 6 w 23"/>
                    <a:gd name="T21" fmla="*/ 3 h 48"/>
                    <a:gd name="T22" fmla="*/ 5 w 23"/>
                    <a:gd name="T23" fmla="*/ 4 h 48"/>
                    <a:gd name="T24" fmla="*/ 4 w 23"/>
                    <a:gd name="T25" fmla="*/ 5 h 48"/>
                    <a:gd name="T26" fmla="*/ 4 w 23"/>
                    <a:gd name="T27" fmla="*/ 6 h 48"/>
                    <a:gd name="T28" fmla="*/ 2 w 23"/>
                    <a:gd name="T29" fmla="*/ 9 h 48"/>
                    <a:gd name="T30" fmla="*/ 1 w 23"/>
                    <a:gd name="T31" fmla="*/ 10 h 48"/>
                    <a:gd name="T32" fmla="*/ 1 w 23"/>
                    <a:gd name="T33" fmla="*/ 12 h 48"/>
                    <a:gd name="T34" fmla="*/ 3 w 23"/>
                    <a:gd name="T35" fmla="*/ 11 h 48"/>
                    <a:gd name="T36" fmla="*/ 4 w 23"/>
                    <a:gd name="T37" fmla="*/ 9 h 48"/>
                    <a:gd name="T38" fmla="*/ 6 w 23"/>
                    <a:gd name="T39" fmla="*/ 7 h 48"/>
                    <a:gd name="T40" fmla="*/ 6 w 23"/>
                    <a:gd name="T41" fmla="*/ 5 h 48"/>
                    <a:gd name="T42" fmla="*/ 6 w 23"/>
                    <a:gd name="T43" fmla="*/ 4 h 48"/>
                    <a:gd name="T44" fmla="*/ 7 w 23"/>
                    <a:gd name="T45" fmla="*/ 3 h 48"/>
                    <a:gd name="T46" fmla="*/ 7 w 23"/>
                    <a:gd name="T47" fmla="*/ 1 h 48"/>
                    <a:gd name="T48" fmla="*/ 6 w 23"/>
                    <a:gd name="T49" fmla="*/ 1 h 48"/>
                    <a:gd name="T50" fmla="*/ 5 w 23"/>
                    <a:gd name="T51" fmla="*/ 1 h 48"/>
                    <a:gd name="T52" fmla="*/ 5 w 23"/>
                    <a:gd name="T53" fmla="*/ 1 h 48"/>
                    <a:gd name="T54" fmla="*/ 5 w 23"/>
                    <a:gd name="T55" fmla="*/ 3 h 48"/>
                    <a:gd name="T56" fmla="*/ 6 w 23"/>
                    <a:gd name="T57" fmla="*/ 5 h 48"/>
                    <a:gd name="T58" fmla="*/ 6 w 23"/>
                    <a:gd name="T59" fmla="*/ 8 h 48"/>
                    <a:gd name="T60" fmla="*/ 7 w 23"/>
                    <a:gd name="T61" fmla="*/ 12 h 48"/>
                    <a:gd name="T62" fmla="*/ 8 w 23"/>
                    <a:gd name="T63" fmla="*/ 17 h 48"/>
                    <a:gd name="T64" fmla="*/ 10 w 23"/>
                    <a:gd name="T65" fmla="*/ 23 h 48"/>
                    <a:gd name="T66" fmla="*/ 10 w 23"/>
                    <a:gd name="T67" fmla="*/ 23 h 48"/>
                    <a:gd name="T68" fmla="*/ 10 w 23"/>
                    <a:gd name="T69" fmla="*/ 23 h 48"/>
                    <a:gd name="T70" fmla="*/ 10 w 23"/>
                    <a:gd name="T71" fmla="*/ 23 h 48"/>
                    <a:gd name="T72" fmla="*/ 10 w 23"/>
                    <a:gd name="T73" fmla="*/ 23 h 48"/>
                    <a:gd name="T74" fmla="*/ 10 w 23"/>
                    <a:gd name="T75" fmla="*/ 23 h 48"/>
                    <a:gd name="T76" fmla="*/ 11 w 23"/>
                    <a:gd name="T77" fmla="*/ 23 h 48"/>
                    <a:gd name="T78" fmla="*/ 11 w 23"/>
                    <a:gd name="T79" fmla="*/ 23 h 48"/>
                    <a:gd name="T80" fmla="*/ 11 w 23"/>
                    <a:gd name="T81" fmla="*/ 23 h 48"/>
                    <a:gd name="T82" fmla="*/ 11 w 23"/>
                    <a:gd name="T83" fmla="*/ 23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3" h="48">
                      <a:moveTo>
                        <a:pt x="22" y="44"/>
                      </a:moveTo>
                      <a:lnTo>
                        <a:pt x="23" y="45"/>
                      </a:lnTo>
                      <a:lnTo>
                        <a:pt x="21" y="39"/>
                      </a:lnTo>
                      <a:lnTo>
                        <a:pt x="19" y="33"/>
                      </a:lnTo>
                      <a:lnTo>
                        <a:pt x="18" y="28"/>
                      </a:lnTo>
                      <a:lnTo>
                        <a:pt x="17" y="23"/>
                      </a:lnTo>
                      <a:lnTo>
                        <a:pt x="16" y="18"/>
                      </a:lnTo>
                      <a:lnTo>
                        <a:pt x="15" y="15"/>
                      </a:lnTo>
                      <a:lnTo>
                        <a:pt x="14" y="12"/>
                      </a:lnTo>
                      <a:lnTo>
                        <a:pt x="14" y="9"/>
                      </a:lnTo>
                      <a:lnTo>
                        <a:pt x="14" y="7"/>
                      </a:lnTo>
                      <a:lnTo>
                        <a:pt x="13" y="5"/>
                      </a:lnTo>
                      <a:lnTo>
                        <a:pt x="13" y="4"/>
                      </a:lnTo>
                      <a:lnTo>
                        <a:pt x="13" y="3"/>
                      </a:lnTo>
                      <a:lnTo>
                        <a:pt x="13" y="2"/>
                      </a:lnTo>
                      <a:lnTo>
                        <a:pt x="12" y="4"/>
                      </a:lnTo>
                      <a:lnTo>
                        <a:pt x="11" y="3"/>
                      </a:lnTo>
                      <a:lnTo>
                        <a:pt x="11" y="2"/>
                      </a:lnTo>
                      <a:lnTo>
                        <a:pt x="11" y="3"/>
                      </a:lnTo>
                      <a:lnTo>
                        <a:pt x="11" y="4"/>
                      </a:lnTo>
                      <a:lnTo>
                        <a:pt x="11" y="5"/>
                      </a:lnTo>
                      <a:lnTo>
                        <a:pt x="10" y="6"/>
                      </a:lnTo>
                      <a:lnTo>
                        <a:pt x="10" y="8"/>
                      </a:lnTo>
                      <a:lnTo>
                        <a:pt x="10" y="9"/>
                      </a:lnTo>
                      <a:lnTo>
                        <a:pt x="9" y="10"/>
                      </a:lnTo>
                      <a:lnTo>
                        <a:pt x="8" y="12"/>
                      </a:lnTo>
                      <a:lnTo>
                        <a:pt x="8" y="13"/>
                      </a:lnTo>
                      <a:lnTo>
                        <a:pt x="7" y="15"/>
                      </a:lnTo>
                      <a:lnTo>
                        <a:pt x="5" y="17"/>
                      </a:lnTo>
                      <a:lnTo>
                        <a:pt x="4" y="18"/>
                      </a:lnTo>
                      <a:lnTo>
                        <a:pt x="3" y="20"/>
                      </a:lnTo>
                      <a:lnTo>
                        <a:pt x="0" y="21"/>
                      </a:lnTo>
                      <a:lnTo>
                        <a:pt x="2" y="24"/>
                      </a:lnTo>
                      <a:lnTo>
                        <a:pt x="4" y="22"/>
                      </a:lnTo>
                      <a:lnTo>
                        <a:pt x="6" y="21"/>
                      </a:lnTo>
                      <a:lnTo>
                        <a:pt x="8" y="20"/>
                      </a:lnTo>
                      <a:lnTo>
                        <a:pt x="9" y="18"/>
                      </a:lnTo>
                      <a:lnTo>
                        <a:pt x="10" y="16"/>
                      </a:lnTo>
                      <a:lnTo>
                        <a:pt x="11" y="14"/>
                      </a:lnTo>
                      <a:lnTo>
                        <a:pt x="12" y="12"/>
                      </a:lnTo>
                      <a:lnTo>
                        <a:pt x="12" y="10"/>
                      </a:lnTo>
                      <a:lnTo>
                        <a:pt x="13" y="9"/>
                      </a:lnTo>
                      <a:lnTo>
                        <a:pt x="13" y="7"/>
                      </a:lnTo>
                      <a:lnTo>
                        <a:pt x="14" y="6"/>
                      </a:lnTo>
                      <a:lnTo>
                        <a:pt x="14" y="5"/>
                      </a:lnTo>
                      <a:lnTo>
                        <a:pt x="14" y="4"/>
                      </a:lnTo>
                      <a:lnTo>
                        <a:pt x="14" y="2"/>
                      </a:lnTo>
                      <a:lnTo>
                        <a:pt x="13" y="1"/>
                      </a:lnTo>
                      <a:lnTo>
                        <a:pt x="12" y="0"/>
                      </a:lnTo>
                      <a:lnTo>
                        <a:pt x="10" y="1"/>
                      </a:lnTo>
                      <a:lnTo>
                        <a:pt x="10" y="2"/>
                      </a:lnTo>
                      <a:lnTo>
                        <a:pt x="10" y="3"/>
                      </a:lnTo>
                      <a:lnTo>
                        <a:pt x="10" y="4"/>
                      </a:lnTo>
                      <a:lnTo>
                        <a:pt x="10" y="6"/>
                      </a:lnTo>
                      <a:lnTo>
                        <a:pt x="11" y="8"/>
                      </a:lnTo>
                      <a:lnTo>
                        <a:pt x="11" y="10"/>
                      </a:lnTo>
                      <a:lnTo>
                        <a:pt x="12" y="13"/>
                      </a:lnTo>
                      <a:lnTo>
                        <a:pt x="12" y="16"/>
                      </a:lnTo>
                      <a:lnTo>
                        <a:pt x="13" y="20"/>
                      </a:lnTo>
                      <a:lnTo>
                        <a:pt x="14" y="24"/>
                      </a:lnTo>
                      <a:lnTo>
                        <a:pt x="15" y="29"/>
                      </a:lnTo>
                      <a:lnTo>
                        <a:pt x="16" y="34"/>
                      </a:lnTo>
                      <a:lnTo>
                        <a:pt x="18" y="40"/>
                      </a:lnTo>
                      <a:lnTo>
                        <a:pt x="20" y="46"/>
                      </a:lnTo>
                      <a:lnTo>
                        <a:pt x="20" y="47"/>
                      </a:lnTo>
                      <a:lnTo>
                        <a:pt x="20" y="46"/>
                      </a:lnTo>
                      <a:lnTo>
                        <a:pt x="20" y="47"/>
                      </a:lnTo>
                      <a:lnTo>
                        <a:pt x="21" y="47"/>
                      </a:lnTo>
                      <a:lnTo>
                        <a:pt x="21" y="48"/>
                      </a:lnTo>
                      <a:lnTo>
                        <a:pt x="22" y="47"/>
                      </a:lnTo>
                      <a:lnTo>
                        <a:pt x="23" y="47"/>
                      </a:lnTo>
                      <a:lnTo>
                        <a:pt x="23" y="46"/>
                      </a:lnTo>
                      <a:lnTo>
                        <a:pt x="23" y="45"/>
                      </a:lnTo>
                      <a:lnTo>
                        <a:pt x="22"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89" name="Freeform 881">
                  <a:extLst>
                    <a:ext uri="{FF2B5EF4-FFF2-40B4-BE49-F238E27FC236}">
                      <a16:creationId xmlns:a16="http://schemas.microsoft.com/office/drawing/2014/main" id="{52C8D979-12A2-D0F8-E80F-0E33451EDA9D}"/>
                    </a:ext>
                  </a:extLst>
                </p:cNvPr>
                <p:cNvSpPr>
                  <a:spLocks/>
                </p:cNvSpPr>
                <p:nvPr/>
              </p:nvSpPr>
              <p:spPr bwMode="auto">
                <a:xfrm>
                  <a:off x="396" y="2179"/>
                  <a:ext cx="66" cy="83"/>
                </a:xfrm>
                <a:custGeom>
                  <a:avLst/>
                  <a:gdLst>
                    <a:gd name="T0" fmla="*/ 44 w 95"/>
                    <a:gd name="T1" fmla="*/ 57 h 116"/>
                    <a:gd name="T2" fmla="*/ 42 w 95"/>
                    <a:gd name="T3" fmla="*/ 57 h 116"/>
                    <a:gd name="T4" fmla="*/ 40 w 95"/>
                    <a:gd name="T5" fmla="*/ 57 h 116"/>
                    <a:gd name="T6" fmla="*/ 38 w 95"/>
                    <a:gd name="T7" fmla="*/ 56 h 116"/>
                    <a:gd name="T8" fmla="*/ 35 w 95"/>
                    <a:gd name="T9" fmla="*/ 53 h 116"/>
                    <a:gd name="T10" fmla="*/ 33 w 95"/>
                    <a:gd name="T11" fmla="*/ 49 h 116"/>
                    <a:gd name="T12" fmla="*/ 29 w 95"/>
                    <a:gd name="T13" fmla="*/ 46 h 116"/>
                    <a:gd name="T14" fmla="*/ 26 w 95"/>
                    <a:gd name="T15" fmla="*/ 41 h 116"/>
                    <a:gd name="T16" fmla="*/ 23 w 95"/>
                    <a:gd name="T17" fmla="*/ 36 h 116"/>
                    <a:gd name="T18" fmla="*/ 19 w 95"/>
                    <a:gd name="T19" fmla="*/ 31 h 116"/>
                    <a:gd name="T20" fmla="*/ 17 w 95"/>
                    <a:gd name="T21" fmla="*/ 25 h 116"/>
                    <a:gd name="T22" fmla="*/ 13 w 95"/>
                    <a:gd name="T23" fmla="*/ 19 h 116"/>
                    <a:gd name="T24" fmla="*/ 10 w 95"/>
                    <a:gd name="T25" fmla="*/ 14 h 116"/>
                    <a:gd name="T26" fmla="*/ 7 w 95"/>
                    <a:gd name="T27" fmla="*/ 9 h 116"/>
                    <a:gd name="T28" fmla="*/ 5 w 95"/>
                    <a:gd name="T29" fmla="*/ 5 h 116"/>
                    <a:gd name="T30" fmla="*/ 2 w 95"/>
                    <a:gd name="T31" fmla="*/ 1 h 116"/>
                    <a:gd name="T32" fmla="*/ 0 w 95"/>
                    <a:gd name="T33" fmla="*/ 1 h 116"/>
                    <a:gd name="T34" fmla="*/ 2 w 95"/>
                    <a:gd name="T35" fmla="*/ 4 h 116"/>
                    <a:gd name="T36" fmla="*/ 5 w 95"/>
                    <a:gd name="T37" fmla="*/ 9 h 116"/>
                    <a:gd name="T38" fmla="*/ 7 w 95"/>
                    <a:gd name="T39" fmla="*/ 14 h 116"/>
                    <a:gd name="T40" fmla="*/ 10 w 95"/>
                    <a:gd name="T41" fmla="*/ 19 h 116"/>
                    <a:gd name="T42" fmla="*/ 13 w 95"/>
                    <a:gd name="T43" fmla="*/ 24 h 116"/>
                    <a:gd name="T44" fmla="*/ 17 w 95"/>
                    <a:gd name="T45" fmla="*/ 29 h 116"/>
                    <a:gd name="T46" fmla="*/ 19 w 95"/>
                    <a:gd name="T47" fmla="*/ 35 h 116"/>
                    <a:gd name="T48" fmla="*/ 23 w 95"/>
                    <a:gd name="T49" fmla="*/ 40 h 116"/>
                    <a:gd name="T50" fmla="*/ 26 w 95"/>
                    <a:gd name="T51" fmla="*/ 45 h 116"/>
                    <a:gd name="T52" fmla="*/ 29 w 95"/>
                    <a:gd name="T53" fmla="*/ 49 h 116"/>
                    <a:gd name="T54" fmla="*/ 33 w 95"/>
                    <a:gd name="T55" fmla="*/ 53 h 116"/>
                    <a:gd name="T56" fmla="*/ 35 w 95"/>
                    <a:gd name="T57" fmla="*/ 57 h 116"/>
                    <a:gd name="T58" fmla="*/ 39 w 95"/>
                    <a:gd name="T59" fmla="*/ 59 h 116"/>
                    <a:gd name="T60" fmla="*/ 41 w 95"/>
                    <a:gd name="T61" fmla="*/ 59 h 116"/>
                    <a:gd name="T62" fmla="*/ 44 w 95"/>
                    <a:gd name="T63" fmla="*/ 59 h 116"/>
                    <a:gd name="T64" fmla="*/ 46 w 95"/>
                    <a:gd name="T65" fmla="*/ 57 h 116"/>
                    <a:gd name="T66" fmla="*/ 46 w 95"/>
                    <a:gd name="T67" fmla="*/ 57 h 116"/>
                    <a:gd name="T68" fmla="*/ 46 w 95"/>
                    <a:gd name="T69" fmla="*/ 57 h 116"/>
                    <a:gd name="T70" fmla="*/ 46 w 95"/>
                    <a:gd name="T71" fmla="*/ 57 h 116"/>
                    <a:gd name="T72" fmla="*/ 46 w 95"/>
                    <a:gd name="T73" fmla="*/ 56 h 116"/>
                    <a:gd name="T74" fmla="*/ 45 w 95"/>
                    <a:gd name="T75" fmla="*/ 56 h 116"/>
                    <a:gd name="T76" fmla="*/ 45 w 95"/>
                    <a:gd name="T77" fmla="*/ 55 h 116"/>
                    <a:gd name="T78" fmla="*/ 45 w 95"/>
                    <a:gd name="T79" fmla="*/ 56 h 116"/>
                    <a:gd name="T80" fmla="*/ 45 w 95"/>
                    <a:gd name="T81" fmla="*/ 56 h 1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5" h="116">
                      <a:moveTo>
                        <a:pt x="93" y="109"/>
                      </a:moveTo>
                      <a:lnTo>
                        <a:pt x="91" y="110"/>
                      </a:lnTo>
                      <a:lnTo>
                        <a:pt x="89" y="112"/>
                      </a:lnTo>
                      <a:lnTo>
                        <a:pt x="87" y="112"/>
                      </a:lnTo>
                      <a:lnTo>
                        <a:pt x="85" y="112"/>
                      </a:lnTo>
                      <a:lnTo>
                        <a:pt x="84" y="111"/>
                      </a:lnTo>
                      <a:lnTo>
                        <a:pt x="81" y="110"/>
                      </a:lnTo>
                      <a:lnTo>
                        <a:pt x="79" y="109"/>
                      </a:lnTo>
                      <a:lnTo>
                        <a:pt x="75" y="107"/>
                      </a:lnTo>
                      <a:lnTo>
                        <a:pt x="73" y="104"/>
                      </a:lnTo>
                      <a:lnTo>
                        <a:pt x="70" y="100"/>
                      </a:lnTo>
                      <a:lnTo>
                        <a:pt x="67" y="97"/>
                      </a:lnTo>
                      <a:lnTo>
                        <a:pt x="64" y="93"/>
                      </a:lnTo>
                      <a:lnTo>
                        <a:pt x="60" y="90"/>
                      </a:lnTo>
                      <a:lnTo>
                        <a:pt x="57" y="85"/>
                      </a:lnTo>
                      <a:lnTo>
                        <a:pt x="54" y="80"/>
                      </a:lnTo>
                      <a:lnTo>
                        <a:pt x="50" y="75"/>
                      </a:lnTo>
                      <a:lnTo>
                        <a:pt x="47" y="70"/>
                      </a:lnTo>
                      <a:lnTo>
                        <a:pt x="43" y="65"/>
                      </a:lnTo>
                      <a:lnTo>
                        <a:pt x="40" y="60"/>
                      </a:lnTo>
                      <a:lnTo>
                        <a:pt x="37" y="54"/>
                      </a:lnTo>
                      <a:lnTo>
                        <a:pt x="34" y="49"/>
                      </a:lnTo>
                      <a:lnTo>
                        <a:pt x="30" y="43"/>
                      </a:lnTo>
                      <a:lnTo>
                        <a:pt x="27" y="38"/>
                      </a:lnTo>
                      <a:lnTo>
                        <a:pt x="24" y="33"/>
                      </a:lnTo>
                      <a:lnTo>
                        <a:pt x="21" y="28"/>
                      </a:lnTo>
                      <a:lnTo>
                        <a:pt x="18" y="23"/>
                      </a:lnTo>
                      <a:lnTo>
                        <a:pt x="15" y="18"/>
                      </a:lnTo>
                      <a:lnTo>
                        <a:pt x="12" y="14"/>
                      </a:lnTo>
                      <a:lnTo>
                        <a:pt x="10" y="10"/>
                      </a:lnTo>
                      <a:lnTo>
                        <a:pt x="7" y="6"/>
                      </a:lnTo>
                      <a:lnTo>
                        <a:pt x="4" y="3"/>
                      </a:lnTo>
                      <a:lnTo>
                        <a:pt x="2" y="0"/>
                      </a:lnTo>
                      <a:lnTo>
                        <a:pt x="0" y="2"/>
                      </a:lnTo>
                      <a:lnTo>
                        <a:pt x="2" y="6"/>
                      </a:lnTo>
                      <a:lnTo>
                        <a:pt x="4" y="9"/>
                      </a:lnTo>
                      <a:lnTo>
                        <a:pt x="7" y="12"/>
                      </a:lnTo>
                      <a:lnTo>
                        <a:pt x="10" y="17"/>
                      </a:lnTo>
                      <a:lnTo>
                        <a:pt x="12" y="21"/>
                      </a:lnTo>
                      <a:lnTo>
                        <a:pt x="15" y="26"/>
                      </a:lnTo>
                      <a:lnTo>
                        <a:pt x="18" y="31"/>
                      </a:lnTo>
                      <a:lnTo>
                        <a:pt x="22" y="36"/>
                      </a:lnTo>
                      <a:lnTo>
                        <a:pt x="25" y="41"/>
                      </a:lnTo>
                      <a:lnTo>
                        <a:pt x="28" y="46"/>
                      </a:lnTo>
                      <a:lnTo>
                        <a:pt x="31" y="51"/>
                      </a:lnTo>
                      <a:lnTo>
                        <a:pt x="34" y="57"/>
                      </a:lnTo>
                      <a:lnTo>
                        <a:pt x="38" y="62"/>
                      </a:lnTo>
                      <a:lnTo>
                        <a:pt x="41" y="68"/>
                      </a:lnTo>
                      <a:lnTo>
                        <a:pt x="45" y="72"/>
                      </a:lnTo>
                      <a:lnTo>
                        <a:pt x="48" y="78"/>
                      </a:lnTo>
                      <a:lnTo>
                        <a:pt x="52" y="83"/>
                      </a:lnTo>
                      <a:lnTo>
                        <a:pt x="55" y="88"/>
                      </a:lnTo>
                      <a:lnTo>
                        <a:pt x="58" y="92"/>
                      </a:lnTo>
                      <a:lnTo>
                        <a:pt x="61" y="96"/>
                      </a:lnTo>
                      <a:lnTo>
                        <a:pt x="65" y="100"/>
                      </a:lnTo>
                      <a:lnTo>
                        <a:pt x="68" y="104"/>
                      </a:lnTo>
                      <a:lnTo>
                        <a:pt x="71" y="107"/>
                      </a:lnTo>
                      <a:lnTo>
                        <a:pt x="74" y="110"/>
                      </a:lnTo>
                      <a:lnTo>
                        <a:pt x="77" y="112"/>
                      </a:lnTo>
                      <a:lnTo>
                        <a:pt x="80" y="114"/>
                      </a:lnTo>
                      <a:lnTo>
                        <a:pt x="82" y="115"/>
                      </a:lnTo>
                      <a:lnTo>
                        <a:pt x="85" y="116"/>
                      </a:lnTo>
                      <a:lnTo>
                        <a:pt x="88" y="116"/>
                      </a:lnTo>
                      <a:lnTo>
                        <a:pt x="90" y="115"/>
                      </a:lnTo>
                      <a:lnTo>
                        <a:pt x="93" y="114"/>
                      </a:lnTo>
                      <a:lnTo>
                        <a:pt x="95" y="112"/>
                      </a:lnTo>
                      <a:lnTo>
                        <a:pt x="95" y="111"/>
                      </a:lnTo>
                      <a:lnTo>
                        <a:pt x="95" y="110"/>
                      </a:lnTo>
                      <a:lnTo>
                        <a:pt x="95" y="109"/>
                      </a:lnTo>
                      <a:lnTo>
                        <a:pt x="94" y="109"/>
                      </a:lnTo>
                      <a:lnTo>
                        <a:pt x="94" y="108"/>
                      </a:lnTo>
                      <a:lnTo>
                        <a:pt x="94" y="109"/>
                      </a:lnTo>
                      <a:lnTo>
                        <a:pt x="93" y="1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0" name="Freeform 882">
                  <a:extLst>
                    <a:ext uri="{FF2B5EF4-FFF2-40B4-BE49-F238E27FC236}">
                      <a16:creationId xmlns:a16="http://schemas.microsoft.com/office/drawing/2014/main" id="{C099A71B-79AD-19DA-6A61-CA3A7EDBD1E5}"/>
                    </a:ext>
                  </a:extLst>
                </p:cNvPr>
                <p:cNvSpPr>
                  <a:spLocks/>
                </p:cNvSpPr>
                <p:nvPr/>
              </p:nvSpPr>
              <p:spPr bwMode="auto">
                <a:xfrm>
                  <a:off x="462" y="2238"/>
                  <a:ext cx="15" cy="21"/>
                </a:xfrm>
                <a:custGeom>
                  <a:avLst/>
                  <a:gdLst>
                    <a:gd name="T0" fmla="*/ 10 w 21"/>
                    <a:gd name="T1" fmla="*/ 1 h 29"/>
                    <a:gd name="T2" fmla="*/ 9 w 21"/>
                    <a:gd name="T3" fmla="*/ 1 h 29"/>
                    <a:gd name="T4" fmla="*/ 0 w 21"/>
                    <a:gd name="T5" fmla="*/ 14 h 29"/>
                    <a:gd name="T6" fmla="*/ 1 w 21"/>
                    <a:gd name="T7" fmla="*/ 15 h 29"/>
                    <a:gd name="T8" fmla="*/ 10 w 21"/>
                    <a:gd name="T9" fmla="*/ 2 h 29"/>
                    <a:gd name="T10" fmla="*/ 9 w 21"/>
                    <a:gd name="T11" fmla="*/ 2 h 29"/>
                    <a:gd name="T12" fmla="*/ 10 w 21"/>
                    <a:gd name="T13" fmla="*/ 2 h 29"/>
                    <a:gd name="T14" fmla="*/ 10 w 21"/>
                    <a:gd name="T15" fmla="*/ 2 h 29"/>
                    <a:gd name="T16" fmla="*/ 10 w 21"/>
                    <a:gd name="T17" fmla="*/ 1 h 29"/>
                    <a:gd name="T18" fmla="*/ 11 w 21"/>
                    <a:gd name="T19" fmla="*/ 1 h 29"/>
                    <a:gd name="T20" fmla="*/ 11 w 21"/>
                    <a:gd name="T21" fmla="*/ 1 h 29"/>
                    <a:gd name="T22" fmla="*/ 10 w 21"/>
                    <a:gd name="T23" fmla="*/ 1 h 29"/>
                    <a:gd name="T24" fmla="*/ 10 w 21"/>
                    <a:gd name="T25" fmla="*/ 1 h 29"/>
                    <a:gd name="T26" fmla="*/ 10 w 21"/>
                    <a:gd name="T27" fmla="*/ 1 h 29"/>
                    <a:gd name="T28" fmla="*/ 10 w 21"/>
                    <a:gd name="T29" fmla="*/ 1 h 29"/>
                    <a:gd name="T30" fmla="*/ 10 w 21"/>
                    <a:gd name="T31" fmla="*/ 0 h 29"/>
                    <a:gd name="T32" fmla="*/ 10 w 21"/>
                    <a:gd name="T33" fmla="*/ 0 h 29"/>
                    <a:gd name="T34" fmla="*/ 10 w 21"/>
                    <a:gd name="T35" fmla="*/ 0 h 29"/>
                    <a:gd name="T36" fmla="*/ 10 w 21"/>
                    <a:gd name="T37" fmla="*/ 0 h 29"/>
                    <a:gd name="T38" fmla="*/ 9 w 21"/>
                    <a:gd name="T39" fmla="*/ 0 h 29"/>
                    <a:gd name="T40" fmla="*/ 9 w 21"/>
                    <a:gd name="T41" fmla="*/ 0 h 29"/>
                    <a:gd name="T42" fmla="*/ 9 w 21"/>
                    <a:gd name="T43" fmla="*/ 0 h 29"/>
                    <a:gd name="T44" fmla="*/ 9 w 21"/>
                    <a:gd name="T45" fmla="*/ 0 h 29"/>
                    <a:gd name="T46" fmla="*/ 9 w 21"/>
                    <a:gd name="T47" fmla="*/ 1 h 29"/>
                    <a:gd name="T48" fmla="*/ 10 w 21"/>
                    <a:gd name="T49" fmla="*/ 1 h 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 h="29">
                      <a:moveTo>
                        <a:pt x="20" y="1"/>
                      </a:moveTo>
                      <a:lnTo>
                        <a:pt x="18" y="1"/>
                      </a:lnTo>
                      <a:lnTo>
                        <a:pt x="0" y="26"/>
                      </a:lnTo>
                      <a:lnTo>
                        <a:pt x="2" y="29"/>
                      </a:lnTo>
                      <a:lnTo>
                        <a:pt x="20" y="4"/>
                      </a:lnTo>
                      <a:lnTo>
                        <a:pt x="18" y="4"/>
                      </a:lnTo>
                      <a:lnTo>
                        <a:pt x="20" y="4"/>
                      </a:lnTo>
                      <a:lnTo>
                        <a:pt x="20" y="3"/>
                      </a:lnTo>
                      <a:lnTo>
                        <a:pt x="21" y="2"/>
                      </a:lnTo>
                      <a:lnTo>
                        <a:pt x="20" y="2"/>
                      </a:lnTo>
                      <a:lnTo>
                        <a:pt x="20" y="1"/>
                      </a:lnTo>
                      <a:lnTo>
                        <a:pt x="20" y="0"/>
                      </a:lnTo>
                      <a:lnTo>
                        <a:pt x="19" y="0"/>
                      </a:lnTo>
                      <a:lnTo>
                        <a:pt x="18" y="0"/>
                      </a:lnTo>
                      <a:lnTo>
                        <a:pt x="18" y="1"/>
                      </a:lnTo>
                      <a:lnTo>
                        <a:pt x="2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1" name="Freeform 883">
                  <a:extLst>
                    <a:ext uri="{FF2B5EF4-FFF2-40B4-BE49-F238E27FC236}">
                      <a16:creationId xmlns:a16="http://schemas.microsoft.com/office/drawing/2014/main" id="{1B3CE0E0-184D-D567-750E-A1C9A27F2F77}"/>
                    </a:ext>
                  </a:extLst>
                </p:cNvPr>
                <p:cNvSpPr>
                  <a:spLocks/>
                </p:cNvSpPr>
                <p:nvPr/>
              </p:nvSpPr>
              <p:spPr bwMode="auto">
                <a:xfrm>
                  <a:off x="473" y="2239"/>
                  <a:ext cx="16" cy="20"/>
                </a:xfrm>
                <a:custGeom>
                  <a:avLst/>
                  <a:gdLst>
                    <a:gd name="T0" fmla="*/ 11 w 22"/>
                    <a:gd name="T1" fmla="*/ 12 h 29"/>
                    <a:gd name="T2" fmla="*/ 1 w 22"/>
                    <a:gd name="T3" fmla="*/ 0 h 29"/>
                    <a:gd name="T4" fmla="*/ 0 w 22"/>
                    <a:gd name="T5" fmla="*/ 1 h 29"/>
                    <a:gd name="T6" fmla="*/ 10 w 22"/>
                    <a:gd name="T7" fmla="*/ 13 h 29"/>
                    <a:gd name="T8" fmla="*/ 11 w 22"/>
                    <a:gd name="T9" fmla="*/ 13 h 29"/>
                    <a:gd name="T10" fmla="*/ 11 w 22"/>
                    <a:gd name="T11" fmla="*/ 13 h 29"/>
                    <a:gd name="T12" fmla="*/ 11 w 22"/>
                    <a:gd name="T13" fmla="*/ 14 h 29"/>
                    <a:gd name="T14" fmla="*/ 11 w 22"/>
                    <a:gd name="T15" fmla="*/ 14 h 29"/>
                    <a:gd name="T16" fmla="*/ 11 w 22"/>
                    <a:gd name="T17" fmla="*/ 13 h 29"/>
                    <a:gd name="T18" fmla="*/ 11 w 22"/>
                    <a:gd name="T19" fmla="*/ 13 h 29"/>
                    <a:gd name="T20" fmla="*/ 11 w 22"/>
                    <a:gd name="T21" fmla="*/ 13 h 29"/>
                    <a:gd name="T22" fmla="*/ 12 w 22"/>
                    <a:gd name="T23" fmla="*/ 13 h 29"/>
                    <a:gd name="T24" fmla="*/ 12 w 22"/>
                    <a:gd name="T25" fmla="*/ 13 h 29"/>
                    <a:gd name="T26" fmla="*/ 12 w 22"/>
                    <a:gd name="T27" fmla="*/ 13 h 29"/>
                    <a:gd name="T28" fmla="*/ 12 w 22"/>
                    <a:gd name="T29" fmla="*/ 12 h 29"/>
                    <a:gd name="T30" fmla="*/ 12 w 22"/>
                    <a:gd name="T31" fmla="*/ 12 h 29"/>
                    <a:gd name="T32" fmla="*/ 12 w 22"/>
                    <a:gd name="T33" fmla="*/ 12 h 29"/>
                    <a:gd name="T34" fmla="*/ 11 w 22"/>
                    <a:gd name="T35" fmla="*/ 12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9">
                      <a:moveTo>
                        <a:pt x="21" y="25"/>
                      </a:moveTo>
                      <a:lnTo>
                        <a:pt x="2" y="0"/>
                      </a:lnTo>
                      <a:lnTo>
                        <a:pt x="0" y="3"/>
                      </a:lnTo>
                      <a:lnTo>
                        <a:pt x="19" y="28"/>
                      </a:lnTo>
                      <a:lnTo>
                        <a:pt x="20" y="28"/>
                      </a:lnTo>
                      <a:lnTo>
                        <a:pt x="20" y="29"/>
                      </a:lnTo>
                      <a:lnTo>
                        <a:pt x="21" y="29"/>
                      </a:lnTo>
                      <a:lnTo>
                        <a:pt x="21" y="28"/>
                      </a:lnTo>
                      <a:lnTo>
                        <a:pt x="22" y="27"/>
                      </a:lnTo>
                      <a:lnTo>
                        <a:pt x="22" y="26"/>
                      </a:lnTo>
                      <a:lnTo>
                        <a:pt x="22" y="25"/>
                      </a:lnTo>
                      <a:lnTo>
                        <a:pt x="2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2" name="Freeform 884">
                  <a:extLst>
                    <a:ext uri="{FF2B5EF4-FFF2-40B4-BE49-F238E27FC236}">
                      <a16:creationId xmlns:a16="http://schemas.microsoft.com/office/drawing/2014/main" id="{FC1601CA-26B2-E01D-0074-E439BC26B073}"/>
                    </a:ext>
                  </a:extLst>
                </p:cNvPr>
                <p:cNvSpPr>
                  <a:spLocks/>
                </p:cNvSpPr>
                <p:nvPr/>
              </p:nvSpPr>
              <p:spPr bwMode="auto">
                <a:xfrm>
                  <a:off x="478" y="2257"/>
                  <a:ext cx="17" cy="31"/>
                </a:xfrm>
                <a:custGeom>
                  <a:avLst/>
                  <a:gdLst>
                    <a:gd name="T0" fmla="*/ 10 w 25"/>
                    <a:gd name="T1" fmla="*/ 5 h 44"/>
                    <a:gd name="T2" fmla="*/ 7 w 25"/>
                    <a:gd name="T3" fmla="*/ 11 h 44"/>
                    <a:gd name="T4" fmla="*/ 3 w 25"/>
                    <a:gd name="T5" fmla="*/ 15 h 44"/>
                    <a:gd name="T6" fmla="*/ 2 w 25"/>
                    <a:gd name="T7" fmla="*/ 18 h 44"/>
                    <a:gd name="T8" fmla="*/ 1 w 25"/>
                    <a:gd name="T9" fmla="*/ 20 h 44"/>
                    <a:gd name="T10" fmla="*/ 0 w 25"/>
                    <a:gd name="T11" fmla="*/ 21 h 44"/>
                    <a:gd name="T12" fmla="*/ 1 w 25"/>
                    <a:gd name="T13" fmla="*/ 22 h 44"/>
                    <a:gd name="T14" fmla="*/ 2 w 25"/>
                    <a:gd name="T15" fmla="*/ 20 h 44"/>
                    <a:gd name="T16" fmla="*/ 3 w 25"/>
                    <a:gd name="T17" fmla="*/ 18 h 44"/>
                    <a:gd name="T18" fmla="*/ 4 w 25"/>
                    <a:gd name="T19" fmla="*/ 16 h 44"/>
                    <a:gd name="T20" fmla="*/ 5 w 25"/>
                    <a:gd name="T21" fmla="*/ 14 h 44"/>
                    <a:gd name="T22" fmla="*/ 7 w 25"/>
                    <a:gd name="T23" fmla="*/ 11 h 44"/>
                    <a:gd name="T24" fmla="*/ 7 w 25"/>
                    <a:gd name="T25" fmla="*/ 8 h 44"/>
                    <a:gd name="T26" fmla="*/ 8 w 25"/>
                    <a:gd name="T27" fmla="*/ 6 h 44"/>
                    <a:gd name="T28" fmla="*/ 8 w 25"/>
                    <a:gd name="T29" fmla="*/ 3 h 44"/>
                    <a:gd name="T30" fmla="*/ 8 w 25"/>
                    <a:gd name="T31" fmla="*/ 1 h 44"/>
                    <a:gd name="T32" fmla="*/ 7 w 25"/>
                    <a:gd name="T33" fmla="*/ 1 h 44"/>
                    <a:gd name="T34" fmla="*/ 7 w 25"/>
                    <a:gd name="T35" fmla="*/ 3 h 44"/>
                    <a:gd name="T36" fmla="*/ 7 w 25"/>
                    <a:gd name="T37" fmla="*/ 4 h 44"/>
                    <a:gd name="T38" fmla="*/ 7 w 25"/>
                    <a:gd name="T39" fmla="*/ 6 h 44"/>
                    <a:gd name="T40" fmla="*/ 5 w 25"/>
                    <a:gd name="T41" fmla="*/ 9 h 44"/>
                    <a:gd name="T42" fmla="*/ 5 w 25"/>
                    <a:gd name="T43" fmla="*/ 11 h 44"/>
                    <a:gd name="T44" fmla="*/ 3 w 25"/>
                    <a:gd name="T45" fmla="*/ 14 h 44"/>
                    <a:gd name="T46" fmla="*/ 2 w 25"/>
                    <a:gd name="T47" fmla="*/ 16 h 44"/>
                    <a:gd name="T48" fmla="*/ 1 w 25"/>
                    <a:gd name="T49" fmla="*/ 18 h 44"/>
                    <a:gd name="T50" fmla="*/ 1 w 25"/>
                    <a:gd name="T51" fmla="*/ 20 h 44"/>
                    <a:gd name="T52" fmla="*/ 0 w 25"/>
                    <a:gd name="T53" fmla="*/ 21 h 44"/>
                    <a:gd name="T54" fmla="*/ 1 w 25"/>
                    <a:gd name="T55" fmla="*/ 22 h 44"/>
                    <a:gd name="T56" fmla="*/ 2 w 25"/>
                    <a:gd name="T57" fmla="*/ 21 h 44"/>
                    <a:gd name="T58" fmla="*/ 3 w 25"/>
                    <a:gd name="T59" fmla="*/ 20 h 44"/>
                    <a:gd name="T60" fmla="*/ 5 w 25"/>
                    <a:gd name="T61" fmla="*/ 16 h 44"/>
                    <a:gd name="T62" fmla="*/ 7 w 25"/>
                    <a:gd name="T63" fmla="*/ 12 h 44"/>
                    <a:gd name="T64" fmla="*/ 12 w 25"/>
                    <a:gd name="T65" fmla="*/ 6 h 44"/>
                    <a:gd name="T66" fmla="*/ 12 w 25"/>
                    <a:gd name="T67" fmla="*/ 6 h 44"/>
                    <a:gd name="T68" fmla="*/ 12 w 25"/>
                    <a:gd name="T69" fmla="*/ 6 h 44"/>
                    <a:gd name="T70" fmla="*/ 12 w 25"/>
                    <a:gd name="T71" fmla="*/ 6 h 44"/>
                    <a:gd name="T72" fmla="*/ 12 w 25"/>
                    <a:gd name="T73" fmla="*/ 6 h 44"/>
                    <a:gd name="T74" fmla="*/ 12 w 25"/>
                    <a:gd name="T75" fmla="*/ 6 h 44"/>
                    <a:gd name="T76" fmla="*/ 11 w 25"/>
                    <a:gd name="T77" fmla="*/ 5 h 44"/>
                    <a:gd name="T78" fmla="*/ 11 w 25"/>
                    <a:gd name="T79" fmla="*/ 5 h 44"/>
                    <a:gd name="T80" fmla="*/ 11 w 25"/>
                    <a:gd name="T81" fmla="*/ 5 h 44"/>
                    <a:gd name="T82" fmla="*/ 11 w 25"/>
                    <a:gd name="T83" fmla="*/ 5 h 44"/>
                    <a:gd name="T84" fmla="*/ 10 w 25"/>
                    <a:gd name="T85" fmla="*/ 5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 h="44">
                      <a:moveTo>
                        <a:pt x="25" y="11"/>
                      </a:moveTo>
                      <a:lnTo>
                        <a:pt x="22" y="10"/>
                      </a:lnTo>
                      <a:lnTo>
                        <a:pt x="18" y="16"/>
                      </a:lnTo>
                      <a:lnTo>
                        <a:pt x="14" y="22"/>
                      </a:lnTo>
                      <a:lnTo>
                        <a:pt x="11" y="27"/>
                      </a:lnTo>
                      <a:lnTo>
                        <a:pt x="8" y="30"/>
                      </a:lnTo>
                      <a:lnTo>
                        <a:pt x="5" y="34"/>
                      </a:lnTo>
                      <a:lnTo>
                        <a:pt x="4" y="37"/>
                      </a:lnTo>
                      <a:lnTo>
                        <a:pt x="2" y="38"/>
                      </a:lnTo>
                      <a:lnTo>
                        <a:pt x="1" y="40"/>
                      </a:lnTo>
                      <a:lnTo>
                        <a:pt x="0" y="41"/>
                      </a:lnTo>
                      <a:lnTo>
                        <a:pt x="0" y="42"/>
                      </a:lnTo>
                      <a:lnTo>
                        <a:pt x="3" y="44"/>
                      </a:lnTo>
                      <a:lnTo>
                        <a:pt x="4" y="42"/>
                      </a:lnTo>
                      <a:lnTo>
                        <a:pt x="4" y="41"/>
                      </a:lnTo>
                      <a:lnTo>
                        <a:pt x="5" y="40"/>
                      </a:lnTo>
                      <a:lnTo>
                        <a:pt x="7" y="37"/>
                      </a:lnTo>
                      <a:lnTo>
                        <a:pt x="8" y="35"/>
                      </a:lnTo>
                      <a:lnTo>
                        <a:pt x="9" y="32"/>
                      </a:lnTo>
                      <a:lnTo>
                        <a:pt x="11" y="30"/>
                      </a:lnTo>
                      <a:lnTo>
                        <a:pt x="12" y="28"/>
                      </a:lnTo>
                      <a:lnTo>
                        <a:pt x="13" y="24"/>
                      </a:lnTo>
                      <a:lnTo>
                        <a:pt x="14" y="22"/>
                      </a:lnTo>
                      <a:lnTo>
                        <a:pt x="15" y="20"/>
                      </a:lnTo>
                      <a:lnTo>
                        <a:pt x="16" y="16"/>
                      </a:lnTo>
                      <a:lnTo>
                        <a:pt x="17" y="14"/>
                      </a:lnTo>
                      <a:lnTo>
                        <a:pt x="17" y="11"/>
                      </a:lnTo>
                      <a:lnTo>
                        <a:pt x="18" y="9"/>
                      </a:lnTo>
                      <a:lnTo>
                        <a:pt x="18" y="6"/>
                      </a:lnTo>
                      <a:lnTo>
                        <a:pt x="18" y="4"/>
                      </a:lnTo>
                      <a:lnTo>
                        <a:pt x="17" y="2"/>
                      </a:lnTo>
                      <a:lnTo>
                        <a:pt x="16" y="0"/>
                      </a:lnTo>
                      <a:lnTo>
                        <a:pt x="14" y="3"/>
                      </a:lnTo>
                      <a:lnTo>
                        <a:pt x="15" y="3"/>
                      </a:lnTo>
                      <a:lnTo>
                        <a:pt x="15" y="5"/>
                      </a:lnTo>
                      <a:lnTo>
                        <a:pt x="15" y="6"/>
                      </a:lnTo>
                      <a:lnTo>
                        <a:pt x="15" y="8"/>
                      </a:lnTo>
                      <a:lnTo>
                        <a:pt x="15" y="10"/>
                      </a:lnTo>
                      <a:lnTo>
                        <a:pt x="14" y="12"/>
                      </a:lnTo>
                      <a:lnTo>
                        <a:pt x="13" y="15"/>
                      </a:lnTo>
                      <a:lnTo>
                        <a:pt x="12" y="18"/>
                      </a:lnTo>
                      <a:lnTo>
                        <a:pt x="11" y="20"/>
                      </a:lnTo>
                      <a:lnTo>
                        <a:pt x="10" y="23"/>
                      </a:lnTo>
                      <a:lnTo>
                        <a:pt x="9" y="25"/>
                      </a:lnTo>
                      <a:lnTo>
                        <a:pt x="8" y="28"/>
                      </a:lnTo>
                      <a:lnTo>
                        <a:pt x="7" y="30"/>
                      </a:lnTo>
                      <a:lnTo>
                        <a:pt x="5" y="32"/>
                      </a:lnTo>
                      <a:lnTo>
                        <a:pt x="4" y="35"/>
                      </a:lnTo>
                      <a:lnTo>
                        <a:pt x="3" y="37"/>
                      </a:lnTo>
                      <a:lnTo>
                        <a:pt x="2" y="38"/>
                      </a:lnTo>
                      <a:lnTo>
                        <a:pt x="2" y="40"/>
                      </a:lnTo>
                      <a:lnTo>
                        <a:pt x="1" y="41"/>
                      </a:lnTo>
                      <a:lnTo>
                        <a:pt x="0" y="42"/>
                      </a:lnTo>
                      <a:lnTo>
                        <a:pt x="2" y="44"/>
                      </a:lnTo>
                      <a:lnTo>
                        <a:pt x="3" y="44"/>
                      </a:lnTo>
                      <a:lnTo>
                        <a:pt x="4" y="43"/>
                      </a:lnTo>
                      <a:lnTo>
                        <a:pt x="4" y="42"/>
                      </a:lnTo>
                      <a:lnTo>
                        <a:pt x="6" y="40"/>
                      </a:lnTo>
                      <a:lnTo>
                        <a:pt x="8" y="37"/>
                      </a:lnTo>
                      <a:lnTo>
                        <a:pt x="10" y="33"/>
                      </a:lnTo>
                      <a:lnTo>
                        <a:pt x="13" y="29"/>
                      </a:lnTo>
                      <a:lnTo>
                        <a:pt x="16" y="24"/>
                      </a:lnTo>
                      <a:lnTo>
                        <a:pt x="20" y="20"/>
                      </a:lnTo>
                      <a:lnTo>
                        <a:pt x="25" y="13"/>
                      </a:lnTo>
                      <a:lnTo>
                        <a:pt x="22" y="12"/>
                      </a:lnTo>
                      <a:lnTo>
                        <a:pt x="25" y="13"/>
                      </a:lnTo>
                      <a:lnTo>
                        <a:pt x="25" y="12"/>
                      </a:lnTo>
                      <a:lnTo>
                        <a:pt x="25" y="11"/>
                      </a:lnTo>
                      <a:lnTo>
                        <a:pt x="25" y="10"/>
                      </a:lnTo>
                      <a:lnTo>
                        <a:pt x="24" y="10"/>
                      </a:lnTo>
                      <a:lnTo>
                        <a:pt x="23" y="10"/>
                      </a:lnTo>
                      <a:lnTo>
                        <a:pt x="22" y="10"/>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3" name="Freeform 885">
                  <a:extLst>
                    <a:ext uri="{FF2B5EF4-FFF2-40B4-BE49-F238E27FC236}">
                      <a16:creationId xmlns:a16="http://schemas.microsoft.com/office/drawing/2014/main" id="{4DB9D2EF-634D-612D-B0C1-DDD957E2F6E5}"/>
                    </a:ext>
                  </a:extLst>
                </p:cNvPr>
                <p:cNvSpPr>
                  <a:spLocks/>
                </p:cNvSpPr>
                <p:nvPr/>
              </p:nvSpPr>
              <p:spPr bwMode="auto">
                <a:xfrm>
                  <a:off x="494" y="2265"/>
                  <a:ext cx="8" cy="27"/>
                </a:xfrm>
                <a:custGeom>
                  <a:avLst/>
                  <a:gdLst>
                    <a:gd name="T0" fmla="*/ 5 w 13"/>
                    <a:gd name="T1" fmla="*/ 17 h 39"/>
                    <a:gd name="T2" fmla="*/ 5 w 13"/>
                    <a:gd name="T3" fmla="*/ 17 h 39"/>
                    <a:gd name="T4" fmla="*/ 4 w 13"/>
                    <a:gd name="T5" fmla="*/ 16 h 39"/>
                    <a:gd name="T6" fmla="*/ 4 w 13"/>
                    <a:gd name="T7" fmla="*/ 15 h 39"/>
                    <a:gd name="T8" fmla="*/ 4 w 13"/>
                    <a:gd name="T9" fmla="*/ 14 h 39"/>
                    <a:gd name="T10" fmla="*/ 4 w 13"/>
                    <a:gd name="T11" fmla="*/ 12 h 39"/>
                    <a:gd name="T12" fmla="*/ 4 w 13"/>
                    <a:gd name="T13" fmla="*/ 11 h 39"/>
                    <a:gd name="T14" fmla="*/ 3 w 13"/>
                    <a:gd name="T15" fmla="*/ 9 h 39"/>
                    <a:gd name="T16" fmla="*/ 3 w 13"/>
                    <a:gd name="T17" fmla="*/ 8 h 39"/>
                    <a:gd name="T18" fmla="*/ 2 w 13"/>
                    <a:gd name="T19" fmla="*/ 6 h 39"/>
                    <a:gd name="T20" fmla="*/ 2 w 13"/>
                    <a:gd name="T21" fmla="*/ 5 h 39"/>
                    <a:gd name="T22" fmla="*/ 2 w 13"/>
                    <a:gd name="T23" fmla="*/ 3 h 39"/>
                    <a:gd name="T24" fmla="*/ 2 w 13"/>
                    <a:gd name="T25" fmla="*/ 2 h 39"/>
                    <a:gd name="T26" fmla="*/ 1 w 13"/>
                    <a:gd name="T27" fmla="*/ 1 h 39"/>
                    <a:gd name="T28" fmla="*/ 1 w 13"/>
                    <a:gd name="T29" fmla="*/ 1 h 39"/>
                    <a:gd name="T30" fmla="*/ 1 w 13"/>
                    <a:gd name="T31" fmla="*/ 0 h 39"/>
                    <a:gd name="T32" fmla="*/ 0 w 13"/>
                    <a:gd name="T33" fmla="*/ 1 h 39"/>
                    <a:gd name="T34" fmla="*/ 0 w 13"/>
                    <a:gd name="T35" fmla="*/ 1 h 39"/>
                    <a:gd name="T36" fmla="*/ 1 w 13"/>
                    <a:gd name="T37" fmla="*/ 2 h 39"/>
                    <a:gd name="T38" fmla="*/ 1 w 13"/>
                    <a:gd name="T39" fmla="*/ 3 h 39"/>
                    <a:gd name="T40" fmla="*/ 1 w 13"/>
                    <a:gd name="T41" fmla="*/ 5 h 39"/>
                    <a:gd name="T42" fmla="*/ 1 w 13"/>
                    <a:gd name="T43" fmla="*/ 6 h 39"/>
                    <a:gd name="T44" fmla="*/ 1 w 13"/>
                    <a:gd name="T45" fmla="*/ 8 h 39"/>
                    <a:gd name="T46" fmla="*/ 2 w 13"/>
                    <a:gd name="T47" fmla="*/ 9 h 39"/>
                    <a:gd name="T48" fmla="*/ 2 w 13"/>
                    <a:gd name="T49" fmla="*/ 10 h 39"/>
                    <a:gd name="T50" fmla="*/ 2 w 13"/>
                    <a:gd name="T51" fmla="*/ 12 h 39"/>
                    <a:gd name="T52" fmla="*/ 3 w 13"/>
                    <a:gd name="T53" fmla="*/ 14 h 39"/>
                    <a:gd name="T54" fmla="*/ 3 w 13"/>
                    <a:gd name="T55" fmla="*/ 15 h 39"/>
                    <a:gd name="T56" fmla="*/ 4 w 13"/>
                    <a:gd name="T57" fmla="*/ 17 h 39"/>
                    <a:gd name="T58" fmla="*/ 4 w 13"/>
                    <a:gd name="T59" fmla="*/ 17 h 39"/>
                    <a:gd name="T60" fmla="*/ 4 w 13"/>
                    <a:gd name="T61" fmla="*/ 18 h 39"/>
                    <a:gd name="T62" fmla="*/ 4 w 13"/>
                    <a:gd name="T63" fmla="*/ 19 h 39"/>
                    <a:gd name="T64" fmla="*/ 4 w 13"/>
                    <a:gd name="T65" fmla="*/ 18 h 39"/>
                    <a:gd name="T66" fmla="*/ 4 w 13"/>
                    <a:gd name="T67" fmla="*/ 19 h 39"/>
                    <a:gd name="T68" fmla="*/ 4 w 13"/>
                    <a:gd name="T69" fmla="*/ 19 h 39"/>
                    <a:gd name="T70" fmla="*/ 4 w 13"/>
                    <a:gd name="T71" fmla="*/ 19 h 39"/>
                    <a:gd name="T72" fmla="*/ 4 w 13"/>
                    <a:gd name="T73" fmla="*/ 19 h 39"/>
                    <a:gd name="T74" fmla="*/ 5 w 13"/>
                    <a:gd name="T75" fmla="*/ 18 h 39"/>
                    <a:gd name="T76" fmla="*/ 5 w 13"/>
                    <a:gd name="T77" fmla="*/ 18 h 39"/>
                    <a:gd name="T78" fmla="*/ 5 w 13"/>
                    <a:gd name="T79" fmla="*/ 17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 h="39">
                      <a:moveTo>
                        <a:pt x="11" y="35"/>
                      </a:moveTo>
                      <a:lnTo>
                        <a:pt x="13" y="36"/>
                      </a:lnTo>
                      <a:lnTo>
                        <a:pt x="13" y="35"/>
                      </a:lnTo>
                      <a:lnTo>
                        <a:pt x="13" y="34"/>
                      </a:lnTo>
                      <a:lnTo>
                        <a:pt x="12" y="33"/>
                      </a:lnTo>
                      <a:lnTo>
                        <a:pt x="12" y="31"/>
                      </a:lnTo>
                      <a:lnTo>
                        <a:pt x="11" y="30"/>
                      </a:lnTo>
                      <a:lnTo>
                        <a:pt x="11" y="29"/>
                      </a:lnTo>
                      <a:lnTo>
                        <a:pt x="11" y="27"/>
                      </a:lnTo>
                      <a:lnTo>
                        <a:pt x="10" y="26"/>
                      </a:lnTo>
                      <a:lnTo>
                        <a:pt x="10" y="24"/>
                      </a:lnTo>
                      <a:lnTo>
                        <a:pt x="9" y="23"/>
                      </a:lnTo>
                      <a:lnTo>
                        <a:pt x="9" y="21"/>
                      </a:lnTo>
                      <a:lnTo>
                        <a:pt x="8" y="19"/>
                      </a:lnTo>
                      <a:lnTo>
                        <a:pt x="8" y="18"/>
                      </a:lnTo>
                      <a:lnTo>
                        <a:pt x="8" y="16"/>
                      </a:lnTo>
                      <a:lnTo>
                        <a:pt x="7" y="15"/>
                      </a:lnTo>
                      <a:lnTo>
                        <a:pt x="7" y="13"/>
                      </a:lnTo>
                      <a:lnTo>
                        <a:pt x="6" y="12"/>
                      </a:lnTo>
                      <a:lnTo>
                        <a:pt x="6" y="10"/>
                      </a:lnTo>
                      <a:lnTo>
                        <a:pt x="5" y="9"/>
                      </a:lnTo>
                      <a:lnTo>
                        <a:pt x="5" y="7"/>
                      </a:lnTo>
                      <a:lnTo>
                        <a:pt x="5" y="6"/>
                      </a:lnTo>
                      <a:lnTo>
                        <a:pt x="5" y="5"/>
                      </a:lnTo>
                      <a:lnTo>
                        <a:pt x="4" y="3"/>
                      </a:lnTo>
                      <a:lnTo>
                        <a:pt x="3" y="3"/>
                      </a:lnTo>
                      <a:lnTo>
                        <a:pt x="3" y="2"/>
                      </a:lnTo>
                      <a:lnTo>
                        <a:pt x="3" y="1"/>
                      </a:lnTo>
                      <a:lnTo>
                        <a:pt x="3" y="0"/>
                      </a:lnTo>
                      <a:lnTo>
                        <a:pt x="0" y="1"/>
                      </a:lnTo>
                      <a:lnTo>
                        <a:pt x="0" y="2"/>
                      </a:lnTo>
                      <a:lnTo>
                        <a:pt x="0" y="3"/>
                      </a:lnTo>
                      <a:lnTo>
                        <a:pt x="1" y="4"/>
                      </a:lnTo>
                      <a:lnTo>
                        <a:pt x="1" y="5"/>
                      </a:lnTo>
                      <a:lnTo>
                        <a:pt x="2" y="6"/>
                      </a:lnTo>
                      <a:lnTo>
                        <a:pt x="2" y="7"/>
                      </a:lnTo>
                      <a:lnTo>
                        <a:pt x="2" y="9"/>
                      </a:lnTo>
                      <a:lnTo>
                        <a:pt x="2" y="10"/>
                      </a:lnTo>
                      <a:lnTo>
                        <a:pt x="3" y="11"/>
                      </a:lnTo>
                      <a:lnTo>
                        <a:pt x="3" y="12"/>
                      </a:lnTo>
                      <a:lnTo>
                        <a:pt x="3" y="14"/>
                      </a:lnTo>
                      <a:lnTo>
                        <a:pt x="4" y="16"/>
                      </a:lnTo>
                      <a:lnTo>
                        <a:pt x="5" y="17"/>
                      </a:lnTo>
                      <a:lnTo>
                        <a:pt x="5" y="19"/>
                      </a:lnTo>
                      <a:lnTo>
                        <a:pt x="5" y="21"/>
                      </a:lnTo>
                      <a:lnTo>
                        <a:pt x="6" y="22"/>
                      </a:lnTo>
                      <a:lnTo>
                        <a:pt x="7" y="24"/>
                      </a:lnTo>
                      <a:lnTo>
                        <a:pt x="7" y="26"/>
                      </a:lnTo>
                      <a:lnTo>
                        <a:pt x="7" y="27"/>
                      </a:lnTo>
                      <a:lnTo>
                        <a:pt x="8" y="29"/>
                      </a:lnTo>
                      <a:lnTo>
                        <a:pt x="8" y="30"/>
                      </a:lnTo>
                      <a:lnTo>
                        <a:pt x="8" y="31"/>
                      </a:lnTo>
                      <a:lnTo>
                        <a:pt x="8" y="33"/>
                      </a:lnTo>
                      <a:lnTo>
                        <a:pt x="9" y="34"/>
                      </a:lnTo>
                      <a:lnTo>
                        <a:pt x="9" y="35"/>
                      </a:lnTo>
                      <a:lnTo>
                        <a:pt x="10" y="36"/>
                      </a:lnTo>
                      <a:lnTo>
                        <a:pt x="10" y="37"/>
                      </a:lnTo>
                      <a:lnTo>
                        <a:pt x="12" y="39"/>
                      </a:lnTo>
                      <a:lnTo>
                        <a:pt x="10" y="37"/>
                      </a:lnTo>
                      <a:lnTo>
                        <a:pt x="10" y="38"/>
                      </a:lnTo>
                      <a:lnTo>
                        <a:pt x="11" y="39"/>
                      </a:lnTo>
                      <a:lnTo>
                        <a:pt x="12" y="39"/>
                      </a:lnTo>
                      <a:lnTo>
                        <a:pt x="13" y="38"/>
                      </a:lnTo>
                      <a:lnTo>
                        <a:pt x="13" y="37"/>
                      </a:lnTo>
                      <a:lnTo>
                        <a:pt x="13" y="36"/>
                      </a:lnTo>
                      <a:lnTo>
                        <a:pt x="1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4" name="Freeform 886">
                  <a:extLst>
                    <a:ext uri="{FF2B5EF4-FFF2-40B4-BE49-F238E27FC236}">
                      <a16:creationId xmlns:a16="http://schemas.microsoft.com/office/drawing/2014/main" id="{865A8163-3631-0D5C-F0E2-40271D243EFB}"/>
                    </a:ext>
                  </a:extLst>
                </p:cNvPr>
                <p:cNvSpPr>
                  <a:spLocks/>
                </p:cNvSpPr>
                <p:nvPr/>
              </p:nvSpPr>
              <p:spPr bwMode="auto">
                <a:xfrm>
                  <a:off x="500" y="2289"/>
                  <a:ext cx="29" cy="36"/>
                </a:xfrm>
                <a:custGeom>
                  <a:avLst/>
                  <a:gdLst>
                    <a:gd name="T0" fmla="*/ 20 w 41"/>
                    <a:gd name="T1" fmla="*/ 24 h 51"/>
                    <a:gd name="T2" fmla="*/ 19 w 41"/>
                    <a:gd name="T3" fmla="*/ 22 h 51"/>
                    <a:gd name="T4" fmla="*/ 18 w 41"/>
                    <a:gd name="T5" fmla="*/ 20 h 51"/>
                    <a:gd name="T6" fmla="*/ 18 w 41"/>
                    <a:gd name="T7" fmla="*/ 18 h 51"/>
                    <a:gd name="T8" fmla="*/ 17 w 41"/>
                    <a:gd name="T9" fmla="*/ 16 h 51"/>
                    <a:gd name="T10" fmla="*/ 16 w 41"/>
                    <a:gd name="T11" fmla="*/ 13 h 51"/>
                    <a:gd name="T12" fmla="*/ 16 w 41"/>
                    <a:gd name="T13" fmla="*/ 11 h 51"/>
                    <a:gd name="T14" fmla="*/ 15 w 41"/>
                    <a:gd name="T15" fmla="*/ 9 h 51"/>
                    <a:gd name="T16" fmla="*/ 14 w 41"/>
                    <a:gd name="T17" fmla="*/ 7 h 51"/>
                    <a:gd name="T18" fmla="*/ 13 w 41"/>
                    <a:gd name="T19" fmla="*/ 5 h 51"/>
                    <a:gd name="T20" fmla="*/ 12 w 41"/>
                    <a:gd name="T21" fmla="*/ 4 h 51"/>
                    <a:gd name="T22" fmla="*/ 11 w 41"/>
                    <a:gd name="T23" fmla="*/ 2 h 51"/>
                    <a:gd name="T24" fmla="*/ 9 w 41"/>
                    <a:gd name="T25" fmla="*/ 1 h 51"/>
                    <a:gd name="T26" fmla="*/ 8 w 41"/>
                    <a:gd name="T27" fmla="*/ 0 h 51"/>
                    <a:gd name="T28" fmla="*/ 6 w 41"/>
                    <a:gd name="T29" fmla="*/ 0 h 51"/>
                    <a:gd name="T30" fmla="*/ 3 w 41"/>
                    <a:gd name="T31" fmla="*/ 0 h 51"/>
                    <a:gd name="T32" fmla="*/ 0 w 41"/>
                    <a:gd name="T33" fmla="*/ 1 h 51"/>
                    <a:gd name="T34" fmla="*/ 1 w 41"/>
                    <a:gd name="T35" fmla="*/ 2 h 51"/>
                    <a:gd name="T36" fmla="*/ 4 w 41"/>
                    <a:gd name="T37" fmla="*/ 2 h 51"/>
                    <a:gd name="T38" fmla="*/ 6 w 41"/>
                    <a:gd name="T39" fmla="*/ 2 h 51"/>
                    <a:gd name="T40" fmla="*/ 8 w 41"/>
                    <a:gd name="T41" fmla="*/ 3 h 51"/>
                    <a:gd name="T42" fmla="*/ 9 w 41"/>
                    <a:gd name="T43" fmla="*/ 3 h 51"/>
                    <a:gd name="T44" fmla="*/ 11 w 41"/>
                    <a:gd name="T45" fmla="*/ 4 h 51"/>
                    <a:gd name="T46" fmla="*/ 11 w 41"/>
                    <a:gd name="T47" fmla="*/ 6 h 51"/>
                    <a:gd name="T48" fmla="*/ 13 w 41"/>
                    <a:gd name="T49" fmla="*/ 7 h 51"/>
                    <a:gd name="T50" fmla="*/ 13 w 41"/>
                    <a:gd name="T51" fmla="*/ 9 h 51"/>
                    <a:gd name="T52" fmla="*/ 13 w 41"/>
                    <a:gd name="T53" fmla="*/ 11 h 51"/>
                    <a:gd name="T54" fmla="*/ 15 w 41"/>
                    <a:gd name="T55" fmla="*/ 13 h 51"/>
                    <a:gd name="T56" fmla="*/ 15 w 41"/>
                    <a:gd name="T57" fmla="*/ 15 h 51"/>
                    <a:gd name="T58" fmla="*/ 16 w 41"/>
                    <a:gd name="T59" fmla="*/ 17 h 51"/>
                    <a:gd name="T60" fmla="*/ 16 w 41"/>
                    <a:gd name="T61" fmla="*/ 20 h 51"/>
                    <a:gd name="T62" fmla="*/ 17 w 41"/>
                    <a:gd name="T63" fmla="*/ 22 h 51"/>
                    <a:gd name="T64" fmla="*/ 18 w 41"/>
                    <a:gd name="T65" fmla="*/ 24 h 51"/>
                    <a:gd name="T66" fmla="*/ 20 w 41"/>
                    <a:gd name="T67" fmla="*/ 24 h 51"/>
                    <a:gd name="T68" fmla="*/ 19 w 41"/>
                    <a:gd name="T69" fmla="*/ 25 h 51"/>
                    <a:gd name="T70" fmla="*/ 19 w 41"/>
                    <a:gd name="T71" fmla="*/ 25 h 51"/>
                    <a:gd name="T72" fmla="*/ 20 w 41"/>
                    <a:gd name="T73" fmla="*/ 25 h 51"/>
                    <a:gd name="T74" fmla="*/ 20 w 41"/>
                    <a:gd name="T75" fmla="*/ 25 h 51"/>
                    <a:gd name="T76" fmla="*/ 20 w 41"/>
                    <a:gd name="T77" fmla="*/ 25 h 51"/>
                    <a:gd name="T78" fmla="*/ 20 w 41"/>
                    <a:gd name="T79" fmla="*/ 25 h 51"/>
                    <a:gd name="T80" fmla="*/ 21 w 41"/>
                    <a:gd name="T81" fmla="*/ 25 h 51"/>
                    <a:gd name="T82" fmla="*/ 20 w 41"/>
                    <a:gd name="T83" fmla="*/ 24 h 51"/>
                    <a:gd name="T84" fmla="*/ 19 w 41"/>
                    <a:gd name="T85" fmla="*/ 2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 h="51">
                      <a:moveTo>
                        <a:pt x="38" y="51"/>
                      </a:moveTo>
                      <a:lnTo>
                        <a:pt x="40" y="48"/>
                      </a:lnTo>
                      <a:lnTo>
                        <a:pt x="39" y="46"/>
                      </a:lnTo>
                      <a:lnTo>
                        <a:pt x="38" y="44"/>
                      </a:lnTo>
                      <a:lnTo>
                        <a:pt x="38" y="42"/>
                      </a:lnTo>
                      <a:lnTo>
                        <a:pt x="37" y="39"/>
                      </a:lnTo>
                      <a:lnTo>
                        <a:pt x="36" y="37"/>
                      </a:lnTo>
                      <a:lnTo>
                        <a:pt x="35" y="36"/>
                      </a:lnTo>
                      <a:lnTo>
                        <a:pt x="34" y="32"/>
                      </a:lnTo>
                      <a:lnTo>
                        <a:pt x="34" y="31"/>
                      </a:lnTo>
                      <a:lnTo>
                        <a:pt x="33" y="29"/>
                      </a:lnTo>
                      <a:lnTo>
                        <a:pt x="32" y="26"/>
                      </a:lnTo>
                      <a:lnTo>
                        <a:pt x="32" y="24"/>
                      </a:lnTo>
                      <a:lnTo>
                        <a:pt x="31" y="22"/>
                      </a:lnTo>
                      <a:lnTo>
                        <a:pt x="31" y="20"/>
                      </a:lnTo>
                      <a:lnTo>
                        <a:pt x="30" y="18"/>
                      </a:lnTo>
                      <a:lnTo>
                        <a:pt x="29" y="16"/>
                      </a:lnTo>
                      <a:lnTo>
                        <a:pt x="28" y="14"/>
                      </a:lnTo>
                      <a:lnTo>
                        <a:pt x="27" y="12"/>
                      </a:lnTo>
                      <a:lnTo>
                        <a:pt x="26" y="10"/>
                      </a:lnTo>
                      <a:lnTo>
                        <a:pt x="26" y="8"/>
                      </a:lnTo>
                      <a:lnTo>
                        <a:pt x="24" y="7"/>
                      </a:lnTo>
                      <a:lnTo>
                        <a:pt x="23" y="5"/>
                      </a:lnTo>
                      <a:lnTo>
                        <a:pt x="22" y="4"/>
                      </a:lnTo>
                      <a:lnTo>
                        <a:pt x="20" y="3"/>
                      </a:lnTo>
                      <a:lnTo>
                        <a:pt x="19" y="2"/>
                      </a:lnTo>
                      <a:lnTo>
                        <a:pt x="17" y="1"/>
                      </a:lnTo>
                      <a:lnTo>
                        <a:pt x="15" y="0"/>
                      </a:lnTo>
                      <a:lnTo>
                        <a:pt x="12" y="0"/>
                      </a:lnTo>
                      <a:lnTo>
                        <a:pt x="11" y="0"/>
                      </a:lnTo>
                      <a:lnTo>
                        <a:pt x="8" y="0"/>
                      </a:lnTo>
                      <a:lnTo>
                        <a:pt x="6" y="0"/>
                      </a:lnTo>
                      <a:lnTo>
                        <a:pt x="3" y="0"/>
                      </a:lnTo>
                      <a:lnTo>
                        <a:pt x="0" y="1"/>
                      </a:lnTo>
                      <a:lnTo>
                        <a:pt x="0" y="5"/>
                      </a:lnTo>
                      <a:lnTo>
                        <a:pt x="3" y="4"/>
                      </a:lnTo>
                      <a:lnTo>
                        <a:pt x="6" y="4"/>
                      </a:lnTo>
                      <a:lnTo>
                        <a:pt x="8" y="4"/>
                      </a:lnTo>
                      <a:lnTo>
                        <a:pt x="11" y="4"/>
                      </a:lnTo>
                      <a:lnTo>
                        <a:pt x="12" y="4"/>
                      </a:lnTo>
                      <a:lnTo>
                        <a:pt x="14" y="4"/>
                      </a:lnTo>
                      <a:lnTo>
                        <a:pt x="16" y="5"/>
                      </a:lnTo>
                      <a:lnTo>
                        <a:pt x="17" y="6"/>
                      </a:lnTo>
                      <a:lnTo>
                        <a:pt x="19" y="6"/>
                      </a:lnTo>
                      <a:lnTo>
                        <a:pt x="20" y="7"/>
                      </a:lnTo>
                      <a:lnTo>
                        <a:pt x="21" y="8"/>
                      </a:lnTo>
                      <a:lnTo>
                        <a:pt x="22" y="10"/>
                      </a:lnTo>
                      <a:lnTo>
                        <a:pt x="23" y="11"/>
                      </a:lnTo>
                      <a:lnTo>
                        <a:pt x="24" y="12"/>
                      </a:lnTo>
                      <a:lnTo>
                        <a:pt x="25" y="14"/>
                      </a:lnTo>
                      <a:lnTo>
                        <a:pt x="26" y="16"/>
                      </a:lnTo>
                      <a:lnTo>
                        <a:pt x="26" y="18"/>
                      </a:lnTo>
                      <a:lnTo>
                        <a:pt x="27" y="19"/>
                      </a:lnTo>
                      <a:lnTo>
                        <a:pt x="27" y="22"/>
                      </a:lnTo>
                      <a:lnTo>
                        <a:pt x="28" y="24"/>
                      </a:lnTo>
                      <a:lnTo>
                        <a:pt x="29" y="26"/>
                      </a:lnTo>
                      <a:lnTo>
                        <a:pt x="29" y="28"/>
                      </a:lnTo>
                      <a:lnTo>
                        <a:pt x="30" y="30"/>
                      </a:lnTo>
                      <a:lnTo>
                        <a:pt x="31" y="32"/>
                      </a:lnTo>
                      <a:lnTo>
                        <a:pt x="31" y="34"/>
                      </a:lnTo>
                      <a:lnTo>
                        <a:pt x="32" y="37"/>
                      </a:lnTo>
                      <a:lnTo>
                        <a:pt x="33" y="39"/>
                      </a:lnTo>
                      <a:lnTo>
                        <a:pt x="34" y="41"/>
                      </a:lnTo>
                      <a:lnTo>
                        <a:pt x="34" y="44"/>
                      </a:lnTo>
                      <a:lnTo>
                        <a:pt x="35" y="46"/>
                      </a:lnTo>
                      <a:lnTo>
                        <a:pt x="37" y="48"/>
                      </a:lnTo>
                      <a:lnTo>
                        <a:pt x="38" y="50"/>
                      </a:lnTo>
                      <a:lnTo>
                        <a:pt x="40" y="48"/>
                      </a:lnTo>
                      <a:lnTo>
                        <a:pt x="38" y="50"/>
                      </a:lnTo>
                      <a:lnTo>
                        <a:pt x="38" y="51"/>
                      </a:lnTo>
                      <a:lnTo>
                        <a:pt x="39" y="51"/>
                      </a:lnTo>
                      <a:lnTo>
                        <a:pt x="40" y="51"/>
                      </a:lnTo>
                      <a:lnTo>
                        <a:pt x="40" y="50"/>
                      </a:lnTo>
                      <a:lnTo>
                        <a:pt x="41" y="49"/>
                      </a:lnTo>
                      <a:lnTo>
                        <a:pt x="40" y="49"/>
                      </a:lnTo>
                      <a:lnTo>
                        <a:pt x="40" y="48"/>
                      </a:lnTo>
                      <a:lnTo>
                        <a:pt x="38"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5" name="Freeform 887">
                  <a:extLst>
                    <a:ext uri="{FF2B5EF4-FFF2-40B4-BE49-F238E27FC236}">
                      <a16:creationId xmlns:a16="http://schemas.microsoft.com/office/drawing/2014/main" id="{D7360C5E-3AE0-393F-D0C4-449056875AD0}"/>
                    </a:ext>
                  </a:extLst>
                </p:cNvPr>
                <p:cNvSpPr>
                  <a:spLocks/>
                </p:cNvSpPr>
                <p:nvPr/>
              </p:nvSpPr>
              <p:spPr bwMode="auto">
                <a:xfrm>
                  <a:off x="512" y="2307"/>
                  <a:ext cx="16" cy="18"/>
                </a:xfrm>
                <a:custGeom>
                  <a:avLst/>
                  <a:gdLst>
                    <a:gd name="T0" fmla="*/ 0 w 23"/>
                    <a:gd name="T1" fmla="*/ 2 h 25"/>
                    <a:gd name="T2" fmla="*/ 10 w 23"/>
                    <a:gd name="T3" fmla="*/ 13 h 25"/>
                    <a:gd name="T4" fmla="*/ 11 w 23"/>
                    <a:gd name="T5" fmla="*/ 12 h 25"/>
                    <a:gd name="T6" fmla="*/ 1 w 23"/>
                    <a:gd name="T7" fmla="*/ 1 h 25"/>
                    <a:gd name="T8" fmla="*/ 1 w 23"/>
                    <a:gd name="T9" fmla="*/ 0 h 25"/>
                    <a:gd name="T10" fmla="*/ 1 w 23"/>
                    <a:gd name="T11" fmla="*/ 0 h 25"/>
                    <a:gd name="T12" fmla="*/ 1 w 23"/>
                    <a:gd name="T13" fmla="*/ 0 h 25"/>
                    <a:gd name="T14" fmla="*/ 1 w 23"/>
                    <a:gd name="T15" fmla="*/ 0 h 25"/>
                    <a:gd name="T16" fmla="*/ 1 w 23"/>
                    <a:gd name="T17" fmla="*/ 0 h 25"/>
                    <a:gd name="T18" fmla="*/ 1 w 23"/>
                    <a:gd name="T19" fmla="*/ 0 h 25"/>
                    <a:gd name="T20" fmla="*/ 0 w 23"/>
                    <a:gd name="T21" fmla="*/ 0 h 25"/>
                    <a:gd name="T22" fmla="*/ 0 w 23"/>
                    <a:gd name="T23" fmla="*/ 1 h 25"/>
                    <a:gd name="T24" fmla="*/ 0 w 23"/>
                    <a:gd name="T25" fmla="*/ 1 h 25"/>
                    <a:gd name="T26" fmla="*/ 0 w 23"/>
                    <a:gd name="T27" fmla="*/ 1 h 25"/>
                    <a:gd name="T28" fmla="*/ 0 w 23"/>
                    <a:gd name="T29" fmla="*/ 1 h 25"/>
                    <a:gd name="T30" fmla="*/ 0 w 23"/>
                    <a:gd name="T31" fmla="*/ 1 h 25"/>
                    <a:gd name="T32" fmla="*/ 0 w 23"/>
                    <a:gd name="T33" fmla="*/ 1 h 25"/>
                    <a:gd name="T34" fmla="*/ 0 w 23"/>
                    <a:gd name="T35" fmla="*/ 1 h 25"/>
                    <a:gd name="T36" fmla="*/ 0 w 23"/>
                    <a:gd name="T37" fmla="*/ 2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3" h="25">
                      <a:moveTo>
                        <a:pt x="0" y="4"/>
                      </a:moveTo>
                      <a:lnTo>
                        <a:pt x="21" y="25"/>
                      </a:lnTo>
                      <a:lnTo>
                        <a:pt x="23" y="22"/>
                      </a:lnTo>
                      <a:lnTo>
                        <a:pt x="2" y="1"/>
                      </a:lnTo>
                      <a:lnTo>
                        <a:pt x="2" y="0"/>
                      </a:lnTo>
                      <a:lnTo>
                        <a:pt x="1" y="0"/>
                      </a:lnTo>
                      <a:lnTo>
                        <a:pt x="0" y="0"/>
                      </a:lnTo>
                      <a:lnTo>
                        <a:pt x="0" y="1"/>
                      </a:lnTo>
                      <a:lnTo>
                        <a:pt x="0" y="2"/>
                      </a:lnTo>
                      <a:lnTo>
                        <a:pt x="0" y="3"/>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6" name="Freeform 888">
                  <a:extLst>
                    <a:ext uri="{FF2B5EF4-FFF2-40B4-BE49-F238E27FC236}">
                      <a16:creationId xmlns:a16="http://schemas.microsoft.com/office/drawing/2014/main" id="{3A51A296-4442-2510-99D5-5015E88FAD55}"/>
                    </a:ext>
                  </a:extLst>
                </p:cNvPr>
                <p:cNvSpPr>
                  <a:spLocks/>
                </p:cNvSpPr>
                <p:nvPr/>
              </p:nvSpPr>
              <p:spPr bwMode="auto">
                <a:xfrm>
                  <a:off x="441" y="2305"/>
                  <a:ext cx="73" cy="22"/>
                </a:xfrm>
                <a:custGeom>
                  <a:avLst/>
                  <a:gdLst>
                    <a:gd name="T0" fmla="*/ 1 w 105"/>
                    <a:gd name="T1" fmla="*/ 9 h 30"/>
                    <a:gd name="T2" fmla="*/ 3 w 105"/>
                    <a:gd name="T3" fmla="*/ 12 h 30"/>
                    <a:gd name="T4" fmla="*/ 6 w 105"/>
                    <a:gd name="T5" fmla="*/ 15 h 30"/>
                    <a:gd name="T6" fmla="*/ 9 w 105"/>
                    <a:gd name="T7" fmla="*/ 15 h 30"/>
                    <a:gd name="T8" fmla="*/ 13 w 105"/>
                    <a:gd name="T9" fmla="*/ 16 h 30"/>
                    <a:gd name="T10" fmla="*/ 17 w 105"/>
                    <a:gd name="T11" fmla="*/ 15 h 30"/>
                    <a:gd name="T12" fmla="*/ 20 w 105"/>
                    <a:gd name="T13" fmla="*/ 15 h 30"/>
                    <a:gd name="T14" fmla="*/ 24 w 105"/>
                    <a:gd name="T15" fmla="*/ 13 h 30"/>
                    <a:gd name="T16" fmla="*/ 28 w 105"/>
                    <a:gd name="T17" fmla="*/ 11 h 30"/>
                    <a:gd name="T18" fmla="*/ 31 w 105"/>
                    <a:gd name="T19" fmla="*/ 10 h 30"/>
                    <a:gd name="T20" fmla="*/ 35 w 105"/>
                    <a:gd name="T21" fmla="*/ 7 h 30"/>
                    <a:gd name="T22" fmla="*/ 39 w 105"/>
                    <a:gd name="T23" fmla="*/ 6 h 30"/>
                    <a:gd name="T24" fmla="*/ 42 w 105"/>
                    <a:gd name="T25" fmla="*/ 4 h 30"/>
                    <a:gd name="T26" fmla="*/ 44 w 105"/>
                    <a:gd name="T27" fmla="*/ 3 h 30"/>
                    <a:gd name="T28" fmla="*/ 47 w 105"/>
                    <a:gd name="T29" fmla="*/ 2 h 30"/>
                    <a:gd name="T30" fmla="*/ 49 w 105"/>
                    <a:gd name="T31" fmla="*/ 3 h 30"/>
                    <a:gd name="T32" fmla="*/ 50 w 105"/>
                    <a:gd name="T33" fmla="*/ 3 h 30"/>
                    <a:gd name="T34" fmla="*/ 50 w 105"/>
                    <a:gd name="T35" fmla="*/ 1 h 30"/>
                    <a:gd name="T36" fmla="*/ 48 w 105"/>
                    <a:gd name="T37" fmla="*/ 0 h 30"/>
                    <a:gd name="T38" fmla="*/ 46 w 105"/>
                    <a:gd name="T39" fmla="*/ 1 h 30"/>
                    <a:gd name="T40" fmla="*/ 43 w 105"/>
                    <a:gd name="T41" fmla="*/ 1 h 30"/>
                    <a:gd name="T42" fmla="*/ 40 w 105"/>
                    <a:gd name="T43" fmla="*/ 3 h 30"/>
                    <a:gd name="T44" fmla="*/ 37 w 105"/>
                    <a:gd name="T45" fmla="*/ 5 h 30"/>
                    <a:gd name="T46" fmla="*/ 33 w 105"/>
                    <a:gd name="T47" fmla="*/ 7 h 30"/>
                    <a:gd name="T48" fmla="*/ 29 w 105"/>
                    <a:gd name="T49" fmla="*/ 9 h 30"/>
                    <a:gd name="T50" fmla="*/ 26 w 105"/>
                    <a:gd name="T51" fmla="*/ 10 h 30"/>
                    <a:gd name="T52" fmla="*/ 22 w 105"/>
                    <a:gd name="T53" fmla="*/ 12 h 30"/>
                    <a:gd name="T54" fmla="*/ 18 w 105"/>
                    <a:gd name="T55" fmla="*/ 13 h 30"/>
                    <a:gd name="T56" fmla="*/ 15 w 105"/>
                    <a:gd name="T57" fmla="*/ 14 h 30"/>
                    <a:gd name="T58" fmla="*/ 10 w 105"/>
                    <a:gd name="T59" fmla="*/ 14 h 30"/>
                    <a:gd name="T60" fmla="*/ 8 w 105"/>
                    <a:gd name="T61" fmla="*/ 13 h 30"/>
                    <a:gd name="T62" fmla="*/ 5 w 105"/>
                    <a:gd name="T63" fmla="*/ 12 h 30"/>
                    <a:gd name="T64" fmla="*/ 2 w 105"/>
                    <a:gd name="T65" fmla="*/ 9 h 30"/>
                    <a:gd name="T66" fmla="*/ 1 w 105"/>
                    <a:gd name="T67" fmla="*/ 9 h 30"/>
                    <a:gd name="T68" fmla="*/ 1 w 105"/>
                    <a:gd name="T69" fmla="*/ 7 h 30"/>
                    <a:gd name="T70" fmla="*/ 1 w 105"/>
                    <a:gd name="T71" fmla="*/ 7 h 30"/>
                    <a:gd name="T72" fmla="*/ 1 w 105"/>
                    <a:gd name="T73" fmla="*/ 7 h 30"/>
                    <a:gd name="T74" fmla="*/ 1 w 105"/>
                    <a:gd name="T75" fmla="*/ 7 h 30"/>
                    <a:gd name="T76" fmla="*/ 1 w 105"/>
                    <a:gd name="T77" fmla="*/ 7 h 30"/>
                    <a:gd name="T78" fmla="*/ 1 w 105"/>
                    <a:gd name="T79" fmla="*/ 8 h 30"/>
                    <a:gd name="T80" fmla="*/ 0 w 105"/>
                    <a:gd name="T81" fmla="*/ 8 h 30"/>
                    <a:gd name="T82" fmla="*/ 1 w 105"/>
                    <a:gd name="T83" fmla="*/ 9 h 30"/>
                    <a:gd name="T84" fmla="*/ 1 w 105"/>
                    <a:gd name="T85" fmla="*/ 9 h 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5" h="30">
                      <a:moveTo>
                        <a:pt x="1" y="14"/>
                      </a:moveTo>
                      <a:lnTo>
                        <a:pt x="1" y="17"/>
                      </a:lnTo>
                      <a:lnTo>
                        <a:pt x="3" y="20"/>
                      </a:lnTo>
                      <a:lnTo>
                        <a:pt x="6" y="23"/>
                      </a:lnTo>
                      <a:lnTo>
                        <a:pt x="9" y="25"/>
                      </a:lnTo>
                      <a:lnTo>
                        <a:pt x="12" y="27"/>
                      </a:lnTo>
                      <a:lnTo>
                        <a:pt x="15" y="29"/>
                      </a:lnTo>
                      <a:lnTo>
                        <a:pt x="19" y="29"/>
                      </a:lnTo>
                      <a:lnTo>
                        <a:pt x="22" y="30"/>
                      </a:lnTo>
                      <a:lnTo>
                        <a:pt x="26" y="30"/>
                      </a:lnTo>
                      <a:lnTo>
                        <a:pt x="30" y="30"/>
                      </a:lnTo>
                      <a:lnTo>
                        <a:pt x="34" y="29"/>
                      </a:lnTo>
                      <a:lnTo>
                        <a:pt x="38" y="29"/>
                      </a:lnTo>
                      <a:lnTo>
                        <a:pt x="41" y="27"/>
                      </a:lnTo>
                      <a:lnTo>
                        <a:pt x="46" y="26"/>
                      </a:lnTo>
                      <a:lnTo>
                        <a:pt x="50" y="25"/>
                      </a:lnTo>
                      <a:lnTo>
                        <a:pt x="53" y="23"/>
                      </a:lnTo>
                      <a:lnTo>
                        <a:pt x="58" y="21"/>
                      </a:lnTo>
                      <a:lnTo>
                        <a:pt x="62" y="20"/>
                      </a:lnTo>
                      <a:lnTo>
                        <a:pt x="65" y="18"/>
                      </a:lnTo>
                      <a:lnTo>
                        <a:pt x="70" y="16"/>
                      </a:lnTo>
                      <a:lnTo>
                        <a:pt x="73" y="14"/>
                      </a:lnTo>
                      <a:lnTo>
                        <a:pt x="77" y="12"/>
                      </a:lnTo>
                      <a:lnTo>
                        <a:pt x="80" y="11"/>
                      </a:lnTo>
                      <a:lnTo>
                        <a:pt x="83" y="9"/>
                      </a:lnTo>
                      <a:lnTo>
                        <a:pt x="87" y="8"/>
                      </a:lnTo>
                      <a:lnTo>
                        <a:pt x="90" y="7"/>
                      </a:lnTo>
                      <a:lnTo>
                        <a:pt x="92" y="6"/>
                      </a:lnTo>
                      <a:lnTo>
                        <a:pt x="95" y="5"/>
                      </a:lnTo>
                      <a:lnTo>
                        <a:pt x="97" y="4"/>
                      </a:lnTo>
                      <a:lnTo>
                        <a:pt x="99" y="4"/>
                      </a:lnTo>
                      <a:lnTo>
                        <a:pt x="101" y="5"/>
                      </a:lnTo>
                      <a:lnTo>
                        <a:pt x="102" y="5"/>
                      </a:lnTo>
                      <a:lnTo>
                        <a:pt x="103" y="6"/>
                      </a:lnTo>
                      <a:lnTo>
                        <a:pt x="105" y="3"/>
                      </a:lnTo>
                      <a:lnTo>
                        <a:pt x="103" y="1"/>
                      </a:lnTo>
                      <a:lnTo>
                        <a:pt x="102" y="0"/>
                      </a:lnTo>
                      <a:lnTo>
                        <a:pt x="99" y="0"/>
                      </a:lnTo>
                      <a:lnTo>
                        <a:pt x="97" y="0"/>
                      </a:lnTo>
                      <a:lnTo>
                        <a:pt x="95" y="1"/>
                      </a:lnTo>
                      <a:lnTo>
                        <a:pt x="92" y="2"/>
                      </a:lnTo>
                      <a:lnTo>
                        <a:pt x="89" y="3"/>
                      </a:lnTo>
                      <a:lnTo>
                        <a:pt x="85" y="4"/>
                      </a:lnTo>
                      <a:lnTo>
                        <a:pt x="83" y="6"/>
                      </a:lnTo>
                      <a:lnTo>
                        <a:pt x="79" y="7"/>
                      </a:lnTo>
                      <a:lnTo>
                        <a:pt x="76" y="9"/>
                      </a:lnTo>
                      <a:lnTo>
                        <a:pt x="72" y="10"/>
                      </a:lnTo>
                      <a:lnTo>
                        <a:pt x="68" y="12"/>
                      </a:lnTo>
                      <a:lnTo>
                        <a:pt x="65" y="14"/>
                      </a:lnTo>
                      <a:lnTo>
                        <a:pt x="60" y="16"/>
                      </a:lnTo>
                      <a:lnTo>
                        <a:pt x="57" y="18"/>
                      </a:lnTo>
                      <a:lnTo>
                        <a:pt x="53" y="19"/>
                      </a:lnTo>
                      <a:lnTo>
                        <a:pt x="49" y="21"/>
                      </a:lnTo>
                      <a:lnTo>
                        <a:pt x="45" y="22"/>
                      </a:lnTo>
                      <a:lnTo>
                        <a:pt x="41" y="23"/>
                      </a:lnTo>
                      <a:lnTo>
                        <a:pt x="37" y="25"/>
                      </a:lnTo>
                      <a:lnTo>
                        <a:pt x="33" y="25"/>
                      </a:lnTo>
                      <a:lnTo>
                        <a:pt x="30" y="26"/>
                      </a:lnTo>
                      <a:lnTo>
                        <a:pt x="26" y="26"/>
                      </a:lnTo>
                      <a:lnTo>
                        <a:pt x="22" y="26"/>
                      </a:lnTo>
                      <a:lnTo>
                        <a:pt x="19" y="25"/>
                      </a:lnTo>
                      <a:lnTo>
                        <a:pt x="16" y="25"/>
                      </a:lnTo>
                      <a:lnTo>
                        <a:pt x="13" y="23"/>
                      </a:lnTo>
                      <a:lnTo>
                        <a:pt x="10" y="22"/>
                      </a:lnTo>
                      <a:lnTo>
                        <a:pt x="8" y="20"/>
                      </a:lnTo>
                      <a:lnTo>
                        <a:pt x="5" y="17"/>
                      </a:lnTo>
                      <a:lnTo>
                        <a:pt x="3" y="14"/>
                      </a:lnTo>
                      <a:lnTo>
                        <a:pt x="3" y="16"/>
                      </a:lnTo>
                      <a:lnTo>
                        <a:pt x="3" y="14"/>
                      </a:lnTo>
                      <a:lnTo>
                        <a:pt x="3" y="13"/>
                      </a:lnTo>
                      <a:lnTo>
                        <a:pt x="2" y="13"/>
                      </a:lnTo>
                      <a:lnTo>
                        <a:pt x="1" y="13"/>
                      </a:lnTo>
                      <a:lnTo>
                        <a:pt x="1" y="14"/>
                      </a:lnTo>
                      <a:lnTo>
                        <a:pt x="1" y="15"/>
                      </a:lnTo>
                      <a:lnTo>
                        <a:pt x="0" y="15"/>
                      </a:lnTo>
                      <a:lnTo>
                        <a:pt x="1" y="16"/>
                      </a:lnTo>
                      <a:lnTo>
                        <a:pt x="1" y="17"/>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7" name="Freeform 889">
                  <a:extLst>
                    <a:ext uri="{FF2B5EF4-FFF2-40B4-BE49-F238E27FC236}">
                      <a16:creationId xmlns:a16="http://schemas.microsoft.com/office/drawing/2014/main" id="{A01DCBC3-1FAF-989D-8BEC-904AA6D26780}"/>
                    </a:ext>
                  </a:extLst>
                </p:cNvPr>
                <p:cNvSpPr>
                  <a:spLocks/>
                </p:cNvSpPr>
                <p:nvPr/>
              </p:nvSpPr>
              <p:spPr bwMode="auto">
                <a:xfrm>
                  <a:off x="442" y="2281"/>
                  <a:ext cx="15" cy="36"/>
                </a:xfrm>
                <a:custGeom>
                  <a:avLst/>
                  <a:gdLst>
                    <a:gd name="T0" fmla="*/ 1 w 23"/>
                    <a:gd name="T1" fmla="*/ 1 h 50"/>
                    <a:gd name="T2" fmla="*/ 3 w 23"/>
                    <a:gd name="T3" fmla="*/ 1 h 50"/>
                    <a:gd name="T4" fmla="*/ 5 w 23"/>
                    <a:gd name="T5" fmla="*/ 1 h 50"/>
                    <a:gd name="T6" fmla="*/ 7 w 23"/>
                    <a:gd name="T7" fmla="*/ 1 h 50"/>
                    <a:gd name="T8" fmla="*/ 8 w 23"/>
                    <a:gd name="T9" fmla="*/ 2 h 50"/>
                    <a:gd name="T10" fmla="*/ 8 w 23"/>
                    <a:gd name="T11" fmla="*/ 3 h 50"/>
                    <a:gd name="T12" fmla="*/ 8 w 23"/>
                    <a:gd name="T13" fmla="*/ 3 h 50"/>
                    <a:gd name="T14" fmla="*/ 8 w 23"/>
                    <a:gd name="T15" fmla="*/ 4 h 50"/>
                    <a:gd name="T16" fmla="*/ 7 w 23"/>
                    <a:gd name="T17" fmla="*/ 5 h 50"/>
                    <a:gd name="T18" fmla="*/ 7 w 23"/>
                    <a:gd name="T19" fmla="*/ 7 h 50"/>
                    <a:gd name="T20" fmla="*/ 5 w 23"/>
                    <a:gd name="T21" fmla="*/ 10 h 50"/>
                    <a:gd name="T22" fmla="*/ 5 w 23"/>
                    <a:gd name="T23" fmla="*/ 12 h 50"/>
                    <a:gd name="T24" fmla="*/ 3 w 23"/>
                    <a:gd name="T25" fmla="*/ 16 h 50"/>
                    <a:gd name="T26" fmla="*/ 2 w 23"/>
                    <a:gd name="T27" fmla="*/ 20 h 50"/>
                    <a:gd name="T28" fmla="*/ 0 w 23"/>
                    <a:gd name="T29" fmla="*/ 25 h 50"/>
                    <a:gd name="T30" fmla="*/ 2 w 23"/>
                    <a:gd name="T31" fmla="*/ 23 h 50"/>
                    <a:gd name="T32" fmla="*/ 3 w 23"/>
                    <a:gd name="T33" fmla="*/ 19 h 50"/>
                    <a:gd name="T34" fmla="*/ 5 w 23"/>
                    <a:gd name="T35" fmla="*/ 15 h 50"/>
                    <a:gd name="T36" fmla="*/ 6 w 23"/>
                    <a:gd name="T37" fmla="*/ 12 h 50"/>
                    <a:gd name="T38" fmla="*/ 7 w 23"/>
                    <a:gd name="T39" fmla="*/ 10 h 50"/>
                    <a:gd name="T40" fmla="*/ 8 w 23"/>
                    <a:gd name="T41" fmla="*/ 7 h 50"/>
                    <a:gd name="T42" fmla="*/ 8 w 23"/>
                    <a:gd name="T43" fmla="*/ 6 h 50"/>
                    <a:gd name="T44" fmla="*/ 9 w 23"/>
                    <a:gd name="T45" fmla="*/ 4 h 50"/>
                    <a:gd name="T46" fmla="*/ 9 w 23"/>
                    <a:gd name="T47" fmla="*/ 3 h 50"/>
                    <a:gd name="T48" fmla="*/ 9 w 23"/>
                    <a:gd name="T49" fmla="*/ 1 h 50"/>
                    <a:gd name="T50" fmla="*/ 9 w 23"/>
                    <a:gd name="T51" fmla="*/ 1 h 50"/>
                    <a:gd name="T52" fmla="*/ 8 w 23"/>
                    <a:gd name="T53" fmla="*/ 0 h 50"/>
                    <a:gd name="T54" fmla="*/ 7 w 23"/>
                    <a:gd name="T55" fmla="*/ 0 h 50"/>
                    <a:gd name="T56" fmla="*/ 6 w 23"/>
                    <a:gd name="T57" fmla="*/ 0 h 50"/>
                    <a:gd name="T58" fmla="*/ 5 w 23"/>
                    <a:gd name="T59" fmla="*/ 0 h 50"/>
                    <a:gd name="T60" fmla="*/ 3 w 23"/>
                    <a:gd name="T61" fmla="*/ 0 h 50"/>
                    <a:gd name="T62" fmla="*/ 1 w 23"/>
                    <a:gd name="T63" fmla="*/ 0 h 50"/>
                    <a:gd name="T64" fmla="*/ 1 w 23"/>
                    <a:gd name="T65" fmla="*/ 0 h 50"/>
                    <a:gd name="T66" fmla="*/ 1 w 23"/>
                    <a:gd name="T67" fmla="*/ 0 h 50"/>
                    <a:gd name="T68" fmla="*/ 1 w 23"/>
                    <a:gd name="T69" fmla="*/ 1 h 50"/>
                    <a:gd name="T70" fmla="*/ 1 w 23"/>
                    <a:gd name="T71" fmla="*/ 1 h 50"/>
                    <a:gd name="T72" fmla="*/ 1 w 23"/>
                    <a:gd name="T73" fmla="*/ 1 h 50"/>
                    <a:gd name="T74" fmla="*/ 1 w 23"/>
                    <a:gd name="T75" fmla="*/ 1 h 50"/>
                    <a:gd name="T76" fmla="*/ 1 w 23"/>
                    <a:gd name="T77" fmla="*/ 1 h 50"/>
                    <a:gd name="T78" fmla="*/ 2 w 23"/>
                    <a:gd name="T79" fmla="*/ 1 h 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3" h="50">
                      <a:moveTo>
                        <a:pt x="4" y="3"/>
                      </a:moveTo>
                      <a:lnTo>
                        <a:pt x="3" y="3"/>
                      </a:lnTo>
                      <a:lnTo>
                        <a:pt x="6" y="3"/>
                      </a:lnTo>
                      <a:lnTo>
                        <a:pt x="8" y="3"/>
                      </a:lnTo>
                      <a:lnTo>
                        <a:pt x="10" y="3"/>
                      </a:lnTo>
                      <a:lnTo>
                        <a:pt x="12" y="3"/>
                      </a:lnTo>
                      <a:lnTo>
                        <a:pt x="14" y="3"/>
                      </a:lnTo>
                      <a:lnTo>
                        <a:pt x="15" y="3"/>
                      </a:lnTo>
                      <a:lnTo>
                        <a:pt x="17" y="4"/>
                      </a:lnTo>
                      <a:lnTo>
                        <a:pt x="18" y="4"/>
                      </a:lnTo>
                      <a:lnTo>
                        <a:pt x="19" y="4"/>
                      </a:lnTo>
                      <a:lnTo>
                        <a:pt x="19" y="5"/>
                      </a:lnTo>
                      <a:lnTo>
                        <a:pt x="20" y="5"/>
                      </a:lnTo>
                      <a:lnTo>
                        <a:pt x="19" y="5"/>
                      </a:lnTo>
                      <a:lnTo>
                        <a:pt x="19" y="6"/>
                      </a:lnTo>
                      <a:lnTo>
                        <a:pt x="19" y="8"/>
                      </a:lnTo>
                      <a:lnTo>
                        <a:pt x="18" y="9"/>
                      </a:lnTo>
                      <a:lnTo>
                        <a:pt x="17" y="10"/>
                      </a:lnTo>
                      <a:lnTo>
                        <a:pt x="16" y="12"/>
                      </a:lnTo>
                      <a:lnTo>
                        <a:pt x="15" y="14"/>
                      </a:lnTo>
                      <a:lnTo>
                        <a:pt x="14" y="16"/>
                      </a:lnTo>
                      <a:lnTo>
                        <a:pt x="13" y="19"/>
                      </a:lnTo>
                      <a:lnTo>
                        <a:pt x="12" y="22"/>
                      </a:lnTo>
                      <a:lnTo>
                        <a:pt x="10" y="24"/>
                      </a:lnTo>
                      <a:lnTo>
                        <a:pt x="9" y="27"/>
                      </a:lnTo>
                      <a:lnTo>
                        <a:pt x="7" y="31"/>
                      </a:lnTo>
                      <a:lnTo>
                        <a:pt x="5" y="35"/>
                      </a:lnTo>
                      <a:lnTo>
                        <a:pt x="4" y="39"/>
                      </a:lnTo>
                      <a:lnTo>
                        <a:pt x="2" y="44"/>
                      </a:lnTo>
                      <a:lnTo>
                        <a:pt x="0" y="48"/>
                      </a:lnTo>
                      <a:lnTo>
                        <a:pt x="2" y="50"/>
                      </a:lnTo>
                      <a:lnTo>
                        <a:pt x="5" y="45"/>
                      </a:lnTo>
                      <a:lnTo>
                        <a:pt x="6" y="41"/>
                      </a:lnTo>
                      <a:lnTo>
                        <a:pt x="8" y="37"/>
                      </a:lnTo>
                      <a:lnTo>
                        <a:pt x="10" y="32"/>
                      </a:lnTo>
                      <a:lnTo>
                        <a:pt x="12" y="29"/>
                      </a:lnTo>
                      <a:lnTo>
                        <a:pt x="13" y="26"/>
                      </a:lnTo>
                      <a:lnTo>
                        <a:pt x="14" y="24"/>
                      </a:lnTo>
                      <a:lnTo>
                        <a:pt x="15" y="21"/>
                      </a:lnTo>
                      <a:lnTo>
                        <a:pt x="17" y="19"/>
                      </a:lnTo>
                      <a:lnTo>
                        <a:pt x="18" y="16"/>
                      </a:lnTo>
                      <a:lnTo>
                        <a:pt x="19" y="14"/>
                      </a:lnTo>
                      <a:lnTo>
                        <a:pt x="20" y="12"/>
                      </a:lnTo>
                      <a:lnTo>
                        <a:pt x="20" y="11"/>
                      </a:lnTo>
                      <a:lnTo>
                        <a:pt x="21" y="10"/>
                      </a:lnTo>
                      <a:lnTo>
                        <a:pt x="22" y="8"/>
                      </a:lnTo>
                      <a:lnTo>
                        <a:pt x="22" y="7"/>
                      </a:lnTo>
                      <a:lnTo>
                        <a:pt x="22" y="6"/>
                      </a:lnTo>
                      <a:lnTo>
                        <a:pt x="23" y="5"/>
                      </a:lnTo>
                      <a:lnTo>
                        <a:pt x="22" y="3"/>
                      </a:lnTo>
                      <a:lnTo>
                        <a:pt x="22" y="2"/>
                      </a:lnTo>
                      <a:lnTo>
                        <a:pt x="21" y="1"/>
                      </a:lnTo>
                      <a:lnTo>
                        <a:pt x="20" y="1"/>
                      </a:lnTo>
                      <a:lnTo>
                        <a:pt x="19" y="0"/>
                      </a:lnTo>
                      <a:lnTo>
                        <a:pt x="18" y="0"/>
                      </a:lnTo>
                      <a:lnTo>
                        <a:pt x="17" y="0"/>
                      </a:lnTo>
                      <a:lnTo>
                        <a:pt x="15" y="0"/>
                      </a:lnTo>
                      <a:lnTo>
                        <a:pt x="14" y="0"/>
                      </a:lnTo>
                      <a:lnTo>
                        <a:pt x="12" y="0"/>
                      </a:lnTo>
                      <a:lnTo>
                        <a:pt x="10" y="0"/>
                      </a:lnTo>
                      <a:lnTo>
                        <a:pt x="9" y="0"/>
                      </a:lnTo>
                      <a:lnTo>
                        <a:pt x="6" y="0"/>
                      </a:lnTo>
                      <a:lnTo>
                        <a:pt x="3" y="0"/>
                      </a:lnTo>
                      <a:lnTo>
                        <a:pt x="2" y="0"/>
                      </a:lnTo>
                      <a:lnTo>
                        <a:pt x="3" y="0"/>
                      </a:lnTo>
                      <a:lnTo>
                        <a:pt x="2" y="0"/>
                      </a:lnTo>
                      <a:lnTo>
                        <a:pt x="2" y="1"/>
                      </a:lnTo>
                      <a:lnTo>
                        <a:pt x="2" y="2"/>
                      </a:lnTo>
                      <a:lnTo>
                        <a:pt x="2" y="3"/>
                      </a:lnTo>
                      <a:lnTo>
                        <a:pt x="3" y="3"/>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8" name="Freeform 890">
                  <a:extLst>
                    <a:ext uri="{FF2B5EF4-FFF2-40B4-BE49-F238E27FC236}">
                      <a16:creationId xmlns:a16="http://schemas.microsoft.com/office/drawing/2014/main" id="{06199BDD-32FE-0526-DEF8-76A8EF0AC1F7}"/>
                    </a:ext>
                  </a:extLst>
                </p:cNvPr>
                <p:cNvSpPr>
                  <a:spLocks/>
                </p:cNvSpPr>
                <p:nvPr/>
              </p:nvSpPr>
              <p:spPr bwMode="auto">
                <a:xfrm>
                  <a:off x="402" y="2266"/>
                  <a:ext cx="42" cy="40"/>
                </a:xfrm>
                <a:custGeom>
                  <a:avLst/>
                  <a:gdLst>
                    <a:gd name="T0" fmla="*/ 1 w 62"/>
                    <a:gd name="T1" fmla="*/ 4 h 57"/>
                    <a:gd name="T2" fmla="*/ 3 w 62"/>
                    <a:gd name="T3" fmla="*/ 6 h 57"/>
                    <a:gd name="T4" fmla="*/ 4 w 62"/>
                    <a:gd name="T5" fmla="*/ 10 h 57"/>
                    <a:gd name="T6" fmla="*/ 5 w 62"/>
                    <a:gd name="T7" fmla="*/ 13 h 57"/>
                    <a:gd name="T8" fmla="*/ 6 w 62"/>
                    <a:gd name="T9" fmla="*/ 16 h 57"/>
                    <a:gd name="T10" fmla="*/ 7 w 62"/>
                    <a:gd name="T11" fmla="*/ 19 h 57"/>
                    <a:gd name="T12" fmla="*/ 7 w 62"/>
                    <a:gd name="T13" fmla="*/ 22 h 57"/>
                    <a:gd name="T14" fmla="*/ 8 w 62"/>
                    <a:gd name="T15" fmla="*/ 25 h 57"/>
                    <a:gd name="T16" fmla="*/ 9 w 62"/>
                    <a:gd name="T17" fmla="*/ 27 h 57"/>
                    <a:gd name="T18" fmla="*/ 10 w 62"/>
                    <a:gd name="T19" fmla="*/ 27 h 57"/>
                    <a:gd name="T20" fmla="*/ 12 w 62"/>
                    <a:gd name="T21" fmla="*/ 28 h 57"/>
                    <a:gd name="T22" fmla="*/ 14 w 62"/>
                    <a:gd name="T23" fmla="*/ 27 h 57"/>
                    <a:gd name="T24" fmla="*/ 16 w 62"/>
                    <a:gd name="T25" fmla="*/ 26 h 57"/>
                    <a:gd name="T26" fmla="*/ 19 w 62"/>
                    <a:gd name="T27" fmla="*/ 24 h 57"/>
                    <a:gd name="T28" fmla="*/ 22 w 62"/>
                    <a:gd name="T29" fmla="*/ 20 h 57"/>
                    <a:gd name="T30" fmla="*/ 26 w 62"/>
                    <a:gd name="T31" fmla="*/ 15 h 57"/>
                    <a:gd name="T32" fmla="*/ 28 w 62"/>
                    <a:gd name="T33" fmla="*/ 11 h 57"/>
                    <a:gd name="T34" fmla="*/ 23 w 62"/>
                    <a:gd name="T35" fmla="*/ 16 h 57"/>
                    <a:gd name="T36" fmla="*/ 19 w 62"/>
                    <a:gd name="T37" fmla="*/ 20 h 57"/>
                    <a:gd name="T38" fmla="*/ 16 w 62"/>
                    <a:gd name="T39" fmla="*/ 23 h 57"/>
                    <a:gd name="T40" fmla="*/ 14 w 62"/>
                    <a:gd name="T41" fmla="*/ 25 h 57"/>
                    <a:gd name="T42" fmla="*/ 12 w 62"/>
                    <a:gd name="T43" fmla="*/ 26 h 57"/>
                    <a:gd name="T44" fmla="*/ 12 w 62"/>
                    <a:gd name="T45" fmla="*/ 26 h 57"/>
                    <a:gd name="T46" fmla="*/ 11 w 62"/>
                    <a:gd name="T47" fmla="*/ 25 h 57"/>
                    <a:gd name="T48" fmla="*/ 9 w 62"/>
                    <a:gd name="T49" fmla="*/ 24 h 57"/>
                    <a:gd name="T50" fmla="*/ 9 w 62"/>
                    <a:gd name="T51" fmla="*/ 22 h 57"/>
                    <a:gd name="T52" fmla="*/ 8 w 62"/>
                    <a:gd name="T53" fmla="*/ 20 h 57"/>
                    <a:gd name="T54" fmla="*/ 8 w 62"/>
                    <a:gd name="T55" fmla="*/ 18 h 57"/>
                    <a:gd name="T56" fmla="*/ 7 w 62"/>
                    <a:gd name="T57" fmla="*/ 14 h 57"/>
                    <a:gd name="T58" fmla="*/ 6 w 62"/>
                    <a:gd name="T59" fmla="*/ 11 h 57"/>
                    <a:gd name="T60" fmla="*/ 5 w 62"/>
                    <a:gd name="T61" fmla="*/ 8 h 57"/>
                    <a:gd name="T62" fmla="*/ 3 w 62"/>
                    <a:gd name="T63" fmla="*/ 4 h 57"/>
                    <a:gd name="T64" fmla="*/ 1 w 62"/>
                    <a:gd name="T65" fmla="*/ 1 h 57"/>
                    <a:gd name="T66" fmla="*/ 1 w 62"/>
                    <a:gd name="T67" fmla="*/ 0 h 57"/>
                    <a:gd name="T68" fmla="*/ 1 w 62"/>
                    <a:gd name="T69" fmla="*/ 0 h 57"/>
                    <a:gd name="T70" fmla="*/ 1 w 62"/>
                    <a:gd name="T71" fmla="*/ 0 h 57"/>
                    <a:gd name="T72" fmla="*/ 1 w 62"/>
                    <a:gd name="T73" fmla="*/ 0 h 57"/>
                    <a:gd name="T74" fmla="*/ 1 w 62"/>
                    <a:gd name="T75" fmla="*/ 1 h 57"/>
                    <a:gd name="T76" fmla="*/ 1 w 62"/>
                    <a:gd name="T77" fmla="*/ 1 h 57"/>
                    <a:gd name="T78" fmla="*/ 0 w 62"/>
                    <a:gd name="T79" fmla="*/ 1 h 57"/>
                    <a:gd name="T80" fmla="*/ 1 w 62"/>
                    <a:gd name="T81" fmla="*/ 1 h 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2" h="57">
                      <a:moveTo>
                        <a:pt x="1" y="4"/>
                      </a:moveTo>
                      <a:lnTo>
                        <a:pt x="3" y="7"/>
                      </a:lnTo>
                      <a:lnTo>
                        <a:pt x="5" y="10"/>
                      </a:lnTo>
                      <a:lnTo>
                        <a:pt x="7" y="13"/>
                      </a:lnTo>
                      <a:lnTo>
                        <a:pt x="8" y="17"/>
                      </a:lnTo>
                      <a:lnTo>
                        <a:pt x="9" y="20"/>
                      </a:lnTo>
                      <a:lnTo>
                        <a:pt x="11" y="23"/>
                      </a:lnTo>
                      <a:lnTo>
                        <a:pt x="12" y="27"/>
                      </a:lnTo>
                      <a:lnTo>
                        <a:pt x="12" y="30"/>
                      </a:lnTo>
                      <a:lnTo>
                        <a:pt x="13" y="33"/>
                      </a:lnTo>
                      <a:lnTo>
                        <a:pt x="14" y="37"/>
                      </a:lnTo>
                      <a:lnTo>
                        <a:pt x="15" y="39"/>
                      </a:lnTo>
                      <a:lnTo>
                        <a:pt x="15" y="42"/>
                      </a:lnTo>
                      <a:lnTo>
                        <a:pt x="16" y="45"/>
                      </a:lnTo>
                      <a:lnTo>
                        <a:pt x="17" y="47"/>
                      </a:lnTo>
                      <a:lnTo>
                        <a:pt x="18" y="50"/>
                      </a:lnTo>
                      <a:lnTo>
                        <a:pt x="19" y="52"/>
                      </a:lnTo>
                      <a:lnTo>
                        <a:pt x="20" y="54"/>
                      </a:lnTo>
                      <a:lnTo>
                        <a:pt x="21" y="55"/>
                      </a:lnTo>
                      <a:lnTo>
                        <a:pt x="22" y="56"/>
                      </a:lnTo>
                      <a:lnTo>
                        <a:pt x="24" y="57"/>
                      </a:lnTo>
                      <a:lnTo>
                        <a:pt x="26" y="57"/>
                      </a:lnTo>
                      <a:lnTo>
                        <a:pt x="28" y="57"/>
                      </a:lnTo>
                      <a:lnTo>
                        <a:pt x="30" y="56"/>
                      </a:lnTo>
                      <a:lnTo>
                        <a:pt x="32" y="55"/>
                      </a:lnTo>
                      <a:lnTo>
                        <a:pt x="35" y="53"/>
                      </a:lnTo>
                      <a:lnTo>
                        <a:pt x="38" y="51"/>
                      </a:lnTo>
                      <a:lnTo>
                        <a:pt x="41" y="48"/>
                      </a:lnTo>
                      <a:lnTo>
                        <a:pt x="44" y="45"/>
                      </a:lnTo>
                      <a:lnTo>
                        <a:pt x="48" y="41"/>
                      </a:lnTo>
                      <a:lnTo>
                        <a:pt x="52" y="36"/>
                      </a:lnTo>
                      <a:lnTo>
                        <a:pt x="57" y="31"/>
                      </a:lnTo>
                      <a:lnTo>
                        <a:pt x="62" y="25"/>
                      </a:lnTo>
                      <a:lnTo>
                        <a:pt x="60" y="22"/>
                      </a:lnTo>
                      <a:lnTo>
                        <a:pt x="55" y="27"/>
                      </a:lnTo>
                      <a:lnTo>
                        <a:pt x="50" y="33"/>
                      </a:lnTo>
                      <a:lnTo>
                        <a:pt x="46" y="37"/>
                      </a:lnTo>
                      <a:lnTo>
                        <a:pt x="42" y="41"/>
                      </a:lnTo>
                      <a:lnTo>
                        <a:pt x="39" y="45"/>
                      </a:lnTo>
                      <a:lnTo>
                        <a:pt x="36" y="47"/>
                      </a:lnTo>
                      <a:lnTo>
                        <a:pt x="33" y="49"/>
                      </a:lnTo>
                      <a:lnTo>
                        <a:pt x="31" y="51"/>
                      </a:lnTo>
                      <a:lnTo>
                        <a:pt x="29" y="52"/>
                      </a:lnTo>
                      <a:lnTo>
                        <a:pt x="27" y="53"/>
                      </a:lnTo>
                      <a:lnTo>
                        <a:pt x="26" y="53"/>
                      </a:lnTo>
                      <a:lnTo>
                        <a:pt x="25" y="53"/>
                      </a:lnTo>
                      <a:lnTo>
                        <a:pt x="23" y="53"/>
                      </a:lnTo>
                      <a:lnTo>
                        <a:pt x="23" y="52"/>
                      </a:lnTo>
                      <a:lnTo>
                        <a:pt x="22" y="51"/>
                      </a:lnTo>
                      <a:lnTo>
                        <a:pt x="21" y="49"/>
                      </a:lnTo>
                      <a:lnTo>
                        <a:pt x="20" y="48"/>
                      </a:lnTo>
                      <a:lnTo>
                        <a:pt x="20" y="46"/>
                      </a:lnTo>
                      <a:lnTo>
                        <a:pt x="19" y="44"/>
                      </a:lnTo>
                      <a:lnTo>
                        <a:pt x="18" y="41"/>
                      </a:lnTo>
                      <a:lnTo>
                        <a:pt x="18" y="38"/>
                      </a:lnTo>
                      <a:lnTo>
                        <a:pt x="17" y="35"/>
                      </a:lnTo>
                      <a:lnTo>
                        <a:pt x="16" y="32"/>
                      </a:lnTo>
                      <a:lnTo>
                        <a:pt x="15" y="29"/>
                      </a:lnTo>
                      <a:lnTo>
                        <a:pt x="15" y="25"/>
                      </a:lnTo>
                      <a:lnTo>
                        <a:pt x="13" y="22"/>
                      </a:lnTo>
                      <a:lnTo>
                        <a:pt x="12" y="19"/>
                      </a:lnTo>
                      <a:lnTo>
                        <a:pt x="11" y="15"/>
                      </a:lnTo>
                      <a:lnTo>
                        <a:pt x="9" y="11"/>
                      </a:lnTo>
                      <a:lnTo>
                        <a:pt x="8" y="8"/>
                      </a:lnTo>
                      <a:lnTo>
                        <a:pt x="6" y="4"/>
                      </a:lnTo>
                      <a:lnTo>
                        <a:pt x="3" y="1"/>
                      </a:lnTo>
                      <a:lnTo>
                        <a:pt x="3" y="0"/>
                      </a:lnTo>
                      <a:lnTo>
                        <a:pt x="2" y="0"/>
                      </a:lnTo>
                      <a:lnTo>
                        <a:pt x="1" y="0"/>
                      </a:lnTo>
                      <a:lnTo>
                        <a:pt x="1" y="1"/>
                      </a:lnTo>
                      <a:lnTo>
                        <a:pt x="1" y="2"/>
                      </a:lnTo>
                      <a:lnTo>
                        <a:pt x="0" y="2"/>
                      </a:lnTo>
                      <a:lnTo>
                        <a:pt x="1" y="3"/>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699" name="Freeform 891">
                  <a:extLst>
                    <a:ext uri="{FF2B5EF4-FFF2-40B4-BE49-F238E27FC236}">
                      <a16:creationId xmlns:a16="http://schemas.microsoft.com/office/drawing/2014/main" id="{A725D974-D549-D1B0-8DCF-DFC515D1584F}"/>
                    </a:ext>
                  </a:extLst>
                </p:cNvPr>
                <p:cNvSpPr>
                  <a:spLocks/>
                </p:cNvSpPr>
                <p:nvPr/>
              </p:nvSpPr>
              <p:spPr bwMode="auto">
                <a:xfrm>
                  <a:off x="362" y="2255"/>
                  <a:ext cx="42" cy="14"/>
                </a:xfrm>
                <a:custGeom>
                  <a:avLst/>
                  <a:gdLst>
                    <a:gd name="T0" fmla="*/ 1 w 58"/>
                    <a:gd name="T1" fmla="*/ 9 h 19"/>
                    <a:gd name="T2" fmla="*/ 4 w 58"/>
                    <a:gd name="T3" fmla="*/ 7 h 19"/>
                    <a:gd name="T4" fmla="*/ 7 w 58"/>
                    <a:gd name="T5" fmla="*/ 7 h 19"/>
                    <a:gd name="T6" fmla="*/ 9 w 58"/>
                    <a:gd name="T7" fmla="*/ 5 h 19"/>
                    <a:gd name="T8" fmla="*/ 10 w 58"/>
                    <a:gd name="T9" fmla="*/ 4 h 19"/>
                    <a:gd name="T10" fmla="*/ 12 w 58"/>
                    <a:gd name="T11" fmla="*/ 4 h 19"/>
                    <a:gd name="T12" fmla="*/ 14 w 58"/>
                    <a:gd name="T13" fmla="*/ 3 h 19"/>
                    <a:gd name="T14" fmla="*/ 16 w 58"/>
                    <a:gd name="T15" fmla="*/ 3 h 19"/>
                    <a:gd name="T16" fmla="*/ 17 w 58"/>
                    <a:gd name="T17" fmla="*/ 3 h 19"/>
                    <a:gd name="T18" fmla="*/ 19 w 58"/>
                    <a:gd name="T19" fmla="*/ 3 h 19"/>
                    <a:gd name="T20" fmla="*/ 20 w 58"/>
                    <a:gd name="T21" fmla="*/ 3 h 19"/>
                    <a:gd name="T22" fmla="*/ 22 w 58"/>
                    <a:gd name="T23" fmla="*/ 3 h 19"/>
                    <a:gd name="T24" fmla="*/ 23 w 58"/>
                    <a:gd name="T25" fmla="*/ 4 h 19"/>
                    <a:gd name="T26" fmla="*/ 24 w 58"/>
                    <a:gd name="T27" fmla="*/ 5 h 19"/>
                    <a:gd name="T28" fmla="*/ 25 w 58"/>
                    <a:gd name="T29" fmla="*/ 7 h 19"/>
                    <a:gd name="T30" fmla="*/ 28 w 58"/>
                    <a:gd name="T31" fmla="*/ 8 h 19"/>
                    <a:gd name="T32" fmla="*/ 30 w 58"/>
                    <a:gd name="T33" fmla="*/ 10 h 19"/>
                    <a:gd name="T34" fmla="*/ 30 w 58"/>
                    <a:gd name="T35" fmla="*/ 7 h 19"/>
                    <a:gd name="T36" fmla="*/ 28 w 58"/>
                    <a:gd name="T37" fmla="*/ 5 h 19"/>
                    <a:gd name="T38" fmla="*/ 26 w 58"/>
                    <a:gd name="T39" fmla="*/ 4 h 19"/>
                    <a:gd name="T40" fmla="*/ 24 w 58"/>
                    <a:gd name="T41" fmla="*/ 3 h 19"/>
                    <a:gd name="T42" fmla="*/ 23 w 58"/>
                    <a:gd name="T43" fmla="*/ 1 h 19"/>
                    <a:gd name="T44" fmla="*/ 22 w 58"/>
                    <a:gd name="T45" fmla="*/ 1 h 19"/>
                    <a:gd name="T46" fmla="*/ 20 w 58"/>
                    <a:gd name="T47" fmla="*/ 0 h 19"/>
                    <a:gd name="T48" fmla="*/ 18 w 58"/>
                    <a:gd name="T49" fmla="*/ 0 h 19"/>
                    <a:gd name="T50" fmla="*/ 16 w 58"/>
                    <a:gd name="T51" fmla="*/ 1 h 19"/>
                    <a:gd name="T52" fmla="*/ 14 w 58"/>
                    <a:gd name="T53" fmla="*/ 1 h 19"/>
                    <a:gd name="T54" fmla="*/ 12 w 58"/>
                    <a:gd name="T55" fmla="*/ 1 h 19"/>
                    <a:gd name="T56" fmla="*/ 11 w 58"/>
                    <a:gd name="T57" fmla="*/ 2 h 19"/>
                    <a:gd name="T58" fmla="*/ 9 w 58"/>
                    <a:gd name="T59" fmla="*/ 3 h 19"/>
                    <a:gd name="T60" fmla="*/ 7 w 58"/>
                    <a:gd name="T61" fmla="*/ 4 h 19"/>
                    <a:gd name="T62" fmla="*/ 4 w 58"/>
                    <a:gd name="T63" fmla="*/ 5 h 19"/>
                    <a:gd name="T64" fmla="*/ 2 w 58"/>
                    <a:gd name="T65" fmla="*/ 6 h 19"/>
                    <a:gd name="T66" fmla="*/ 1 w 58"/>
                    <a:gd name="T67" fmla="*/ 7 h 19"/>
                    <a:gd name="T68" fmla="*/ 1 w 58"/>
                    <a:gd name="T69" fmla="*/ 7 h 19"/>
                    <a:gd name="T70" fmla="*/ 0 w 58"/>
                    <a:gd name="T71" fmla="*/ 7 h 19"/>
                    <a:gd name="T72" fmla="*/ 0 w 58"/>
                    <a:gd name="T73" fmla="*/ 7 h 19"/>
                    <a:gd name="T74" fmla="*/ 0 w 58"/>
                    <a:gd name="T75" fmla="*/ 7 h 19"/>
                    <a:gd name="T76" fmla="*/ 0 w 58"/>
                    <a:gd name="T77" fmla="*/ 7 h 19"/>
                    <a:gd name="T78" fmla="*/ 0 w 58"/>
                    <a:gd name="T79" fmla="*/ 8 h 19"/>
                    <a:gd name="T80" fmla="*/ 1 w 58"/>
                    <a:gd name="T81" fmla="*/ 9 h 19"/>
                    <a:gd name="T82" fmla="*/ 1 w 58"/>
                    <a:gd name="T83" fmla="*/ 9 h 19"/>
                    <a:gd name="T84" fmla="*/ 1 w 58"/>
                    <a:gd name="T85" fmla="*/ 9 h 19"/>
                    <a:gd name="T86" fmla="*/ 1 w 58"/>
                    <a:gd name="T87" fmla="*/ 9 h 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 h="19">
                      <a:moveTo>
                        <a:pt x="0" y="15"/>
                      </a:moveTo>
                      <a:lnTo>
                        <a:pt x="2" y="16"/>
                      </a:lnTo>
                      <a:lnTo>
                        <a:pt x="4" y="15"/>
                      </a:lnTo>
                      <a:lnTo>
                        <a:pt x="7" y="14"/>
                      </a:lnTo>
                      <a:lnTo>
                        <a:pt x="9" y="13"/>
                      </a:lnTo>
                      <a:lnTo>
                        <a:pt x="12" y="12"/>
                      </a:lnTo>
                      <a:lnTo>
                        <a:pt x="14" y="11"/>
                      </a:lnTo>
                      <a:lnTo>
                        <a:pt x="16" y="10"/>
                      </a:lnTo>
                      <a:lnTo>
                        <a:pt x="18" y="9"/>
                      </a:lnTo>
                      <a:lnTo>
                        <a:pt x="20" y="8"/>
                      </a:lnTo>
                      <a:lnTo>
                        <a:pt x="22" y="8"/>
                      </a:lnTo>
                      <a:lnTo>
                        <a:pt x="23" y="7"/>
                      </a:lnTo>
                      <a:lnTo>
                        <a:pt x="25" y="7"/>
                      </a:lnTo>
                      <a:lnTo>
                        <a:pt x="27" y="6"/>
                      </a:lnTo>
                      <a:lnTo>
                        <a:pt x="28" y="6"/>
                      </a:lnTo>
                      <a:lnTo>
                        <a:pt x="30" y="5"/>
                      </a:lnTo>
                      <a:lnTo>
                        <a:pt x="31" y="5"/>
                      </a:lnTo>
                      <a:lnTo>
                        <a:pt x="33" y="5"/>
                      </a:lnTo>
                      <a:lnTo>
                        <a:pt x="35" y="5"/>
                      </a:lnTo>
                      <a:lnTo>
                        <a:pt x="36" y="5"/>
                      </a:lnTo>
                      <a:lnTo>
                        <a:pt x="37" y="5"/>
                      </a:lnTo>
                      <a:lnTo>
                        <a:pt x="39" y="5"/>
                      </a:lnTo>
                      <a:lnTo>
                        <a:pt x="40" y="5"/>
                      </a:lnTo>
                      <a:lnTo>
                        <a:pt x="41" y="6"/>
                      </a:lnTo>
                      <a:lnTo>
                        <a:pt x="43" y="6"/>
                      </a:lnTo>
                      <a:lnTo>
                        <a:pt x="44" y="7"/>
                      </a:lnTo>
                      <a:lnTo>
                        <a:pt x="45" y="8"/>
                      </a:lnTo>
                      <a:lnTo>
                        <a:pt x="46" y="9"/>
                      </a:lnTo>
                      <a:lnTo>
                        <a:pt x="48" y="10"/>
                      </a:lnTo>
                      <a:lnTo>
                        <a:pt x="49" y="12"/>
                      </a:lnTo>
                      <a:lnTo>
                        <a:pt x="51" y="13"/>
                      </a:lnTo>
                      <a:lnTo>
                        <a:pt x="52" y="15"/>
                      </a:lnTo>
                      <a:lnTo>
                        <a:pt x="54" y="17"/>
                      </a:lnTo>
                      <a:lnTo>
                        <a:pt x="56" y="19"/>
                      </a:lnTo>
                      <a:lnTo>
                        <a:pt x="58" y="16"/>
                      </a:lnTo>
                      <a:lnTo>
                        <a:pt x="56" y="14"/>
                      </a:lnTo>
                      <a:lnTo>
                        <a:pt x="55" y="12"/>
                      </a:lnTo>
                      <a:lnTo>
                        <a:pt x="53" y="10"/>
                      </a:lnTo>
                      <a:lnTo>
                        <a:pt x="51" y="8"/>
                      </a:lnTo>
                      <a:lnTo>
                        <a:pt x="50" y="7"/>
                      </a:lnTo>
                      <a:lnTo>
                        <a:pt x="48" y="6"/>
                      </a:lnTo>
                      <a:lnTo>
                        <a:pt x="46" y="5"/>
                      </a:lnTo>
                      <a:lnTo>
                        <a:pt x="45" y="3"/>
                      </a:lnTo>
                      <a:lnTo>
                        <a:pt x="44" y="3"/>
                      </a:lnTo>
                      <a:lnTo>
                        <a:pt x="42" y="2"/>
                      </a:lnTo>
                      <a:lnTo>
                        <a:pt x="41" y="2"/>
                      </a:lnTo>
                      <a:lnTo>
                        <a:pt x="39" y="1"/>
                      </a:lnTo>
                      <a:lnTo>
                        <a:pt x="37" y="0"/>
                      </a:lnTo>
                      <a:lnTo>
                        <a:pt x="36" y="0"/>
                      </a:lnTo>
                      <a:lnTo>
                        <a:pt x="35" y="0"/>
                      </a:lnTo>
                      <a:lnTo>
                        <a:pt x="33" y="0"/>
                      </a:lnTo>
                      <a:lnTo>
                        <a:pt x="31" y="1"/>
                      </a:lnTo>
                      <a:lnTo>
                        <a:pt x="30" y="2"/>
                      </a:lnTo>
                      <a:lnTo>
                        <a:pt x="28" y="2"/>
                      </a:lnTo>
                      <a:lnTo>
                        <a:pt x="26" y="2"/>
                      </a:lnTo>
                      <a:lnTo>
                        <a:pt x="24" y="3"/>
                      </a:lnTo>
                      <a:lnTo>
                        <a:pt x="23" y="3"/>
                      </a:lnTo>
                      <a:lnTo>
                        <a:pt x="21" y="4"/>
                      </a:lnTo>
                      <a:lnTo>
                        <a:pt x="19" y="5"/>
                      </a:lnTo>
                      <a:lnTo>
                        <a:pt x="17" y="6"/>
                      </a:lnTo>
                      <a:lnTo>
                        <a:pt x="15" y="7"/>
                      </a:lnTo>
                      <a:lnTo>
                        <a:pt x="13" y="7"/>
                      </a:lnTo>
                      <a:lnTo>
                        <a:pt x="11" y="8"/>
                      </a:lnTo>
                      <a:lnTo>
                        <a:pt x="8" y="9"/>
                      </a:lnTo>
                      <a:lnTo>
                        <a:pt x="6" y="10"/>
                      </a:lnTo>
                      <a:lnTo>
                        <a:pt x="4" y="11"/>
                      </a:lnTo>
                      <a:lnTo>
                        <a:pt x="1" y="12"/>
                      </a:lnTo>
                      <a:lnTo>
                        <a:pt x="3" y="12"/>
                      </a:lnTo>
                      <a:lnTo>
                        <a:pt x="1" y="12"/>
                      </a:lnTo>
                      <a:lnTo>
                        <a:pt x="0" y="12"/>
                      </a:lnTo>
                      <a:lnTo>
                        <a:pt x="0" y="13"/>
                      </a:lnTo>
                      <a:lnTo>
                        <a:pt x="0" y="14"/>
                      </a:lnTo>
                      <a:lnTo>
                        <a:pt x="0" y="15"/>
                      </a:lnTo>
                      <a:lnTo>
                        <a:pt x="1" y="16"/>
                      </a:lnTo>
                      <a:lnTo>
                        <a:pt x="2" y="16"/>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0" name="Freeform 892">
                  <a:extLst>
                    <a:ext uri="{FF2B5EF4-FFF2-40B4-BE49-F238E27FC236}">
                      <a16:creationId xmlns:a16="http://schemas.microsoft.com/office/drawing/2014/main" id="{8DF5EC39-AC4A-28CB-4594-0FA38B9BD22D}"/>
                    </a:ext>
                  </a:extLst>
                </p:cNvPr>
                <p:cNvSpPr>
                  <a:spLocks/>
                </p:cNvSpPr>
                <p:nvPr/>
              </p:nvSpPr>
              <p:spPr bwMode="auto">
                <a:xfrm>
                  <a:off x="349" y="2238"/>
                  <a:ext cx="16" cy="28"/>
                </a:xfrm>
                <a:custGeom>
                  <a:avLst/>
                  <a:gdLst>
                    <a:gd name="T0" fmla="*/ 0 w 22"/>
                    <a:gd name="T1" fmla="*/ 1 h 39"/>
                    <a:gd name="T2" fmla="*/ 0 w 22"/>
                    <a:gd name="T3" fmla="*/ 3 h 39"/>
                    <a:gd name="T4" fmla="*/ 0 w 22"/>
                    <a:gd name="T5" fmla="*/ 4 h 39"/>
                    <a:gd name="T6" fmla="*/ 1 w 22"/>
                    <a:gd name="T7" fmla="*/ 6 h 39"/>
                    <a:gd name="T8" fmla="*/ 1 w 22"/>
                    <a:gd name="T9" fmla="*/ 8 h 39"/>
                    <a:gd name="T10" fmla="*/ 2 w 22"/>
                    <a:gd name="T11" fmla="*/ 9 h 39"/>
                    <a:gd name="T12" fmla="*/ 3 w 22"/>
                    <a:gd name="T13" fmla="*/ 11 h 39"/>
                    <a:gd name="T14" fmla="*/ 4 w 22"/>
                    <a:gd name="T15" fmla="*/ 12 h 39"/>
                    <a:gd name="T16" fmla="*/ 5 w 22"/>
                    <a:gd name="T17" fmla="*/ 14 h 39"/>
                    <a:gd name="T18" fmla="*/ 7 w 22"/>
                    <a:gd name="T19" fmla="*/ 15 h 39"/>
                    <a:gd name="T20" fmla="*/ 7 w 22"/>
                    <a:gd name="T21" fmla="*/ 17 h 39"/>
                    <a:gd name="T22" fmla="*/ 8 w 22"/>
                    <a:gd name="T23" fmla="*/ 17 h 39"/>
                    <a:gd name="T24" fmla="*/ 9 w 22"/>
                    <a:gd name="T25" fmla="*/ 19 h 39"/>
                    <a:gd name="T26" fmla="*/ 9 w 22"/>
                    <a:gd name="T27" fmla="*/ 19 h 39"/>
                    <a:gd name="T28" fmla="*/ 9 w 22"/>
                    <a:gd name="T29" fmla="*/ 20 h 39"/>
                    <a:gd name="T30" fmla="*/ 10 w 22"/>
                    <a:gd name="T31" fmla="*/ 20 h 39"/>
                    <a:gd name="T32" fmla="*/ 11 w 22"/>
                    <a:gd name="T33" fmla="*/ 19 h 39"/>
                    <a:gd name="T34" fmla="*/ 11 w 22"/>
                    <a:gd name="T35" fmla="*/ 18 h 39"/>
                    <a:gd name="T36" fmla="*/ 11 w 22"/>
                    <a:gd name="T37" fmla="*/ 17 h 39"/>
                    <a:gd name="T38" fmla="*/ 9 w 22"/>
                    <a:gd name="T39" fmla="*/ 17 h 39"/>
                    <a:gd name="T40" fmla="*/ 9 w 22"/>
                    <a:gd name="T41" fmla="*/ 16 h 39"/>
                    <a:gd name="T42" fmla="*/ 8 w 22"/>
                    <a:gd name="T43" fmla="*/ 14 h 39"/>
                    <a:gd name="T44" fmla="*/ 7 w 22"/>
                    <a:gd name="T45" fmla="*/ 14 h 39"/>
                    <a:gd name="T46" fmla="*/ 6 w 22"/>
                    <a:gd name="T47" fmla="*/ 12 h 39"/>
                    <a:gd name="T48" fmla="*/ 5 w 22"/>
                    <a:gd name="T49" fmla="*/ 10 h 39"/>
                    <a:gd name="T50" fmla="*/ 4 w 22"/>
                    <a:gd name="T51" fmla="*/ 9 h 39"/>
                    <a:gd name="T52" fmla="*/ 3 w 22"/>
                    <a:gd name="T53" fmla="*/ 8 h 39"/>
                    <a:gd name="T54" fmla="*/ 3 w 22"/>
                    <a:gd name="T55" fmla="*/ 6 h 39"/>
                    <a:gd name="T56" fmla="*/ 2 w 22"/>
                    <a:gd name="T57" fmla="*/ 4 h 39"/>
                    <a:gd name="T58" fmla="*/ 1 w 22"/>
                    <a:gd name="T59" fmla="*/ 4 h 39"/>
                    <a:gd name="T60" fmla="*/ 1 w 22"/>
                    <a:gd name="T61" fmla="*/ 3 h 39"/>
                    <a:gd name="T62" fmla="*/ 2 w 22"/>
                    <a:gd name="T63" fmla="*/ 2 h 39"/>
                    <a:gd name="T64" fmla="*/ 2 w 22"/>
                    <a:gd name="T65" fmla="*/ 1 h 39"/>
                    <a:gd name="T66" fmla="*/ 2 w 22"/>
                    <a:gd name="T67" fmla="*/ 1 h 39"/>
                    <a:gd name="T68" fmla="*/ 2 w 22"/>
                    <a:gd name="T69" fmla="*/ 1 h 39"/>
                    <a:gd name="T70" fmla="*/ 1 w 22"/>
                    <a:gd name="T71" fmla="*/ 0 h 39"/>
                    <a:gd name="T72" fmla="*/ 1 w 22"/>
                    <a:gd name="T73" fmla="*/ 0 h 39"/>
                    <a:gd name="T74" fmla="*/ 1 w 22"/>
                    <a:gd name="T75" fmla="*/ 0 h 39"/>
                    <a:gd name="T76" fmla="*/ 1 w 22"/>
                    <a:gd name="T77" fmla="*/ 0 h 39"/>
                    <a:gd name="T78" fmla="*/ 1 w 22"/>
                    <a:gd name="T79" fmla="*/ 1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 h="39">
                      <a:moveTo>
                        <a:pt x="1" y="1"/>
                      </a:moveTo>
                      <a:lnTo>
                        <a:pt x="0" y="3"/>
                      </a:lnTo>
                      <a:lnTo>
                        <a:pt x="0" y="4"/>
                      </a:lnTo>
                      <a:lnTo>
                        <a:pt x="0" y="6"/>
                      </a:lnTo>
                      <a:lnTo>
                        <a:pt x="0" y="7"/>
                      </a:lnTo>
                      <a:lnTo>
                        <a:pt x="0" y="9"/>
                      </a:lnTo>
                      <a:lnTo>
                        <a:pt x="1" y="10"/>
                      </a:lnTo>
                      <a:lnTo>
                        <a:pt x="2" y="12"/>
                      </a:lnTo>
                      <a:lnTo>
                        <a:pt x="2" y="14"/>
                      </a:lnTo>
                      <a:lnTo>
                        <a:pt x="2" y="15"/>
                      </a:lnTo>
                      <a:lnTo>
                        <a:pt x="3" y="17"/>
                      </a:lnTo>
                      <a:lnTo>
                        <a:pt x="4" y="18"/>
                      </a:lnTo>
                      <a:lnTo>
                        <a:pt x="5" y="20"/>
                      </a:lnTo>
                      <a:lnTo>
                        <a:pt x="6" y="22"/>
                      </a:lnTo>
                      <a:lnTo>
                        <a:pt x="7" y="22"/>
                      </a:lnTo>
                      <a:lnTo>
                        <a:pt x="7" y="24"/>
                      </a:lnTo>
                      <a:lnTo>
                        <a:pt x="8" y="26"/>
                      </a:lnTo>
                      <a:lnTo>
                        <a:pt x="10" y="27"/>
                      </a:lnTo>
                      <a:lnTo>
                        <a:pt x="10" y="28"/>
                      </a:lnTo>
                      <a:lnTo>
                        <a:pt x="12" y="29"/>
                      </a:lnTo>
                      <a:lnTo>
                        <a:pt x="12" y="31"/>
                      </a:lnTo>
                      <a:lnTo>
                        <a:pt x="13" y="32"/>
                      </a:lnTo>
                      <a:lnTo>
                        <a:pt x="14" y="33"/>
                      </a:lnTo>
                      <a:lnTo>
                        <a:pt x="15" y="34"/>
                      </a:lnTo>
                      <a:lnTo>
                        <a:pt x="16" y="35"/>
                      </a:lnTo>
                      <a:lnTo>
                        <a:pt x="17" y="36"/>
                      </a:lnTo>
                      <a:lnTo>
                        <a:pt x="17" y="37"/>
                      </a:lnTo>
                      <a:lnTo>
                        <a:pt x="18" y="37"/>
                      </a:lnTo>
                      <a:lnTo>
                        <a:pt x="18" y="39"/>
                      </a:lnTo>
                      <a:lnTo>
                        <a:pt x="19" y="39"/>
                      </a:lnTo>
                      <a:lnTo>
                        <a:pt x="22" y="36"/>
                      </a:lnTo>
                      <a:lnTo>
                        <a:pt x="21" y="36"/>
                      </a:lnTo>
                      <a:lnTo>
                        <a:pt x="21" y="35"/>
                      </a:lnTo>
                      <a:lnTo>
                        <a:pt x="20" y="35"/>
                      </a:lnTo>
                      <a:lnTo>
                        <a:pt x="20" y="34"/>
                      </a:lnTo>
                      <a:lnTo>
                        <a:pt x="18" y="33"/>
                      </a:lnTo>
                      <a:lnTo>
                        <a:pt x="18" y="32"/>
                      </a:lnTo>
                      <a:lnTo>
                        <a:pt x="17" y="31"/>
                      </a:lnTo>
                      <a:lnTo>
                        <a:pt x="17" y="30"/>
                      </a:lnTo>
                      <a:lnTo>
                        <a:pt x="15" y="29"/>
                      </a:lnTo>
                      <a:lnTo>
                        <a:pt x="15" y="28"/>
                      </a:lnTo>
                      <a:lnTo>
                        <a:pt x="14" y="27"/>
                      </a:lnTo>
                      <a:lnTo>
                        <a:pt x="13" y="26"/>
                      </a:lnTo>
                      <a:lnTo>
                        <a:pt x="12" y="24"/>
                      </a:lnTo>
                      <a:lnTo>
                        <a:pt x="11" y="23"/>
                      </a:lnTo>
                      <a:lnTo>
                        <a:pt x="10" y="22"/>
                      </a:lnTo>
                      <a:lnTo>
                        <a:pt x="9" y="20"/>
                      </a:lnTo>
                      <a:lnTo>
                        <a:pt x="8" y="19"/>
                      </a:lnTo>
                      <a:lnTo>
                        <a:pt x="7" y="17"/>
                      </a:lnTo>
                      <a:lnTo>
                        <a:pt x="7" y="16"/>
                      </a:lnTo>
                      <a:lnTo>
                        <a:pt x="6" y="15"/>
                      </a:lnTo>
                      <a:lnTo>
                        <a:pt x="5" y="13"/>
                      </a:lnTo>
                      <a:lnTo>
                        <a:pt x="5" y="12"/>
                      </a:lnTo>
                      <a:lnTo>
                        <a:pt x="4" y="10"/>
                      </a:lnTo>
                      <a:lnTo>
                        <a:pt x="4" y="9"/>
                      </a:lnTo>
                      <a:lnTo>
                        <a:pt x="4" y="8"/>
                      </a:lnTo>
                      <a:lnTo>
                        <a:pt x="3" y="7"/>
                      </a:lnTo>
                      <a:lnTo>
                        <a:pt x="3" y="6"/>
                      </a:lnTo>
                      <a:lnTo>
                        <a:pt x="3" y="5"/>
                      </a:lnTo>
                      <a:lnTo>
                        <a:pt x="3" y="4"/>
                      </a:lnTo>
                      <a:lnTo>
                        <a:pt x="4" y="4"/>
                      </a:lnTo>
                      <a:lnTo>
                        <a:pt x="4" y="3"/>
                      </a:lnTo>
                      <a:lnTo>
                        <a:pt x="4" y="2"/>
                      </a:lnTo>
                      <a:lnTo>
                        <a:pt x="4" y="1"/>
                      </a:lnTo>
                      <a:lnTo>
                        <a:pt x="3" y="1"/>
                      </a:lnTo>
                      <a:lnTo>
                        <a:pt x="3" y="0"/>
                      </a:lnTo>
                      <a:lnTo>
                        <a:pt x="2" y="0"/>
                      </a:lnTo>
                      <a:lnTo>
                        <a:pt x="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1" name="Freeform 893">
                  <a:extLst>
                    <a:ext uri="{FF2B5EF4-FFF2-40B4-BE49-F238E27FC236}">
                      <a16:creationId xmlns:a16="http://schemas.microsoft.com/office/drawing/2014/main" id="{F324CF6B-249E-6051-92DE-3766B9BA27DB}"/>
                    </a:ext>
                  </a:extLst>
                </p:cNvPr>
                <p:cNvSpPr>
                  <a:spLocks/>
                </p:cNvSpPr>
                <p:nvPr/>
              </p:nvSpPr>
              <p:spPr bwMode="auto">
                <a:xfrm>
                  <a:off x="349" y="2212"/>
                  <a:ext cx="42" cy="29"/>
                </a:xfrm>
                <a:custGeom>
                  <a:avLst/>
                  <a:gdLst>
                    <a:gd name="T0" fmla="*/ 27 w 60"/>
                    <a:gd name="T1" fmla="*/ 1 h 39"/>
                    <a:gd name="T2" fmla="*/ 26 w 60"/>
                    <a:gd name="T3" fmla="*/ 3 h 39"/>
                    <a:gd name="T4" fmla="*/ 25 w 60"/>
                    <a:gd name="T5" fmla="*/ 4 h 39"/>
                    <a:gd name="T6" fmla="*/ 23 w 60"/>
                    <a:gd name="T7" fmla="*/ 5 h 39"/>
                    <a:gd name="T8" fmla="*/ 21 w 60"/>
                    <a:gd name="T9" fmla="*/ 5 h 39"/>
                    <a:gd name="T10" fmla="*/ 20 w 60"/>
                    <a:gd name="T11" fmla="*/ 5 h 39"/>
                    <a:gd name="T12" fmla="*/ 18 w 60"/>
                    <a:gd name="T13" fmla="*/ 6 h 39"/>
                    <a:gd name="T14" fmla="*/ 15 w 60"/>
                    <a:gd name="T15" fmla="*/ 6 h 39"/>
                    <a:gd name="T16" fmla="*/ 14 w 60"/>
                    <a:gd name="T17" fmla="*/ 7 h 39"/>
                    <a:gd name="T18" fmla="*/ 12 w 60"/>
                    <a:gd name="T19" fmla="*/ 7 h 39"/>
                    <a:gd name="T20" fmla="*/ 10 w 60"/>
                    <a:gd name="T21" fmla="*/ 7 h 39"/>
                    <a:gd name="T22" fmla="*/ 8 w 60"/>
                    <a:gd name="T23" fmla="*/ 9 h 39"/>
                    <a:gd name="T24" fmla="*/ 6 w 60"/>
                    <a:gd name="T25" fmla="*/ 10 h 39"/>
                    <a:gd name="T26" fmla="*/ 4 w 60"/>
                    <a:gd name="T27" fmla="*/ 13 h 39"/>
                    <a:gd name="T28" fmla="*/ 3 w 60"/>
                    <a:gd name="T29" fmla="*/ 16 h 39"/>
                    <a:gd name="T30" fmla="*/ 1 w 60"/>
                    <a:gd name="T31" fmla="*/ 19 h 39"/>
                    <a:gd name="T32" fmla="*/ 1 w 60"/>
                    <a:gd name="T33" fmla="*/ 22 h 39"/>
                    <a:gd name="T34" fmla="*/ 3 w 60"/>
                    <a:gd name="T35" fmla="*/ 19 h 39"/>
                    <a:gd name="T36" fmla="*/ 4 w 60"/>
                    <a:gd name="T37" fmla="*/ 16 h 39"/>
                    <a:gd name="T38" fmla="*/ 6 w 60"/>
                    <a:gd name="T39" fmla="*/ 13 h 39"/>
                    <a:gd name="T40" fmla="*/ 8 w 60"/>
                    <a:gd name="T41" fmla="*/ 12 h 39"/>
                    <a:gd name="T42" fmla="*/ 9 w 60"/>
                    <a:gd name="T43" fmla="*/ 10 h 39"/>
                    <a:gd name="T44" fmla="*/ 11 w 60"/>
                    <a:gd name="T45" fmla="*/ 10 h 39"/>
                    <a:gd name="T46" fmla="*/ 13 w 60"/>
                    <a:gd name="T47" fmla="*/ 9 h 39"/>
                    <a:gd name="T48" fmla="*/ 15 w 60"/>
                    <a:gd name="T49" fmla="*/ 9 h 39"/>
                    <a:gd name="T50" fmla="*/ 17 w 60"/>
                    <a:gd name="T51" fmla="*/ 8 h 39"/>
                    <a:gd name="T52" fmla="*/ 19 w 60"/>
                    <a:gd name="T53" fmla="*/ 7 h 39"/>
                    <a:gd name="T54" fmla="*/ 20 w 60"/>
                    <a:gd name="T55" fmla="*/ 7 h 39"/>
                    <a:gd name="T56" fmla="*/ 22 w 60"/>
                    <a:gd name="T57" fmla="*/ 7 h 39"/>
                    <a:gd name="T58" fmla="*/ 25 w 60"/>
                    <a:gd name="T59" fmla="*/ 7 h 39"/>
                    <a:gd name="T60" fmla="*/ 26 w 60"/>
                    <a:gd name="T61" fmla="*/ 5 h 39"/>
                    <a:gd name="T62" fmla="*/ 27 w 60"/>
                    <a:gd name="T63" fmla="*/ 4 h 39"/>
                    <a:gd name="T64" fmla="*/ 29 w 60"/>
                    <a:gd name="T65" fmla="*/ 2 h 39"/>
                    <a:gd name="T66" fmla="*/ 29 w 60"/>
                    <a:gd name="T67" fmla="*/ 1 h 39"/>
                    <a:gd name="T68" fmla="*/ 29 w 60"/>
                    <a:gd name="T69" fmla="*/ 1 h 39"/>
                    <a:gd name="T70" fmla="*/ 29 w 60"/>
                    <a:gd name="T71" fmla="*/ 1 h 39"/>
                    <a:gd name="T72" fmla="*/ 29 w 60"/>
                    <a:gd name="T73" fmla="*/ 1 h 39"/>
                    <a:gd name="T74" fmla="*/ 29 w 60"/>
                    <a:gd name="T75" fmla="*/ 0 h 39"/>
                    <a:gd name="T76" fmla="*/ 28 w 60"/>
                    <a:gd name="T77" fmla="*/ 1 h 39"/>
                    <a:gd name="T78" fmla="*/ 28 w 60"/>
                    <a:gd name="T79" fmla="*/ 1 h 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0" h="39">
                      <a:moveTo>
                        <a:pt x="57" y="1"/>
                      </a:moveTo>
                      <a:lnTo>
                        <a:pt x="55" y="2"/>
                      </a:lnTo>
                      <a:lnTo>
                        <a:pt x="54" y="4"/>
                      </a:lnTo>
                      <a:lnTo>
                        <a:pt x="53" y="6"/>
                      </a:lnTo>
                      <a:lnTo>
                        <a:pt x="52" y="6"/>
                      </a:lnTo>
                      <a:lnTo>
                        <a:pt x="50" y="7"/>
                      </a:lnTo>
                      <a:lnTo>
                        <a:pt x="49" y="8"/>
                      </a:lnTo>
                      <a:lnTo>
                        <a:pt x="47" y="9"/>
                      </a:lnTo>
                      <a:lnTo>
                        <a:pt x="45" y="9"/>
                      </a:lnTo>
                      <a:lnTo>
                        <a:pt x="43" y="9"/>
                      </a:lnTo>
                      <a:lnTo>
                        <a:pt x="42" y="10"/>
                      </a:lnTo>
                      <a:lnTo>
                        <a:pt x="40" y="10"/>
                      </a:lnTo>
                      <a:lnTo>
                        <a:pt x="38" y="11"/>
                      </a:lnTo>
                      <a:lnTo>
                        <a:pt x="36" y="11"/>
                      </a:lnTo>
                      <a:lnTo>
                        <a:pt x="34" y="11"/>
                      </a:lnTo>
                      <a:lnTo>
                        <a:pt x="32" y="11"/>
                      </a:lnTo>
                      <a:lnTo>
                        <a:pt x="30" y="12"/>
                      </a:lnTo>
                      <a:lnTo>
                        <a:pt x="28" y="12"/>
                      </a:lnTo>
                      <a:lnTo>
                        <a:pt x="26" y="13"/>
                      </a:lnTo>
                      <a:lnTo>
                        <a:pt x="24" y="13"/>
                      </a:lnTo>
                      <a:lnTo>
                        <a:pt x="22" y="13"/>
                      </a:lnTo>
                      <a:lnTo>
                        <a:pt x="20" y="14"/>
                      </a:lnTo>
                      <a:lnTo>
                        <a:pt x="18" y="15"/>
                      </a:lnTo>
                      <a:lnTo>
                        <a:pt x="16" y="16"/>
                      </a:lnTo>
                      <a:lnTo>
                        <a:pt x="14" y="18"/>
                      </a:lnTo>
                      <a:lnTo>
                        <a:pt x="12" y="19"/>
                      </a:lnTo>
                      <a:lnTo>
                        <a:pt x="10" y="21"/>
                      </a:lnTo>
                      <a:lnTo>
                        <a:pt x="8" y="23"/>
                      </a:lnTo>
                      <a:lnTo>
                        <a:pt x="7" y="25"/>
                      </a:lnTo>
                      <a:lnTo>
                        <a:pt x="5" y="28"/>
                      </a:lnTo>
                      <a:lnTo>
                        <a:pt x="3" y="31"/>
                      </a:lnTo>
                      <a:lnTo>
                        <a:pt x="2" y="34"/>
                      </a:lnTo>
                      <a:lnTo>
                        <a:pt x="0" y="37"/>
                      </a:lnTo>
                      <a:lnTo>
                        <a:pt x="3" y="39"/>
                      </a:lnTo>
                      <a:lnTo>
                        <a:pt x="5" y="36"/>
                      </a:lnTo>
                      <a:lnTo>
                        <a:pt x="6" y="33"/>
                      </a:lnTo>
                      <a:lnTo>
                        <a:pt x="8" y="30"/>
                      </a:lnTo>
                      <a:lnTo>
                        <a:pt x="9" y="28"/>
                      </a:lnTo>
                      <a:lnTo>
                        <a:pt x="11" y="26"/>
                      </a:lnTo>
                      <a:lnTo>
                        <a:pt x="12" y="24"/>
                      </a:lnTo>
                      <a:lnTo>
                        <a:pt x="14" y="23"/>
                      </a:lnTo>
                      <a:lnTo>
                        <a:pt x="16" y="21"/>
                      </a:lnTo>
                      <a:lnTo>
                        <a:pt x="17" y="20"/>
                      </a:lnTo>
                      <a:lnTo>
                        <a:pt x="19" y="19"/>
                      </a:lnTo>
                      <a:lnTo>
                        <a:pt x="21" y="18"/>
                      </a:lnTo>
                      <a:lnTo>
                        <a:pt x="23" y="17"/>
                      </a:lnTo>
                      <a:lnTo>
                        <a:pt x="25" y="17"/>
                      </a:lnTo>
                      <a:lnTo>
                        <a:pt x="27" y="16"/>
                      </a:lnTo>
                      <a:lnTo>
                        <a:pt x="29" y="16"/>
                      </a:lnTo>
                      <a:lnTo>
                        <a:pt x="30" y="16"/>
                      </a:lnTo>
                      <a:lnTo>
                        <a:pt x="32" y="15"/>
                      </a:lnTo>
                      <a:lnTo>
                        <a:pt x="34" y="15"/>
                      </a:lnTo>
                      <a:lnTo>
                        <a:pt x="36" y="15"/>
                      </a:lnTo>
                      <a:lnTo>
                        <a:pt x="38" y="14"/>
                      </a:lnTo>
                      <a:lnTo>
                        <a:pt x="40" y="14"/>
                      </a:lnTo>
                      <a:lnTo>
                        <a:pt x="42" y="14"/>
                      </a:lnTo>
                      <a:lnTo>
                        <a:pt x="44" y="14"/>
                      </a:lnTo>
                      <a:lnTo>
                        <a:pt x="46" y="13"/>
                      </a:lnTo>
                      <a:lnTo>
                        <a:pt x="48" y="13"/>
                      </a:lnTo>
                      <a:lnTo>
                        <a:pt x="50" y="12"/>
                      </a:lnTo>
                      <a:lnTo>
                        <a:pt x="51" y="11"/>
                      </a:lnTo>
                      <a:lnTo>
                        <a:pt x="53" y="10"/>
                      </a:lnTo>
                      <a:lnTo>
                        <a:pt x="54" y="9"/>
                      </a:lnTo>
                      <a:lnTo>
                        <a:pt x="56" y="7"/>
                      </a:lnTo>
                      <a:lnTo>
                        <a:pt x="58" y="6"/>
                      </a:lnTo>
                      <a:lnTo>
                        <a:pt x="59" y="4"/>
                      </a:lnTo>
                      <a:lnTo>
                        <a:pt x="59" y="3"/>
                      </a:lnTo>
                      <a:lnTo>
                        <a:pt x="60" y="2"/>
                      </a:lnTo>
                      <a:lnTo>
                        <a:pt x="59" y="2"/>
                      </a:lnTo>
                      <a:lnTo>
                        <a:pt x="59" y="1"/>
                      </a:lnTo>
                      <a:lnTo>
                        <a:pt x="58" y="0"/>
                      </a:lnTo>
                      <a:lnTo>
                        <a:pt x="57"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2" name="Freeform 894">
                  <a:extLst>
                    <a:ext uri="{FF2B5EF4-FFF2-40B4-BE49-F238E27FC236}">
                      <a16:creationId xmlns:a16="http://schemas.microsoft.com/office/drawing/2014/main" id="{36A23204-A274-3D40-DE9B-1EBE4042639A}"/>
                    </a:ext>
                  </a:extLst>
                </p:cNvPr>
                <p:cNvSpPr>
                  <a:spLocks/>
                </p:cNvSpPr>
                <p:nvPr/>
              </p:nvSpPr>
              <p:spPr bwMode="auto">
                <a:xfrm>
                  <a:off x="370" y="2201"/>
                  <a:ext cx="22" cy="15"/>
                </a:xfrm>
                <a:custGeom>
                  <a:avLst/>
                  <a:gdLst>
                    <a:gd name="T0" fmla="*/ 2 w 33"/>
                    <a:gd name="T1" fmla="*/ 4 h 19"/>
                    <a:gd name="T2" fmla="*/ 2 w 33"/>
                    <a:gd name="T3" fmla="*/ 3 h 19"/>
                    <a:gd name="T4" fmla="*/ 3 w 33"/>
                    <a:gd name="T5" fmla="*/ 3 h 19"/>
                    <a:gd name="T6" fmla="*/ 4 w 33"/>
                    <a:gd name="T7" fmla="*/ 2 h 19"/>
                    <a:gd name="T8" fmla="*/ 5 w 33"/>
                    <a:gd name="T9" fmla="*/ 2 h 19"/>
                    <a:gd name="T10" fmla="*/ 7 w 33"/>
                    <a:gd name="T11" fmla="*/ 3 h 19"/>
                    <a:gd name="T12" fmla="*/ 7 w 33"/>
                    <a:gd name="T13" fmla="*/ 3 h 19"/>
                    <a:gd name="T14" fmla="*/ 9 w 33"/>
                    <a:gd name="T15" fmla="*/ 4 h 19"/>
                    <a:gd name="T16" fmla="*/ 10 w 33"/>
                    <a:gd name="T17" fmla="*/ 5 h 19"/>
                    <a:gd name="T18" fmla="*/ 11 w 33"/>
                    <a:gd name="T19" fmla="*/ 5 h 19"/>
                    <a:gd name="T20" fmla="*/ 11 w 33"/>
                    <a:gd name="T21" fmla="*/ 6 h 19"/>
                    <a:gd name="T22" fmla="*/ 13 w 33"/>
                    <a:gd name="T23" fmla="*/ 7 h 19"/>
                    <a:gd name="T24" fmla="*/ 13 w 33"/>
                    <a:gd name="T25" fmla="*/ 7 h 19"/>
                    <a:gd name="T26" fmla="*/ 13 w 33"/>
                    <a:gd name="T27" fmla="*/ 9 h 19"/>
                    <a:gd name="T28" fmla="*/ 13 w 33"/>
                    <a:gd name="T29" fmla="*/ 9 h 19"/>
                    <a:gd name="T30" fmla="*/ 13 w 33"/>
                    <a:gd name="T31" fmla="*/ 10 h 19"/>
                    <a:gd name="T32" fmla="*/ 14 w 33"/>
                    <a:gd name="T33" fmla="*/ 12 h 19"/>
                    <a:gd name="T34" fmla="*/ 15 w 33"/>
                    <a:gd name="T35" fmla="*/ 10 h 19"/>
                    <a:gd name="T36" fmla="*/ 15 w 33"/>
                    <a:gd name="T37" fmla="*/ 9 h 19"/>
                    <a:gd name="T38" fmla="*/ 14 w 33"/>
                    <a:gd name="T39" fmla="*/ 7 h 19"/>
                    <a:gd name="T40" fmla="*/ 14 w 33"/>
                    <a:gd name="T41" fmla="*/ 6 h 19"/>
                    <a:gd name="T42" fmla="*/ 13 w 33"/>
                    <a:gd name="T43" fmla="*/ 5 h 19"/>
                    <a:gd name="T44" fmla="*/ 12 w 33"/>
                    <a:gd name="T45" fmla="*/ 3 h 19"/>
                    <a:gd name="T46" fmla="*/ 11 w 33"/>
                    <a:gd name="T47" fmla="*/ 2 h 19"/>
                    <a:gd name="T48" fmla="*/ 10 w 33"/>
                    <a:gd name="T49" fmla="*/ 2 h 19"/>
                    <a:gd name="T50" fmla="*/ 9 w 33"/>
                    <a:gd name="T51" fmla="*/ 2 h 19"/>
                    <a:gd name="T52" fmla="*/ 7 w 33"/>
                    <a:gd name="T53" fmla="*/ 1 h 19"/>
                    <a:gd name="T54" fmla="*/ 6 w 33"/>
                    <a:gd name="T55" fmla="*/ 1 h 19"/>
                    <a:gd name="T56" fmla="*/ 5 w 33"/>
                    <a:gd name="T57" fmla="*/ 0 h 19"/>
                    <a:gd name="T58" fmla="*/ 3 w 33"/>
                    <a:gd name="T59" fmla="*/ 1 h 19"/>
                    <a:gd name="T60" fmla="*/ 2 w 33"/>
                    <a:gd name="T61" fmla="*/ 1 h 19"/>
                    <a:gd name="T62" fmla="*/ 1 w 33"/>
                    <a:gd name="T63" fmla="*/ 2 h 19"/>
                    <a:gd name="T64" fmla="*/ 1 w 33"/>
                    <a:gd name="T65" fmla="*/ 2 h 19"/>
                    <a:gd name="T66" fmla="*/ 1 w 33"/>
                    <a:gd name="T67" fmla="*/ 3 h 19"/>
                    <a:gd name="T68" fmla="*/ 0 w 33"/>
                    <a:gd name="T69" fmla="*/ 3 h 19"/>
                    <a:gd name="T70" fmla="*/ 1 w 33"/>
                    <a:gd name="T71" fmla="*/ 4 h 19"/>
                    <a:gd name="T72" fmla="*/ 1 w 33"/>
                    <a:gd name="T73" fmla="*/ 5 h 19"/>
                    <a:gd name="T74" fmla="*/ 1 w 33"/>
                    <a:gd name="T75" fmla="*/ 5 h 19"/>
                    <a:gd name="T76" fmla="*/ 1 w 33"/>
                    <a:gd name="T77" fmla="*/ 5 h 19"/>
                    <a:gd name="T78" fmla="*/ 2 w 33"/>
                    <a:gd name="T79" fmla="*/ 5 h 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 h="19">
                      <a:moveTo>
                        <a:pt x="4" y="7"/>
                      </a:moveTo>
                      <a:lnTo>
                        <a:pt x="4" y="6"/>
                      </a:lnTo>
                      <a:lnTo>
                        <a:pt x="5" y="6"/>
                      </a:lnTo>
                      <a:lnTo>
                        <a:pt x="5" y="5"/>
                      </a:lnTo>
                      <a:lnTo>
                        <a:pt x="6" y="5"/>
                      </a:lnTo>
                      <a:lnTo>
                        <a:pt x="7" y="5"/>
                      </a:lnTo>
                      <a:lnTo>
                        <a:pt x="8" y="4"/>
                      </a:lnTo>
                      <a:lnTo>
                        <a:pt x="9" y="4"/>
                      </a:lnTo>
                      <a:lnTo>
                        <a:pt x="11" y="4"/>
                      </a:lnTo>
                      <a:lnTo>
                        <a:pt x="12" y="4"/>
                      </a:lnTo>
                      <a:lnTo>
                        <a:pt x="13" y="4"/>
                      </a:lnTo>
                      <a:lnTo>
                        <a:pt x="15" y="5"/>
                      </a:lnTo>
                      <a:lnTo>
                        <a:pt x="16" y="5"/>
                      </a:lnTo>
                      <a:lnTo>
                        <a:pt x="17" y="5"/>
                      </a:lnTo>
                      <a:lnTo>
                        <a:pt x="18" y="5"/>
                      </a:lnTo>
                      <a:lnTo>
                        <a:pt x="19" y="6"/>
                      </a:lnTo>
                      <a:lnTo>
                        <a:pt x="21" y="7"/>
                      </a:lnTo>
                      <a:lnTo>
                        <a:pt x="22" y="7"/>
                      </a:lnTo>
                      <a:lnTo>
                        <a:pt x="23" y="8"/>
                      </a:lnTo>
                      <a:lnTo>
                        <a:pt x="24" y="8"/>
                      </a:lnTo>
                      <a:lnTo>
                        <a:pt x="25" y="9"/>
                      </a:lnTo>
                      <a:lnTo>
                        <a:pt x="26" y="9"/>
                      </a:lnTo>
                      <a:lnTo>
                        <a:pt x="27" y="11"/>
                      </a:lnTo>
                      <a:lnTo>
                        <a:pt x="28" y="11"/>
                      </a:lnTo>
                      <a:lnTo>
                        <a:pt x="29" y="12"/>
                      </a:lnTo>
                      <a:lnTo>
                        <a:pt x="29" y="13"/>
                      </a:lnTo>
                      <a:lnTo>
                        <a:pt x="30" y="14"/>
                      </a:lnTo>
                      <a:lnTo>
                        <a:pt x="30" y="15"/>
                      </a:lnTo>
                      <a:lnTo>
                        <a:pt x="30" y="16"/>
                      </a:lnTo>
                      <a:lnTo>
                        <a:pt x="29" y="16"/>
                      </a:lnTo>
                      <a:lnTo>
                        <a:pt x="32" y="19"/>
                      </a:lnTo>
                      <a:lnTo>
                        <a:pt x="32" y="17"/>
                      </a:lnTo>
                      <a:lnTo>
                        <a:pt x="33" y="16"/>
                      </a:lnTo>
                      <a:lnTo>
                        <a:pt x="33" y="15"/>
                      </a:lnTo>
                      <a:lnTo>
                        <a:pt x="33" y="14"/>
                      </a:lnTo>
                      <a:lnTo>
                        <a:pt x="32" y="12"/>
                      </a:lnTo>
                      <a:lnTo>
                        <a:pt x="32" y="11"/>
                      </a:lnTo>
                      <a:lnTo>
                        <a:pt x="32" y="10"/>
                      </a:lnTo>
                      <a:lnTo>
                        <a:pt x="31" y="9"/>
                      </a:lnTo>
                      <a:lnTo>
                        <a:pt x="30" y="8"/>
                      </a:lnTo>
                      <a:lnTo>
                        <a:pt x="29" y="7"/>
                      </a:lnTo>
                      <a:lnTo>
                        <a:pt x="28" y="6"/>
                      </a:lnTo>
                      <a:lnTo>
                        <a:pt x="27" y="5"/>
                      </a:lnTo>
                      <a:lnTo>
                        <a:pt x="26" y="5"/>
                      </a:lnTo>
                      <a:lnTo>
                        <a:pt x="24" y="4"/>
                      </a:lnTo>
                      <a:lnTo>
                        <a:pt x="23" y="3"/>
                      </a:lnTo>
                      <a:lnTo>
                        <a:pt x="22" y="2"/>
                      </a:lnTo>
                      <a:lnTo>
                        <a:pt x="21" y="2"/>
                      </a:lnTo>
                      <a:lnTo>
                        <a:pt x="19" y="2"/>
                      </a:lnTo>
                      <a:lnTo>
                        <a:pt x="17" y="1"/>
                      </a:lnTo>
                      <a:lnTo>
                        <a:pt x="16" y="1"/>
                      </a:lnTo>
                      <a:lnTo>
                        <a:pt x="15" y="1"/>
                      </a:lnTo>
                      <a:lnTo>
                        <a:pt x="14" y="1"/>
                      </a:lnTo>
                      <a:lnTo>
                        <a:pt x="12" y="0"/>
                      </a:lnTo>
                      <a:lnTo>
                        <a:pt x="11" y="0"/>
                      </a:lnTo>
                      <a:lnTo>
                        <a:pt x="9" y="0"/>
                      </a:lnTo>
                      <a:lnTo>
                        <a:pt x="8" y="1"/>
                      </a:lnTo>
                      <a:lnTo>
                        <a:pt x="7" y="1"/>
                      </a:lnTo>
                      <a:lnTo>
                        <a:pt x="5" y="1"/>
                      </a:lnTo>
                      <a:lnTo>
                        <a:pt x="4" y="1"/>
                      </a:lnTo>
                      <a:lnTo>
                        <a:pt x="3" y="2"/>
                      </a:lnTo>
                      <a:lnTo>
                        <a:pt x="2" y="3"/>
                      </a:lnTo>
                      <a:lnTo>
                        <a:pt x="2" y="4"/>
                      </a:lnTo>
                      <a:lnTo>
                        <a:pt x="1" y="4"/>
                      </a:lnTo>
                      <a:lnTo>
                        <a:pt x="1" y="5"/>
                      </a:lnTo>
                      <a:lnTo>
                        <a:pt x="0" y="5"/>
                      </a:lnTo>
                      <a:lnTo>
                        <a:pt x="1" y="6"/>
                      </a:lnTo>
                      <a:lnTo>
                        <a:pt x="2" y="7"/>
                      </a:lnTo>
                      <a:lnTo>
                        <a:pt x="3" y="7"/>
                      </a:lnTo>
                      <a:lnTo>
                        <a:pt x="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3" name="Freeform 895">
                  <a:extLst>
                    <a:ext uri="{FF2B5EF4-FFF2-40B4-BE49-F238E27FC236}">
                      <a16:creationId xmlns:a16="http://schemas.microsoft.com/office/drawing/2014/main" id="{E6EDD61D-DF45-8551-2172-1012BBBA4823}"/>
                    </a:ext>
                  </a:extLst>
                </p:cNvPr>
                <p:cNvSpPr>
                  <a:spLocks/>
                </p:cNvSpPr>
                <p:nvPr/>
              </p:nvSpPr>
              <p:spPr bwMode="auto">
                <a:xfrm>
                  <a:off x="343" y="2205"/>
                  <a:ext cx="29" cy="36"/>
                </a:xfrm>
                <a:custGeom>
                  <a:avLst/>
                  <a:gdLst>
                    <a:gd name="T0" fmla="*/ 1 w 40"/>
                    <a:gd name="T1" fmla="*/ 24 h 52"/>
                    <a:gd name="T2" fmla="*/ 21 w 40"/>
                    <a:gd name="T3" fmla="*/ 1 h 52"/>
                    <a:gd name="T4" fmla="*/ 20 w 40"/>
                    <a:gd name="T5" fmla="*/ 0 h 52"/>
                    <a:gd name="T6" fmla="*/ 0 w 40"/>
                    <a:gd name="T7" fmla="*/ 23 h 52"/>
                    <a:gd name="T8" fmla="*/ 0 w 40"/>
                    <a:gd name="T9" fmla="*/ 23 h 52"/>
                    <a:gd name="T10" fmla="*/ 0 w 40"/>
                    <a:gd name="T11" fmla="*/ 24 h 52"/>
                    <a:gd name="T12" fmla="*/ 0 w 40"/>
                    <a:gd name="T13" fmla="*/ 24 h 52"/>
                    <a:gd name="T14" fmla="*/ 0 w 40"/>
                    <a:gd name="T15" fmla="*/ 24 h 52"/>
                    <a:gd name="T16" fmla="*/ 0 w 40"/>
                    <a:gd name="T17" fmla="*/ 24 h 52"/>
                    <a:gd name="T18" fmla="*/ 0 w 40"/>
                    <a:gd name="T19" fmla="*/ 24 h 52"/>
                    <a:gd name="T20" fmla="*/ 0 w 40"/>
                    <a:gd name="T21" fmla="*/ 24 h 52"/>
                    <a:gd name="T22" fmla="*/ 1 w 40"/>
                    <a:gd name="T23" fmla="*/ 24 h 52"/>
                    <a:gd name="T24" fmla="*/ 1 w 40"/>
                    <a:gd name="T25" fmla="*/ 24 h 52"/>
                    <a:gd name="T26" fmla="*/ 1 w 40"/>
                    <a:gd name="T27" fmla="*/ 25 h 52"/>
                    <a:gd name="T28" fmla="*/ 1 w 40"/>
                    <a:gd name="T29" fmla="*/ 25 h 52"/>
                    <a:gd name="T30" fmla="*/ 1 w 40"/>
                    <a:gd name="T31" fmla="*/ 24 h 52"/>
                    <a:gd name="T32" fmla="*/ 1 w 40"/>
                    <a:gd name="T33" fmla="*/ 24 h 52"/>
                    <a:gd name="T34" fmla="*/ 1 w 40"/>
                    <a:gd name="T35" fmla="*/ 24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52">
                      <a:moveTo>
                        <a:pt x="3" y="51"/>
                      </a:moveTo>
                      <a:lnTo>
                        <a:pt x="40" y="3"/>
                      </a:lnTo>
                      <a:lnTo>
                        <a:pt x="38" y="0"/>
                      </a:lnTo>
                      <a:lnTo>
                        <a:pt x="0" y="48"/>
                      </a:lnTo>
                      <a:lnTo>
                        <a:pt x="0" y="49"/>
                      </a:lnTo>
                      <a:lnTo>
                        <a:pt x="0" y="50"/>
                      </a:lnTo>
                      <a:lnTo>
                        <a:pt x="0" y="51"/>
                      </a:lnTo>
                      <a:lnTo>
                        <a:pt x="1" y="51"/>
                      </a:lnTo>
                      <a:lnTo>
                        <a:pt x="2" y="52"/>
                      </a:lnTo>
                      <a:lnTo>
                        <a:pt x="2" y="51"/>
                      </a:lnTo>
                      <a:lnTo>
                        <a:pt x="3"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4" name="Freeform 896">
                  <a:extLst>
                    <a:ext uri="{FF2B5EF4-FFF2-40B4-BE49-F238E27FC236}">
                      <a16:creationId xmlns:a16="http://schemas.microsoft.com/office/drawing/2014/main" id="{7BB66A7A-FAC0-9F9F-5D48-3DF02EB36607}"/>
                    </a:ext>
                  </a:extLst>
                </p:cNvPr>
                <p:cNvSpPr>
                  <a:spLocks/>
                </p:cNvSpPr>
                <p:nvPr/>
              </p:nvSpPr>
              <p:spPr bwMode="auto">
                <a:xfrm>
                  <a:off x="322" y="2196"/>
                  <a:ext cx="23" cy="45"/>
                </a:xfrm>
                <a:custGeom>
                  <a:avLst/>
                  <a:gdLst>
                    <a:gd name="T0" fmla="*/ 1 w 34"/>
                    <a:gd name="T1" fmla="*/ 0 h 64"/>
                    <a:gd name="T2" fmla="*/ 1 w 34"/>
                    <a:gd name="T3" fmla="*/ 1 h 64"/>
                    <a:gd name="T4" fmla="*/ 0 w 34"/>
                    <a:gd name="T5" fmla="*/ 4 h 64"/>
                    <a:gd name="T6" fmla="*/ 1 w 34"/>
                    <a:gd name="T7" fmla="*/ 5 h 64"/>
                    <a:gd name="T8" fmla="*/ 1 w 34"/>
                    <a:gd name="T9" fmla="*/ 8 h 64"/>
                    <a:gd name="T10" fmla="*/ 2 w 34"/>
                    <a:gd name="T11" fmla="*/ 10 h 64"/>
                    <a:gd name="T12" fmla="*/ 3 w 34"/>
                    <a:gd name="T13" fmla="*/ 13 h 64"/>
                    <a:gd name="T14" fmla="*/ 4 w 34"/>
                    <a:gd name="T15" fmla="*/ 16 h 64"/>
                    <a:gd name="T16" fmla="*/ 5 w 34"/>
                    <a:gd name="T17" fmla="*/ 19 h 64"/>
                    <a:gd name="T18" fmla="*/ 7 w 34"/>
                    <a:gd name="T19" fmla="*/ 22 h 64"/>
                    <a:gd name="T20" fmla="*/ 8 w 34"/>
                    <a:gd name="T21" fmla="*/ 24 h 64"/>
                    <a:gd name="T22" fmla="*/ 9 w 34"/>
                    <a:gd name="T23" fmla="*/ 27 h 64"/>
                    <a:gd name="T24" fmla="*/ 11 w 34"/>
                    <a:gd name="T25" fmla="*/ 29 h 64"/>
                    <a:gd name="T26" fmla="*/ 12 w 34"/>
                    <a:gd name="T27" fmla="*/ 31 h 64"/>
                    <a:gd name="T28" fmla="*/ 14 w 34"/>
                    <a:gd name="T29" fmla="*/ 32 h 64"/>
                    <a:gd name="T30" fmla="*/ 15 w 34"/>
                    <a:gd name="T31" fmla="*/ 32 h 64"/>
                    <a:gd name="T32" fmla="*/ 14 w 34"/>
                    <a:gd name="T33" fmla="*/ 30 h 64"/>
                    <a:gd name="T34" fmla="*/ 14 w 34"/>
                    <a:gd name="T35" fmla="*/ 29 h 64"/>
                    <a:gd name="T36" fmla="*/ 13 w 34"/>
                    <a:gd name="T37" fmla="*/ 28 h 64"/>
                    <a:gd name="T38" fmla="*/ 12 w 34"/>
                    <a:gd name="T39" fmla="*/ 27 h 64"/>
                    <a:gd name="T40" fmla="*/ 10 w 34"/>
                    <a:gd name="T41" fmla="*/ 24 h 64"/>
                    <a:gd name="T42" fmla="*/ 8 w 34"/>
                    <a:gd name="T43" fmla="*/ 23 h 64"/>
                    <a:gd name="T44" fmla="*/ 7 w 34"/>
                    <a:gd name="T45" fmla="*/ 19 h 64"/>
                    <a:gd name="T46" fmla="*/ 6 w 34"/>
                    <a:gd name="T47" fmla="*/ 17 h 64"/>
                    <a:gd name="T48" fmla="*/ 5 w 34"/>
                    <a:gd name="T49" fmla="*/ 13 h 64"/>
                    <a:gd name="T50" fmla="*/ 3 w 34"/>
                    <a:gd name="T51" fmla="*/ 11 h 64"/>
                    <a:gd name="T52" fmla="*/ 3 w 34"/>
                    <a:gd name="T53" fmla="*/ 8 h 64"/>
                    <a:gd name="T54" fmla="*/ 2 w 34"/>
                    <a:gd name="T55" fmla="*/ 6 h 64"/>
                    <a:gd name="T56" fmla="*/ 1 w 34"/>
                    <a:gd name="T57" fmla="*/ 4 h 64"/>
                    <a:gd name="T58" fmla="*/ 1 w 34"/>
                    <a:gd name="T59" fmla="*/ 3 h 64"/>
                    <a:gd name="T60" fmla="*/ 2 w 34"/>
                    <a:gd name="T61" fmla="*/ 2 h 64"/>
                    <a:gd name="T62" fmla="*/ 2 w 34"/>
                    <a:gd name="T63" fmla="*/ 2 h 64"/>
                    <a:gd name="T64" fmla="*/ 2 w 34"/>
                    <a:gd name="T65" fmla="*/ 2 h 64"/>
                    <a:gd name="T66" fmla="*/ 3 w 34"/>
                    <a:gd name="T67" fmla="*/ 2 h 64"/>
                    <a:gd name="T68" fmla="*/ 3 w 34"/>
                    <a:gd name="T69" fmla="*/ 1 h 64"/>
                    <a:gd name="T70" fmla="*/ 3 w 34"/>
                    <a:gd name="T71" fmla="*/ 1 h 64"/>
                    <a:gd name="T72" fmla="*/ 3 w 34"/>
                    <a:gd name="T73" fmla="*/ 1 h 64"/>
                    <a:gd name="T74" fmla="*/ 3 w 34"/>
                    <a:gd name="T75" fmla="*/ 1 h 64"/>
                    <a:gd name="T76" fmla="*/ 3 w 34"/>
                    <a:gd name="T77" fmla="*/ 0 h 64"/>
                    <a:gd name="T78" fmla="*/ 2 w 34"/>
                    <a:gd name="T79" fmla="*/ 0 h 64"/>
                    <a:gd name="T80" fmla="*/ 2 w 34"/>
                    <a:gd name="T81" fmla="*/ 0 h 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4" h="64">
                      <a:moveTo>
                        <a:pt x="5" y="0"/>
                      </a:moveTo>
                      <a:lnTo>
                        <a:pt x="3" y="0"/>
                      </a:lnTo>
                      <a:lnTo>
                        <a:pt x="2" y="1"/>
                      </a:lnTo>
                      <a:lnTo>
                        <a:pt x="1" y="2"/>
                      </a:lnTo>
                      <a:lnTo>
                        <a:pt x="0" y="5"/>
                      </a:lnTo>
                      <a:lnTo>
                        <a:pt x="0" y="7"/>
                      </a:lnTo>
                      <a:lnTo>
                        <a:pt x="0" y="9"/>
                      </a:lnTo>
                      <a:lnTo>
                        <a:pt x="1" y="10"/>
                      </a:lnTo>
                      <a:lnTo>
                        <a:pt x="1" y="13"/>
                      </a:lnTo>
                      <a:lnTo>
                        <a:pt x="2" y="15"/>
                      </a:lnTo>
                      <a:lnTo>
                        <a:pt x="3" y="19"/>
                      </a:lnTo>
                      <a:lnTo>
                        <a:pt x="4" y="20"/>
                      </a:lnTo>
                      <a:lnTo>
                        <a:pt x="5" y="24"/>
                      </a:lnTo>
                      <a:lnTo>
                        <a:pt x="6" y="27"/>
                      </a:lnTo>
                      <a:lnTo>
                        <a:pt x="7" y="30"/>
                      </a:lnTo>
                      <a:lnTo>
                        <a:pt x="9" y="32"/>
                      </a:lnTo>
                      <a:lnTo>
                        <a:pt x="10" y="36"/>
                      </a:lnTo>
                      <a:lnTo>
                        <a:pt x="12" y="39"/>
                      </a:lnTo>
                      <a:lnTo>
                        <a:pt x="13" y="42"/>
                      </a:lnTo>
                      <a:lnTo>
                        <a:pt x="15" y="44"/>
                      </a:lnTo>
                      <a:lnTo>
                        <a:pt x="17" y="47"/>
                      </a:lnTo>
                      <a:lnTo>
                        <a:pt x="18" y="49"/>
                      </a:lnTo>
                      <a:lnTo>
                        <a:pt x="20" y="52"/>
                      </a:lnTo>
                      <a:lnTo>
                        <a:pt x="21" y="54"/>
                      </a:lnTo>
                      <a:lnTo>
                        <a:pt x="23" y="57"/>
                      </a:lnTo>
                      <a:lnTo>
                        <a:pt x="24" y="59"/>
                      </a:lnTo>
                      <a:lnTo>
                        <a:pt x="26" y="60"/>
                      </a:lnTo>
                      <a:lnTo>
                        <a:pt x="27" y="62"/>
                      </a:lnTo>
                      <a:lnTo>
                        <a:pt x="28" y="63"/>
                      </a:lnTo>
                      <a:lnTo>
                        <a:pt x="29" y="64"/>
                      </a:lnTo>
                      <a:lnTo>
                        <a:pt x="31" y="64"/>
                      </a:lnTo>
                      <a:lnTo>
                        <a:pt x="32" y="64"/>
                      </a:lnTo>
                      <a:lnTo>
                        <a:pt x="34" y="63"/>
                      </a:lnTo>
                      <a:lnTo>
                        <a:pt x="31" y="60"/>
                      </a:lnTo>
                      <a:lnTo>
                        <a:pt x="31" y="59"/>
                      </a:lnTo>
                      <a:lnTo>
                        <a:pt x="30" y="59"/>
                      </a:lnTo>
                      <a:lnTo>
                        <a:pt x="29" y="58"/>
                      </a:lnTo>
                      <a:lnTo>
                        <a:pt x="28" y="57"/>
                      </a:lnTo>
                      <a:lnTo>
                        <a:pt x="27" y="56"/>
                      </a:lnTo>
                      <a:lnTo>
                        <a:pt x="25" y="54"/>
                      </a:lnTo>
                      <a:lnTo>
                        <a:pt x="23" y="52"/>
                      </a:lnTo>
                      <a:lnTo>
                        <a:pt x="22" y="49"/>
                      </a:lnTo>
                      <a:lnTo>
                        <a:pt x="20" y="47"/>
                      </a:lnTo>
                      <a:lnTo>
                        <a:pt x="18" y="45"/>
                      </a:lnTo>
                      <a:lnTo>
                        <a:pt x="18" y="42"/>
                      </a:lnTo>
                      <a:lnTo>
                        <a:pt x="16" y="39"/>
                      </a:lnTo>
                      <a:lnTo>
                        <a:pt x="14" y="36"/>
                      </a:lnTo>
                      <a:lnTo>
                        <a:pt x="13" y="34"/>
                      </a:lnTo>
                      <a:lnTo>
                        <a:pt x="11" y="31"/>
                      </a:lnTo>
                      <a:lnTo>
                        <a:pt x="10" y="27"/>
                      </a:lnTo>
                      <a:lnTo>
                        <a:pt x="9" y="25"/>
                      </a:lnTo>
                      <a:lnTo>
                        <a:pt x="8" y="22"/>
                      </a:lnTo>
                      <a:lnTo>
                        <a:pt x="7" y="19"/>
                      </a:lnTo>
                      <a:lnTo>
                        <a:pt x="6" y="17"/>
                      </a:lnTo>
                      <a:lnTo>
                        <a:pt x="5" y="14"/>
                      </a:lnTo>
                      <a:lnTo>
                        <a:pt x="4" y="12"/>
                      </a:lnTo>
                      <a:lnTo>
                        <a:pt x="4" y="10"/>
                      </a:lnTo>
                      <a:lnTo>
                        <a:pt x="3" y="8"/>
                      </a:lnTo>
                      <a:lnTo>
                        <a:pt x="3" y="7"/>
                      </a:lnTo>
                      <a:lnTo>
                        <a:pt x="3" y="5"/>
                      </a:lnTo>
                      <a:lnTo>
                        <a:pt x="4" y="4"/>
                      </a:lnTo>
                      <a:lnTo>
                        <a:pt x="5" y="4"/>
                      </a:lnTo>
                      <a:lnTo>
                        <a:pt x="6" y="4"/>
                      </a:lnTo>
                      <a:lnTo>
                        <a:pt x="6" y="3"/>
                      </a:lnTo>
                      <a:lnTo>
                        <a:pt x="6" y="2"/>
                      </a:lnTo>
                      <a:lnTo>
                        <a:pt x="6" y="1"/>
                      </a:lnTo>
                      <a:lnTo>
                        <a:pt x="6"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5" name="Freeform 897">
                  <a:extLst>
                    <a:ext uri="{FF2B5EF4-FFF2-40B4-BE49-F238E27FC236}">
                      <a16:creationId xmlns:a16="http://schemas.microsoft.com/office/drawing/2014/main" id="{E988C080-1D1D-8D4B-0733-B8E3CCE66584}"/>
                    </a:ext>
                  </a:extLst>
                </p:cNvPr>
                <p:cNvSpPr>
                  <a:spLocks/>
                </p:cNvSpPr>
                <p:nvPr/>
              </p:nvSpPr>
              <p:spPr bwMode="auto">
                <a:xfrm>
                  <a:off x="326" y="2196"/>
                  <a:ext cx="27" cy="3"/>
                </a:xfrm>
                <a:custGeom>
                  <a:avLst/>
                  <a:gdLst>
                    <a:gd name="T0" fmla="*/ 18 w 39"/>
                    <a:gd name="T1" fmla="*/ 2 h 4"/>
                    <a:gd name="T2" fmla="*/ 18 w 39"/>
                    <a:gd name="T3" fmla="*/ 0 h 4"/>
                    <a:gd name="T4" fmla="*/ 0 w 39"/>
                    <a:gd name="T5" fmla="*/ 0 h 4"/>
                    <a:gd name="T6" fmla="*/ 0 w 39"/>
                    <a:gd name="T7" fmla="*/ 2 h 4"/>
                    <a:gd name="T8" fmla="*/ 18 w 39"/>
                    <a:gd name="T9" fmla="*/ 2 h 4"/>
                    <a:gd name="T10" fmla="*/ 19 w 39"/>
                    <a:gd name="T11" fmla="*/ 1 h 4"/>
                    <a:gd name="T12" fmla="*/ 18 w 39"/>
                    <a:gd name="T13" fmla="*/ 2 h 4"/>
                    <a:gd name="T14" fmla="*/ 18 w 39"/>
                    <a:gd name="T15" fmla="*/ 2 h 4"/>
                    <a:gd name="T16" fmla="*/ 18 w 39"/>
                    <a:gd name="T17" fmla="*/ 2 h 4"/>
                    <a:gd name="T18" fmla="*/ 18 w 39"/>
                    <a:gd name="T19" fmla="*/ 2 h 4"/>
                    <a:gd name="T20" fmla="*/ 19 w 39"/>
                    <a:gd name="T21" fmla="*/ 2 h 4"/>
                    <a:gd name="T22" fmla="*/ 19 w 39"/>
                    <a:gd name="T23" fmla="*/ 2 h 4"/>
                    <a:gd name="T24" fmla="*/ 19 w 39"/>
                    <a:gd name="T25" fmla="*/ 2 h 4"/>
                    <a:gd name="T26" fmla="*/ 19 w 39"/>
                    <a:gd name="T27" fmla="*/ 2 h 4"/>
                    <a:gd name="T28" fmla="*/ 19 w 39"/>
                    <a:gd name="T29" fmla="*/ 2 h 4"/>
                    <a:gd name="T30" fmla="*/ 19 w 39"/>
                    <a:gd name="T31" fmla="*/ 2 h 4"/>
                    <a:gd name="T32" fmla="*/ 19 w 39"/>
                    <a:gd name="T33" fmla="*/ 2 h 4"/>
                    <a:gd name="T34" fmla="*/ 19 w 39"/>
                    <a:gd name="T35" fmla="*/ 1 h 4"/>
                    <a:gd name="T36" fmla="*/ 19 w 39"/>
                    <a:gd name="T37" fmla="*/ 1 h 4"/>
                    <a:gd name="T38" fmla="*/ 19 w 39"/>
                    <a:gd name="T39" fmla="*/ 1 h 4"/>
                    <a:gd name="T40" fmla="*/ 19 w 39"/>
                    <a:gd name="T41" fmla="*/ 1 h 4"/>
                    <a:gd name="T42" fmla="*/ 19 w 39"/>
                    <a:gd name="T43" fmla="*/ 0 h 4"/>
                    <a:gd name="T44" fmla="*/ 18 w 39"/>
                    <a:gd name="T45" fmla="*/ 0 h 4"/>
                    <a:gd name="T46" fmla="*/ 18 w 39"/>
                    <a:gd name="T47" fmla="*/ 0 h 4"/>
                    <a:gd name="T48" fmla="*/ 18 w 39"/>
                    <a:gd name="T49" fmla="*/ 0 h 4"/>
                    <a:gd name="T50" fmla="*/ 18 w 39"/>
                    <a:gd name="T51" fmla="*/ 0 h 4"/>
                    <a:gd name="T52" fmla="*/ 18 w 39"/>
                    <a:gd name="T53" fmla="*/ 2 h 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9" h="4">
                      <a:moveTo>
                        <a:pt x="37" y="3"/>
                      </a:moveTo>
                      <a:lnTo>
                        <a:pt x="37" y="0"/>
                      </a:lnTo>
                      <a:lnTo>
                        <a:pt x="0" y="0"/>
                      </a:lnTo>
                      <a:lnTo>
                        <a:pt x="0" y="4"/>
                      </a:lnTo>
                      <a:lnTo>
                        <a:pt x="37" y="4"/>
                      </a:lnTo>
                      <a:lnTo>
                        <a:pt x="39" y="1"/>
                      </a:lnTo>
                      <a:lnTo>
                        <a:pt x="37" y="4"/>
                      </a:lnTo>
                      <a:lnTo>
                        <a:pt x="38" y="4"/>
                      </a:lnTo>
                      <a:lnTo>
                        <a:pt x="39" y="4"/>
                      </a:lnTo>
                      <a:lnTo>
                        <a:pt x="39" y="3"/>
                      </a:lnTo>
                      <a:lnTo>
                        <a:pt x="39" y="2"/>
                      </a:lnTo>
                      <a:lnTo>
                        <a:pt x="39" y="1"/>
                      </a:lnTo>
                      <a:lnTo>
                        <a:pt x="39" y="0"/>
                      </a:lnTo>
                      <a:lnTo>
                        <a:pt x="38" y="0"/>
                      </a:lnTo>
                      <a:lnTo>
                        <a:pt x="37" y="0"/>
                      </a:lnTo>
                      <a:lnTo>
                        <a:pt x="3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6" name="Freeform 898">
                  <a:extLst>
                    <a:ext uri="{FF2B5EF4-FFF2-40B4-BE49-F238E27FC236}">
                      <a16:creationId xmlns:a16="http://schemas.microsoft.com/office/drawing/2014/main" id="{10187651-C337-1568-6A36-AF359A203044}"/>
                    </a:ext>
                  </a:extLst>
                </p:cNvPr>
                <p:cNvSpPr>
                  <a:spLocks/>
                </p:cNvSpPr>
                <p:nvPr/>
              </p:nvSpPr>
              <p:spPr bwMode="auto">
                <a:xfrm>
                  <a:off x="317" y="2145"/>
                  <a:ext cx="34" cy="53"/>
                </a:xfrm>
                <a:custGeom>
                  <a:avLst/>
                  <a:gdLst>
                    <a:gd name="T0" fmla="*/ 1 w 49"/>
                    <a:gd name="T1" fmla="*/ 2 h 75"/>
                    <a:gd name="T2" fmla="*/ 6 w 49"/>
                    <a:gd name="T3" fmla="*/ 4 h 75"/>
                    <a:gd name="T4" fmla="*/ 10 w 49"/>
                    <a:gd name="T5" fmla="*/ 6 h 75"/>
                    <a:gd name="T6" fmla="*/ 13 w 49"/>
                    <a:gd name="T7" fmla="*/ 6 h 75"/>
                    <a:gd name="T8" fmla="*/ 15 w 49"/>
                    <a:gd name="T9" fmla="*/ 8 h 75"/>
                    <a:gd name="T10" fmla="*/ 15 w 49"/>
                    <a:gd name="T11" fmla="*/ 8 h 75"/>
                    <a:gd name="T12" fmla="*/ 15 w 49"/>
                    <a:gd name="T13" fmla="*/ 8 h 75"/>
                    <a:gd name="T14" fmla="*/ 15 w 49"/>
                    <a:gd name="T15" fmla="*/ 8 h 75"/>
                    <a:gd name="T16" fmla="*/ 15 w 49"/>
                    <a:gd name="T17" fmla="*/ 8 h 75"/>
                    <a:gd name="T18" fmla="*/ 13 w 49"/>
                    <a:gd name="T19" fmla="*/ 10 h 75"/>
                    <a:gd name="T20" fmla="*/ 13 w 49"/>
                    <a:gd name="T21" fmla="*/ 12 h 75"/>
                    <a:gd name="T22" fmla="*/ 12 w 49"/>
                    <a:gd name="T23" fmla="*/ 14 h 75"/>
                    <a:gd name="T24" fmla="*/ 12 w 49"/>
                    <a:gd name="T25" fmla="*/ 18 h 75"/>
                    <a:gd name="T26" fmla="*/ 13 w 49"/>
                    <a:gd name="T27" fmla="*/ 21 h 75"/>
                    <a:gd name="T28" fmla="*/ 15 w 49"/>
                    <a:gd name="T29" fmla="*/ 26 h 75"/>
                    <a:gd name="T30" fmla="*/ 18 w 49"/>
                    <a:gd name="T31" fmla="*/ 31 h 75"/>
                    <a:gd name="T32" fmla="*/ 23 w 49"/>
                    <a:gd name="T33" fmla="*/ 37 h 75"/>
                    <a:gd name="T34" fmla="*/ 22 w 49"/>
                    <a:gd name="T35" fmla="*/ 33 h 75"/>
                    <a:gd name="T36" fmla="*/ 18 w 49"/>
                    <a:gd name="T37" fmla="*/ 27 h 75"/>
                    <a:gd name="T38" fmla="*/ 16 w 49"/>
                    <a:gd name="T39" fmla="*/ 23 h 75"/>
                    <a:gd name="T40" fmla="*/ 15 w 49"/>
                    <a:gd name="T41" fmla="*/ 18 h 75"/>
                    <a:gd name="T42" fmla="*/ 14 w 49"/>
                    <a:gd name="T43" fmla="*/ 16 h 75"/>
                    <a:gd name="T44" fmla="*/ 14 w 49"/>
                    <a:gd name="T45" fmla="*/ 13 h 75"/>
                    <a:gd name="T46" fmla="*/ 15 w 49"/>
                    <a:gd name="T47" fmla="*/ 12 h 75"/>
                    <a:gd name="T48" fmla="*/ 15 w 49"/>
                    <a:gd name="T49" fmla="*/ 11 h 75"/>
                    <a:gd name="T50" fmla="*/ 16 w 49"/>
                    <a:gd name="T51" fmla="*/ 9 h 75"/>
                    <a:gd name="T52" fmla="*/ 17 w 49"/>
                    <a:gd name="T53" fmla="*/ 8 h 75"/>
                    <a:gd name="T54" fmla="*/ 17 w 49"/>
                    <a:gd name="T55" fmla="*/ 8 h 75"/>
                    <a:gd name="T56" fmla="*/ 17 w 49"/>
                    <a:gd name="T57" fmla="*/ 6 h 75"/>
                    <a:gd name="T58" fmla="*/ 15 w 49"/>
                    <a:gd name="T59" fmla="*/ 5 h 75"/>
                    <a:gd name="T60" fmla="*/ 12 w 49"/>
                    <a:gd name="T61" fmla="*/ 4 h 75"/>
                    <a:gd name="T62" fmla="*/ 9 w 49"/>
                    <a:gd name="T63" fmla="*/ 3 h 75"/>
                    <a:gd name="T64" fmla="*/ 4 w 49"/>
                    <a:gd name="T65" fmla="*/ 1 h 75"/>
                    <a:gd name="T66" fmla="*/ 1 w 49"/>
                    <a:gd name="T67" fmla="*/ 1 h 75"/>
                    <a:gd name="T68" fmla="*/ 1 w 49"/>
                    <a:gd name="T69" fmla="*/ 1 h 75"/>
                    <a:gd name="T70" fmla="*/ 1 w 49"/>
                    <a:gd name="T71" fmla="*/ 0 h 75"/>
                    <a:gd name="T72" fmla="*/ 1 w 49"/>
                    <a:gd name="T73" fmla="*/ 1 h 75"/>
                    <a:gd name="T74" fmla="*/ 0 w 49"/>
                    <a:gd name="T75" fmla="*/ 1 h 75"/>
                    <a:gd name="T76" fmla="*/ 0 w 49"/>
                    <a:gd name="T77" fmla="*/ 1 h 75"/>
                    <a:gd name="T78" fmla="*/ 0 w 49"/>
                    <a:gd name="T79" fmla="*/ 1 h 75"/>
                    <a:gd name="T80" fmla="*/ 0 w 49"/>
                    <a:gd name="T81" fmla="*/ 1 h 75"/>
                    <a:gd name="T82" fmla="*/ 1 w 49"/>
                    <a:gd name="T83" fmla="*/ 2 h 75"/>
                    <a:gd name="T84" fmla="*/ 0 w 49"/>
                    <a:gd name="T85" fmla="*/ 1 h 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9" h="75">
                      <a:moveTo>
                        <a:pt x="0" y="3"/>
                      </a:moveTo>
                      <a:lnTo>
                        <a:pt x="1" y="4"/>
                      </a:lnTo>
                      <a:lnTo>
                        <a:pt x="7" y="6"/>
                      </a:lnTo>
                      <a:lnTo>
                        <a:pt x="13" y="8"/>
                      </a:lnTo>
                      <a:lnTo>
                        <a:pt x="17" y="9"/>
                      </a:lnTo>
                      <a:lnTo>
                        <a:pt x="22" y="11"/>
                      </a:lnTo>
                      <a:lnTo>
                        <a:pt x="25" y="12"/>
                      </a:lnTo>
                      <a:lnTo>
                        <a:pt x="28" y="13"/>
                      </a:lnTo>
                      <a:lnTo>
                        <a:pt x="30" y="14"/>
                      </a:lnTo>
                      <a:lnTo>
                        <a:pt x="31" y="15"/>
                      </a:lnTo>
                      <a:lnTo>
                        <a:pt x="32" y="15"/>
                      </a:lnTo>
                      <a:lnTo>
                        <a:pt x="31" y="16"/>
                      </a:lnTo>
                      <a:lnTo>
                        <a:pt x="30" y="17"/>
                      </a:lnTo>
                      <a:lnTo>
                        <a:pt x="29" y="18"/>
                      </a:lnTo>
                      <a:lnTo>
                        <a:pt x="28" y="20"/>
                      </a:lnTo>
                      <a:lnTo>
                        <a:pt x="28" y="21"/>
                      </a:lnTo>
                      <a:lnTo>
                        <a:pt x="27" y="24"/>
                      </a:lnTo>
                      <a:lnTo>
                        <a:pt x="26" y="26"/>
                      </a:lnTo>
                      <a:lnTo>
                        <a:pt x="26" y="29"/>
                      </a:lnTo>
                      <a:lnTo>
                        <a:pt x="26" y="32"/>
                      </a:lnTo>
                      <a:lnTo>
                        <a:pt x="26" y="35"/>
                      </a:lnTo>
                      <a:lnTo>
                        <a:pt x="27" y="38"/>
                      </a:lnTo>
                      <a:lnTo>
                        <a:pt x="28" y="42"/>
                      </a:lnTo>
                      <a:lnTo>
                        <a:pt x="30" y="47"/>
                      </a:lnTo>
                      <a:lnTo>
                        <a:pt x="32" y="52"/>
                      </a:lnTo>
                      <a:lnTo>
                        <a:pt x="35" y="56"/>
                      </a:lnTo>
                      <a:lnTo>
                        <a:pt x="38" y="62"/>
                      </a:lnTo>
                      <a:lnTo>
                        <a:pt x="42" y="68"/>
                      </a:lnTo>
                      <a:lnTo>
                        <a:pt x="47" y="75"/>
                      </a:lnTo>
                      <a:lnTo>
                        <a:pt x="49" y="72"/>
                      </a:lnTo>
                      <a:lnTo>
                        <a:pt x="44" y="66"/>
                      </a:lnTo>
                      <a:lnTo>
                        <a:pt x="41" y="60"/>
                      </a:lnTo>
                      <a:lnTo>
                        <a:pt x="37" y="54"/>
                      </a:lnTo>
                      <a:lnTo>
                        <a:pt x="35" y="49"/>
                      </a:lnTo>
                      <a:lnTo>
                        <a:pt x="33" y="45"/>
                      </a:lnTo>
                      <a:lnTo>
                        <a:pt x="31" y="41"/>
                      </a:lnTo>
                      <a:lnTo>
                        <a:pt x="30" y="37"/>
                      </a:lnTo>
                      <a:lnTo>
                        <a:pt x="29" y="34"/>
                      </a:lnTo>
                      <a:lnTo>
                        <a:pt x="29" y="32"/>
                      </a:lnTo>
                      <a:lnTo>
                        <a:pt x="29" y="29"/>
                      </a:lnTo>
                      <a:lnTo>
                        <a:pt x="29" y="27"/>
                      </a:lnTo>
                      <a:lnTo>
                        <a:pt x="30" y="25"/>
                      </a:lnTo>
                      <a:lnTo>
                        <a:pt x="30" y="24"/>
                      </a:lnTo>
                      <a:lnTo>
                        <a:pt x="31" y="23"/>
                      </a:lnTo>
                      <a:lnTo>
                        <a:pt x="32" y="21"/>
                      </a:lnTo>
                      <a:lnTo>
                        <a:pt x="33" y="20"/>
                      </a:lnTo>
                      <a:lnTo>
                        <a:pt x="33" y="19"/>
                      </a:lnTo>
                      <a:lnTo>
                        <a:pt x="34" y="18"/>
                      </a:lnTo>
                      <a:lnTo>
                        <a:pt x="35" y="17"/>
                      </a:lnTo>
                      <a:lnTo>
                        <a:pt x="35" y="16"/>
                      </a:lnTo>
                      <a:lnTo>
                        <a:pt x="35" y="15"/>
                      </a:lnTo>
                      <a:lnTo>
                        <a:pt x="35" y="13"/>
                      </a:lnTo>
                      <a:lnTo>
                        <a:pt x="34" y="11"/>
                      </a:lnTo>
                      <a:lnTo>
                        <a:pt x="33" y="11"/>
                      </a:lnTo>
                      <a:lnTo>
                        <a:pt x="31" y="10"/>
                      </a:lnTo>
                      <a:lnTo>
                        <a:pt x="29" y="9"/>
                      </a:lnTo>
                      <a:lnTo>
                        <a:pt x="26" y="8"/>
                      </a:lnTo>
                      <a:lnTo>
                        <a:pt x="23" y="7"/>
                      </a:lnTo>
                      <a:lnTo>
                        <a:pt x="19" y="6"/>
                      </a:lnTo>
                      <a:lnTo>
                        <a:pt x="14" y="4"/>
                      </a:lnTo>
                      <a:lnTo>
                        <a:pt x="9" y="3"/>
                      </a:lnTo>
                      <a:lnTo>
                        <a:pt x="2" y="1"/>
                      </a:lnTo>
                      <a:lnTo>
                        <a:pt x="3" y="1"/>
                      </a:lnTo>
                      <a:lnTo>
                        <a:pt x="2" y="1"/>
                      </a:lnTo>
                      <a:lnTo>
                        <a:pt x="2" y="0"/>
                      </a:lnTo>
                      <a:lnTo>
                        <a:pt x="1" y="1"/>
                      </a:lnTo>
                      <a:lnTo>
                        <a:pt x="0" y="1"/>
                      </a:lnTo>
                      <a:lnTo>
                        <a:pt x="0" y="2"/>
                      </a:lnTo>
                      <a:lnTo>
                        <a:pt x="0" y="3"/>
                      </a:lnTo>
                      <a:lnTo>
                        <a:pt x="1" y="4"/>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7" name="Freeform 899">
                  <a:extLst>
                    <a:ext uri="{FF2B5EF4-FFF2-40B4-BE49-F238E27FC236}">
                      <a16:creationId xmlns:a16="http://schemas.microsoft.com/office/drawing/2014/main" id="{F34C4B89-3EA7-13D5-3540-ABF626D32A95}"/>
                    </a:ext>
                  </a:extLst>
                </p:cNvPr>
                <p:cNvSpPr>
                  <a:spLocks/>
                </p:cNvSpPr>
                <p:nvPr/>
              </p:nvSpPr>
              <p:spPr bwMode="auto">
                <a:xfrm>
                  <a:off x="304" y="2096"/>
                  <a:ext cx="16" cy="51"/>
                </a:xfrm>
                <a:custGeom>
                  <a:avLst/>
                  <a:gdLst>
                    <a:gd name="T0" fmla="*/ 1 w 22"/>
                    <a:gd name="T1" fmla="*/ 3 h 72"/>
                    <a:gd name="T2" fmla="*/ 1 w 22"/>
                    <a:gd name="T3" fmla="*/ 6 h 72"/>
                    <a:gd name="T4" fmla="*/ 2 w 22"/>
                    <a:gd name="T5" fmla="*/ 8 h 72"/>
                    <a:gd name="T6" fmla="*/ 3 w 22"/>
                    <a:gd name="T7" fmla="*/ 10 h 72"/>
                    <a:gd name="T8" fmla="*/ 3 w 22"/>
                    <a:gd name="T9" fmla="*/ 12 h 72"/>
                    <a:gd name="T10" fmla="*/ 3 w 22"/>
                    <a:gd name="T11" fmla="*/ 14 h 72"/>
                    <a:gd name="T12" fmla="*/ 4 w 22"/>
                    <a:gd name="T13" fmla="*/ 16 h 72"/>
                    <a:gd name="T14" fmla="*/ 4 w 22"/>
                    <a:gd name="T15" fmla="*/ 18 h 72"/>
                    <a:gd name="T16" fmla="*/ 4 w 22"/>
                    <a:gd name="T17" fmla="*/ 19 h 72"/>
                    <a:gd name="T18" fmla="*/ 5 w 22"/>
                    <a:gd name="T19" fmla="*/ 21 h 72"/>
                    <a:gd name="T20" fmla="*/ 5 w 22"/>
                    <a:gd name="T21" fmla="*/ 23 h 72"/>
                    <a:gd name="T22" fmla="*/ 6 w 22"/>
                    <a:gd name="T23" fmla="*/ 25 h 72"/>
                    <a:gd name="T24" fmla="*/ 7 w 22"/>
                    <a:gd name="T25" fmla="*/ 28 h 72"/>
                    <a:gd name="T26" fmla="*/ 7 w 22"/>
                    <a:gd name="T27" fmla="*/ 30 h 72"/>
                    <a:gd name="T28" fmla="*/ 9 w 22"/>
                    <a:gd name="T29" fmla="*/ 32 h 72"/>
                    <a:gd name="T30" fmla="*/ 9 w 22"/>
                    <a:gd name="T31" fmla="*/ 35 h 72"/>
                    <a:gd name="T32" fmla="*/ 12 w 22"/>
                    <a:gd name="T33" fmla="*/ 35 h 72"/>
                    <a:gd name="T34" fmla="*/ 11 w 22"/>
                    <a:gd name="T35" fmla="*/ 32 h 72"/>
                    <a:gd name="T36" fmla="*/ 9 w 22"/>
                    <a:gd name="T37" fmla="*/ 30 h 72"/>
                    <a:gd name="T38" fmla="*/ 9 w 22"/>
                    <a:gd name="T39" fmla="*/ 28 h 72"/>
                    <a:gd name="T40" fmla="*/ 7 w 22"/>
                    <a:gd name="T41" fmla="*/ 26 h 72"/>
                    <a:gd name="T42" fmla="*/ 7 w 22"/>
                    <a:gd name="T43" fmla="*/ 23 h 72"/>
                    <a:gd name="T44" fmla="*/ 7 w 22"/>
                    <a:gd name="T45" fmla="*/ 21 h 72"/>
                    <a:gd name="T46" fmla="*/ 6 w 22"/>
                    <a:gd name="T47" fmla="*/ 20 h 72"/>
                    <a:gd name="T48" fmla="*/ 6 w 22"/>
                    <a:gd name="T49" fmla="*/ 18 h 72"/>
                    <a:gd name="T50" fmla="*/ 5 w 22"/>
                    <a:gd name="T51" fmla="*/ 16 h 72"/>
                    <a:gd name="T52" fmla="*/ 5 w 22"/>
                    <a:gd name="T53" fmla="*/ 15 h 72"/>
                    <a:gd name="T54" fmla="*/ 5 w 22"/>
                    <a:gd name="T55" fmla="*/ 13 h 72"/>
                    <a:gd name="T56" fmla="*/ 4 w 22"/>
                    <a:gd name="T57" fmla="*/ 11 h 72"/>
                    <a:gd name="T58" fmla="*/ 4 w 22"/>
                    <a:gd name="T59" fmla="*/ 8 h 72"/>
                    <a:gd name="T60" fmla="*/ 3 w 22"/>
                    <a:gd name="T61" fmla="*/ 6 h 72"/>
                    <a:gd name="T62" fmla="*/ 3 w 22"/>
                    <a:gd name="T63" fmla="*/ 3 h 72"/>
                    <a:gd name="T64" fmla="*/ 1 w 22"/>
                    <a:gd name="T65" fmla="*/ 1 h 72"/>
                    <a:gd name="T66" fmla="*/ 1 w 22"/>
                    <a:gd name="T67" fmla="*/ 0 h 72"/>
                    <a:gd name="T68" fmla="*/ 1 w 22"/>
                    <a:gd name="T69" fmla="*/ 0 h 72"/>
                    <a:gd name="T70" fmla="*/ 1 w 22"/>
                    <a:gd name="T71" fmla="*/ 0 h 72"/>
                    <a:gd name="T72" fmla="*/ 1 w 22"/>
                    <a:gd name="T73" fmla="*/ 0 h 72"/>
                    <a:gd name="T74" fmla="*/ 1 w 22"/>
                    <a:gd name="T75" fmla="*/ 0 h 72"/>
                    <a:gd name="T76" fmla="*/ 0 w 22"/>
                    <a:gd name="T77" fmla="*/ 1 h 72"/>
                    <a:gd name="T78" fmla="*/ 0 w 22"/>
                    <a:gd name="T79" fmla="*/ 1 h 72"/>
                    <a:gd name="T80" fmla="*/ 0 w 22"/>
                    <a:gd name="T81" fmla="*/ 1 h 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2" h="72">
                      <a:moveTo>
                        <a:pt x="0" y="2"/>
                      </a:moveTo>
                      <a:lnTo>
                        <a:pt x="1" y="5"/>
                      </a:lnTo>
                      <a:lnTo>
                        <a:pt x="2" y="8"/>
                      </a:lnTo>
                      <a:lnTo>
                        <a:pt x="2" y="11"/>
                      </a:lnTo>
                      <a:lnTo>
                        <a:pt x="3" y="13"/>
                      </a:lnTo>
                      <a:lnTo>
                        <a:pt x="4" y="16"/>
                      </a:lnTo>
                      <a:lnTo>
                        <a:pt x="5" y="18"/>
                      </a:lnTo>
                      <a:lnTo>
                        <a:pt x="5" y="20"/>
                      </a:lnTo>
                      <a:lnTo>
                        <a:pt x="5" y="22"/>
                      </a:lnTo>
                      <a:lnTo>
                        <a:pt x="6" y="24"/>
                      </a:lnTo>
                      <a:lnTo>
                        <a:pt x="6" y="26"/>
                      </a:lnTo>
                      <a:lnTo>
                        <a:pt x="6" y="28"/>
                      </a:lnTo>
                      <a:lnTo>
                        <a:pt x="7" y="29"/>
                      </a:lnTo>
                      <a:lnTo>
                        <a:pt x="7" y="31"/>
                      </a:lnTo>
                      <a:lnTo>
                        <a:pt x="7" y="33"/>
                      </a:lnTo>
                      <a:lnTo>
                        <a:pt x="7" y="35"/>
                      </a:lnTo>
                      <a:lnTo>
                        <a:pt x="8" y="37"/>
                      </a:lnTo>
                      <a:lnTo>
                        <a:pt x="8" y="38"/>
                      </a:lnTo>
                      <a:lnTo>
                        <a:pt x="8" y="41"/>
                      </a:lnTo>
                      <a:lnTo>
                        <a:pt x="9" y="42"/>
                      </a:lnTo>
                      <a:lnTo>
                        <a:pt x="9" y="44"/>
                      </a:lnTo>
                      <a:lnTo>
                        <a:pt x="10" y="46"/>
                      </a:lnTo>
                      <a:lnTo>
                        <a:pt x="10" y="48"/>
                      </a:lnTo>
                      <a:lnTo>
                        <a:pt x="11" y="50"/>
                      </a:lnTo>
                      <a:lnTo>
                        <a:pt x="11" y="52"/>
                      </a:lnTo>
                      <a:lnTo>
                        <a:pt x="12" y="55"/>
                      </a:lnTo>
                      <a:lnTo>
                        <a:pt x="13" y="57"/>
                      </a:lnTo>
                      <a:lnTo>
                        <a:pt x="13" y="59"/>
                      </a:lnTo>
                      <a:lnTo>
                        <a:pt x="15" y="61"/>
                      </a:lnTo>
                      <a:lnTo>
                        <a:pt x="16" y="64"/>
                      </a:lnTo>
                      <a:lnTo>
                        <a:pt x="17" y="66"/>
                      </a:lnTo>
                      <a:lnTo>
                        <a:pt x="18" y="69"/>
                      </a:lnTo>
                      <a:lnTo>
                        <a:pt x="20" y="72"/>
                      </a:lnTo>
                      <a:lnTo>
                        <a:pt x="22" y="70"/>
                      </a:lnTo>
                      <a:lnTo>
                        <a:pt x="21" y="67"/>
                      </a:lnTo>
                      <a:lnTo>
                        <a:pt x="20" y="64"/>
                      </a:lnTo>
                      <a:lnTo>
                        <a:pt x="19" y="62"/>
                      </a:lnTo>
                      <a:lnTo>
                        <a:pt x="17" y="59"/>
                      </a:lnTo>
                      <a:lnTo>
                        <a:pt x="16" y="57"/>
                      </a:lnTo>
                      <a:lnTo>
                        <a:pt x="16" y="55"/>
                      </a:lnTo>
                      <a:lnTo>
                        <a:pt x="15" y="53"/>
                      </a:lnTo>
                      <a:lnTo>
                        <a:pt x="14" y="51"/>
                      </a:lnTo>
                      <a:lnTo>
                        <a:pt x="13" y="49"/>
                      </a:lnTo>
                      <a:lnTo>
                        <a:pt x="13" y="47"/>
                      </a:lnTo>
                      <a:lnTo>
                        <a:pt x="13" y="45"/>
                      </a:lnTo>
                      <a:lnTo>
                        <a:pt x="12" y="43"/>
                      </a:lnTo>
                      <a:lnTo>
                        <a:pt x="11" y="41"/>
                      </a:lnTo>
                      <a:lnTo>
                        <a:pt x="11" y="40"/>
                      </a:lnTo>
                      <a:lnTo>
                        <a:pt x="11" y="38"/>
                      </a:lnTo>
                      <a:lnTo>
                        <a:pt x="11" y="36"/>
                      </a:lnTo>
                      <a:lnTo>
                        <a:pt x="10" y="35"/>
                      </a:lnTo>
                      <a:lnTo>
                        <a:pt x="10" y="32"/>
                      </a:lnTo>
                      <a:lnTo>
                        <a:pt x="10" y="31"/>
                      </a:lnTo>
                      <a:lnTo>
                        <a:pt x="10" y="29"/>
                      </a:lnTo>
                      <a:lnTo>
                        <a:pt x="10" y="27"/>
                      </a:lnTo>
                      <a:lnTo>
                        <a:pt x="9" y="25"/>
                      </a:lnTo>
                      <a:lnTo>
                        <a:pt x="9" y="23"/>
                      </a:lnTo>
                      <a:lnTo>
                        <a:pt x="8" y="21"/>
                      </a:lnTo>
                      <a:lnTo>
                        <a:pt x="8" y="19"/>
                      </a:lnTo>
                      <a:lnTo>
                        <a:pt x="8" y="16"/>
                      </a:lnTo>
                      <a:lnTo>
                        <a:pt x="7" y="14"/>
                      </a:lnTo>
                      <a:lnTo>
                        <a:pt x="6" y="12"/>
                      </a:lnTo>
                      <a:lnTo>
                        <a:pt x="6" y="9"/>
                      </a:lnTo>
                      <a:lnTo>
                        <a:pt x="5" y="6"/>
                      </a:lnTo>
                      <a:lnTo>
                        <a:pt x="4" y="4"/>
                      </a:lnTo>
                      <a:lnTo>
                        <a:pt x="3" y="1"/>
                      </a:lnTo>
                      <a:lnTo>
                        <a:pt x="3" y="0"/>
                      </a:lnTo>
                      <a:lnTo>
                        <a:pt x="2" y="0"/>
                      </a:lnTo>
                      <a:lnTo>
                        <a:pt x="1" y="0"/>
                      </a:lnTo>
                      <a:lnTo>
                        <a:pt x="0" y="0"/>
                      </a:lnTo>
                      <a:lnTo>
                        <a:pt x="0" y="1"/>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8" name="Freeform 900">
                  <a:extLst>
                    <a:ext uri="{FF2B5EF4-FFF2-40B4-BE49-F238E27FC236}">
                      <a16:creationId xmlns:a16="http://schemas.microsoft.com/office/drawing/2014/main" id="{F6D9B92B-77C9-AE8A-EA22-BA7FB08E955E}"/>
                    </a:ext>
                  </a:extLst>
                </p:cNvPr>
                <p:cNvSpPr>
                  <a:spLocks/>
                </p:cNvSpPr>
                <p:nvPr/>
              </p:nvSpPr>
              <p:spPr bwMode="auto">
                <a:xfrm>
                  <a:off x="291" y="2076"/>
                  <a:ext cx="16" cy="22"/>
                </a:xfrm>
                <a:custGeom>
                  <a:avLst/>
                  <a:gdLst>
                    <a:gd name="T0" fmla="*/ 1 w 23"/>
                    <a:gd name="T1" fmla="*/ 2 h 29"/>
                    <a:gd name="T2" fmla="*/ 4 w 23"/>
                    <a:gd name="T3" fmla="*/ 2 h 29"/>
                    <a:gd name="T4" fmla="*/ 6 w 23"/>
                    <a:gd name="T5" fmla="*/ 2 h 29"/>
                    <a:gd name="T6" fmla="*/ 8 w 23"/>
                    <a:gd name="T7" fmla="*/ 2 h 29"/>
                    <a:gd name="T8" fmla="*/ 9 w 23"/>
                    <a:gd name="T9" fmla="*/ 2 h 29"/>
                    <a:gd name="T10" fmla="*/ 9 w 23"/>
                    <a:gd name="T11" fmla="*/ 2 h 29"/>
                    <a:gd name="T12" fmla="*/ 10 w 23"/>
                    <a:gd name="T13" fmla="*/ 3 h 29"/>
                    <a:gd name="T14" fmla="*/ 10 w 23"/>
                    <a:gd name="T15" fmla="*/ 4 h 29"/>
                    <a:gd name="T16" fmla="*/ 9 w 23"/>
                    <a:gd name="T17" fmla="*/ 5 h 29"/>
                    <a:gd name="T18" fmla="*/ 9 w 23"/>
                    <a:gd name="T19" fmla="*/ 6 h 29"/>
                    <a:gd name="T20" fmla="*/ 9 w 23"/>
                    <a:gd name="T21" fmla="*/ 8 h 29"/>
                    <a:gd name="T22" fmla="*/ 9 w 23"/>
                    <a:gd name="T23" fmla="*/ 8 h 29"/>
                    <a:gd name="T24" fmla="*/ 9 w 23"/>
                    <a:gd name="T25" fmla="*/ 11 h 29"/>
                    <a:gd name="T26" fmla="*/ 9 w 23"/>
                    <a:gd name="T27" fmla="*/ 13 h 29"/>
                    <a:gd name="T28" fmla="*/ 9 w 23"/>
                    <a:gd name="T29" fmla="*/ 15 h 29"/>
                    <a:gd name="T30" fmla="*/ 10 w 23"/>
                    <a:gd name="T31" fmla="*/ 16 h 29"/>
                    <a:gd name="T32" fmla="*/ 10 w 23"/>
                    <a:gd name="T33" fmla="*/ 14 h 29"/>
                    <a:gd name="T34" fmla="*/ 10 w 23"/>
                    <a:gd name="T35" fmla="*/ 12 h 29"/>
                    <a:gd name="T36" fmla="*/ 10 w 23"/>
                    <a:gd name="T37" fmla="*/ 10 h 29"/>
                    <a:gd name="T38" fmla="*/ 10 w 23"/>
                    <a:gd name="T39" fmla="*/ 8 h 29"/>
                    <a:gd name="T40" fmla="*/ 10 w 23"/>
                    <a:gd name="T41" fmla="*/ 7 h 29"/>
                    <a:gd name="T42" fmla="*/ 10 w 23"/>
                    <a:gd name="T43" fmla="*/ 6 h 29"/>
                    <a:gd name="T44" fmla="*/ 11 w 23"/>
                    <a:gd name="T45" fmla="*/ 5 h 29"/>
                    <a:gd name="T46" fmla="*/ 11 w 23"/>
                    <a:gd name="T47" fmla="*/ 4 h 29"/>
                    <a:gd name="T48" fmla="*/ 11 w 23"/>
                    <a:gd name="T49" fmla="*/ 2 h 29"/>
                    <a:gd name="T50" fmla="*/ 10 w 23"/>
                    <a:gd name="T51" fmla="*/ 2 h 29"/>
                    <a:gd name="T52" fmla="*/ 10 w 23"/>
                    <a:gd name="T53" fmla="*/ 1 h 29"/>
                    <a:gd name="T54" fmla="*/ 9 w 23"/>
                    <a:gd name="T55" fmla="*/ 0 h 29"/>
                    <a:gd name="T56" fmla="*/ 8 w 23"/>
                    <a:gd name="T57" fmla="*/ 0 h 29"/>
                    <a:gd name="T58" fmla="*/ 6 w 23"/>
                    <a:gd name="T59" fmla="*/ 0 h 29"/>
                    <a:gd name="T60" fmla="*/ 4 w 23"/>
                    <a:gd name="T61" fmla="*/ 0 h 29"/>
                    <a:gd name="T62" fmla="*/ 1 w 23"/>
                    <a:gd name="T63" fmla="*/ 0 h 29"/>
                    <a:gd name="T64" fmla="*/ 1 w 23"/>
                    <a:gd name="T65" fmla="*/ 0 h 29"/>
                    <a:gd name="T66" fmla="*/ 1 w 23"/>
                    <a:gd name="T67" fmla="*/ 0 h 29"/>
                    <a:gd name="T68" fmla="*/ 1 w 23"/>
                    <a:gd name="T69" fmla="*/ 0 h 29"/>
                    <a:gd name="T70" fmla="*/ 1 w 23"/>
                    <a:gd name="T71" fmla="*/ 1 h 29"/>
                    <a:gd name="T72" fmla="*/ 1 w 23"/>
                    <a:gd name="T73" fmla="*/ 1 h 29"/>
                    <a:gd name="T74" fmla="*/ 1 w 23"/>
                    <a:gd name="T75" fmla="*/ 2 h 29"/>
                    <a:gd name="T76" fmla="*/ 1 w 23"/>
                    <a:gd name="T77" fmla="*/ 2 h 29"/>
                    <a:gd name="T78" fmla="*/ 1 w 23"/>
                    <a:gd name="T79" fmla="*/ 2 h 29"/>
                    <a:gd name="T80" fmla="*/ 1 w 23"/>
                    <a:gd name="T81" fmla="*/ 2 h 29"/>
                    <a:gd name="T82" fmla="*/ 1 w 23"/>
                    <a:gd name="T83" fmla="*/ 2 h 29"/>
                    <a:gd name="T84" fmla="*/ 1 w 23"/>
                    <a:gd name="T85" fmla="*/ 2 h 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 h="29">
                      <a:moveTo>
                        <a:pt x="1" y="3"/>
                      </a:moveTo>
                      <a:lnTo>
                        <a:pt x="2" y="4"/>
                      </a:lnTo>
                      <a:lnTo>
                        <a:pt x="5" y="4"/>
                      </a:lnTo>
                      <a:lnTo>
                        <a:pt x="8" y="4"/>
                      </a:lnTo>
                      <a:lnTo>
                        <a:pt x="10" y="4"/>
                      </a:lnTo>
                      <a:lnTo>
                        <a:pt x="12" y="4"/>
                      </a:lnTo>
                      <a:lnTo>
                        <a:pt x="14" y="4"/>
                      </a:lnTo>
                      <a:lnTo>
                        <a:pt x="16" y="4"/>
                      </a:lnTo>
                      <a:lnTo>
                        <a:pt x="17" y="4"/>
                      </a:lnTo>
                      <a:lnTo>
                        <a:pt x="18" y="4"/>
                      </a:lnTo>
                      <a:lnTo>
                        <a:pt x="19" y="4"/>
                      </a:lnTo>
                      <a:lnTo>
                        <a:pt x="19" y="5"/>
                      </a:lnTo>
                      <a:lnTo>
                        <a:pt x="20" y="5"/>
                      </a:lnTo>
                      <a:lnTo>
                        <a:pt x="20" y="6"/>
                      </a:lnTo>
                      <a:lnTo>
                        <a:pt x="19" y="7"/>
                      </a:lnTo>
                      <a:lnTo>
                        <a:pt x="19" y="8"/>
                      </a:lnTo>
                      <a:lnTo>
                        <a:pt x="19" y="9"/>
                      </a:lnTo>
                      <a:lnTo>
                        <a:pt x="19" y="10"/>
                      </a:lnTo>
                      <a:lnTo>
                        <a:pt x="19" y="11"/>
                      </a:lnTo>
                      <a:lnTo>
                        <a:pt x="18" y="13"/>
                      </a:lnTo>
                      <a:lnTo>
                        <a:pt x="18" y="15"/>
                      </a:lnTo>
                      <a:lnTo>
                        <a:pt x="18" y="17"/>
                      </a:lnTo>
                      <a:lnTo>
                        <a:pt x="18" y="19"/>
                      </a:lnTo>
                      <a:lnTo>
                        <a:pt x="18" y="21"/>
                      </a:lnTo>
                      <a:lnTo>
                        <a:pt x="18" y="23"/>
                      </a:lnTo>
                      <a:lnTo>
                        <a:pt x="18" y="25"/>
                      </a:lnTo>
                      <a:lnTo>
                        <a:pt x="19" y="27"/>
                      </a:lnTo>
                      <a:lnTo>
                        <a:pt x="19" y="29"/>
                      </a:lnTo>
                      <a:lnTo>
                        <a:pt x="22" y="28"/>
                      </a:lnTo>
                      <a:lnTo>
                        <a:pt x="22" y="26"/>
                      </a:lnTo>
                      <a:lnTo>
                        <a:pt x="21" y="24"/>
                      </a:lnTo>
                      <a:lnTo>
                        <a:pt x="21" y="22"/>
                      </a:lnTo>
                      <a:lnTo>
                        <a:pt x="21" y="21"/>
                      </a:lnTo>
                      <a:lnTo>
                        <a:pt x="21" y="19"/>
                      </a:lnTo>
                      <a:lnTo>
                        <a:pt x="21" y="17"/>
                      </a:lnTo>
                      <a:lnTo>
                        <a:pt x="21" y="15"/>
                      </a:lnTo>
                      <a:lnTo>
                        <a:pt x="21" y="14"/>
                      </a:lnTo>
                      <a:lnTo>
                        <a:pt x="22" y="13"/>
                      </a:lnTo>
                      <a:lnTo>
                        <a:pt x="22" y="12"/>
                      </a:lnTo>
                      <a:lnTo>
                        <a:pt x="22" y="11"/>
                      </a:lnTo>
                      <a:lnTo>
                        <a:pt x="22" y="10"/>
                      </a:lnTo>
                      <a:lnTo>
                        <a:pt x="22" y="9"/>
                      </a:lnTo>
                      <a:lnTo>
                        <a:pt x="23" y="8"/>
                      </a:lnTo>
                      <a:lnTo>
                        <a:pt x="23" y="7"/>
                      </a:lnTo>
                      <a:lnTo>
                        <a:pt x="23" y="6"/>
                      </a:lnTo>
                      <a:lnTo>
                        <a:pt x="23" y="5"/>
                      </a:lnTo>
                      <a:lnTo>
                        <a:pt x="23" y="4"/>
                      </a:lnTo>
                      <a:lnTo>
                        <a:pt x="22" y="3"/>
                      </a:lnTo>
                      <a:lnTo>
                        <a:pt x="22" y="2"/>
                      </a:lnTo>
                      <a:lnTo>
                        <a:pt x="21" y="1"/>
                      </a:lnTo>
                      <a:lnTo>
                        <a:pt x="20" y="1"/>
                      </a:lnTo>
                      <a:lnTo>
                        <a:pt x="19" y="1"/>
                      </a:lnTo>
                      <a:lnTo>
                        <a:pt x="19" y="0"/>
                      </a:lnTo>
                      <a:lnTo>
                        <a:pt x="17" y="0"/>
                      </a:lnTo>
                      <a:lnTo>
                        <a:pt x="16" y="0"/>
                      </a:lnTo>
                      <a:lnTo>
                        <a:pt x="14" y="0"/>
                      </a:lnTo>
                      <a:lnTo>
                        <a:pt x="13" y="0"/>
                      </a:lnTo>
                      <a:lnTo>
                        <a:pt x="10" y="0"/>
                      </a:lnTo>
                      <a:lnTo>
                        <a:pt x="8" y="0"/>
                      </a:lnTo>
                      <a:lnTo>
                        <a:pt x="5" y="0"/>
                      </a:lnTo>
                      <a:lnTo>
                        <a:pt x="2" y="0"/>
                      </a:lnTo>
                      <a:lnTo>
                        <a:pt x="4" y="1"/>
                      </a:lnTo>
                      <a:lnTo>
                        <a:pt x="2" y="0"/>
                      </a:lnTo>
                      <a:lnTo>
                        <a:pt x="1" y="0"/>
                      </a:lnTo>
                      <a:lnTo>
                        <a:pt x="1" y="1"/>
                      </a:lnTo>
                      <a:lnTo>
                        <a:pt x="0" y="2"/>
                      </a:lnTo>
                      <a:lnTo>
                        <a:pt x="1" y="2"/>
                      </a:lnTo>
                      <a:lnTo>
                        <a:pt x="1" y="3"/>
                      </a:lnTo>
                      <a:lnTo>
                        <a:pt x="2" y="3"/>
                      </a:lnTo>
                      <a:lnTo>
                        <a:pt x="2" y="4"/>
                      </a:lnTo>
                      <a:lnTo>
                        <a:pt x="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09" name="Freeform 901">
                  <a:extLst>
                    <a:ext uri="{FF2B5EF4-FFF2-40B4-BE49-F238E27FC236}">
                      <a16:creationId xmlns:a16="http://schemas.microsoft.com/office/drawing/2014/main" id="{867B30BF-D281-4D4C-EDE1-4438F2E1CBFB}"/>
                    </a:ext>
                  </a:extLst>
                </p:cNvPr>
                <p:cNvSpPr>
                  <a:spLocks/>
                </p:cNvSpPr>
                <p:nvPr/>
              </p:nvSpPr>
              <p:spPr bwMode="auto">
                <a:xfrm>
                  <a:off x="267" y="2032"/>
                  <a:ext cx="27" cy="48"/>
                </a:xfrm>
                <a:custGeom>
                  <a:avLst/>
                  <a:gdLst>
                    <a:gd name="T0" fmla="*/ 14 w 38"/>
                    <a:gd name="T1" fmla="*/ 32 h 67"/>
                    <a:gd name="T2" fmla="*/ 12 w 38"/>
                    <a:gd name="T3" fmla="*/ 28 h 67"/>
                    <a:gd name="T4" fmla="*/ 10 w 38"/>
                    <a:gd name="T5" fmla="*/ 25 h 67"/>
                    <a:gd name="T6" fmla="*/ 9 w 38"/>
                    <a:gd name="T7" fmla="*/ 21 h 67"/>
                    <a:gd name="T8" fmla="*/ 6 w 38"/>
                    <a:gd name="T9" fmla="*/ 16 h 67"/>
                    <a:gd name="T10" fmla="*/ 4 w 38"/>
                    <a:gd name="T11" fmla="*/ 12 h 67"/>
                    <a:gd name="T12" fmla="*/ 4 w 38"/>
                    <a:gd name="T13" fmla="*/ 9 h 67"/>
                    <a:gd name="T14" fmla="*/ 2 w 38"/>
                    <a:gd name="T15" fmla="*/ 5 h 67"/>
                    <a:gd name="T16" fmla="*/ 1 w 38"/>
                    <a:gd name="T17" fmla="*/ 3 h 67"/>
                    <a:gd name="T18" fmla="*/ 1 w 38"/>
                    <a:gd name="T19" fmla="*/ 1 h 67"/>
                    <a:gd name="T20" fmla="*/ 1 w 38"/>
                    <a:gd name="T21" fmla="*/ 1 h 67"/>
                    <a:gd name="T22" fmla="*/ 1 w 38"/>
                    <a:gd name="T23" fmla="*/ 3 h 67"/>
                    <a:gd name="T24" fmla="*/ 4 w 38"/>
                    <a:gd name="T25" fmla="*/ 6 h 67"/>
                    <a:gd name="T26" fmla="*/ 6 w 38"/>
                    <a:gd name="T27" fmla="*/ 10 h 67"/>
                    <a:gd name="T28" fmla="*/ 10 w 38"/>
                    <a:gd name="T29" fmla="*/ 17 h 67"/>
                    <a:gd name="T30" fmla="*/ 15 w 38"/>
                    <a:gd name="T31" fmla="*/ 28 h 67"/>
                    <a:gd name="T32" fmla="*/ 19 w 38"/>
                    <a:gd name="T33" fmla="*/ 32 h 67"/>
                    <a:gd name="T34" fmla="*/ 14 w 38"/>
                    <a:gd name="T35" fmla="*/ 21 h 67"/>
                    <a:gd name="T36" fmla="*/ 9 w 38"/>
                    <a:gd name="T37" fmla="*/ 13 h 67"/>
                    <a:gd name="T38" fmla="*/ 6 w 38"/>
                    <a:gd name="T39" fmla="*/ 6 h 67"/>
                    <a:gd name="T40" fmla="*/ 4 w 38"/>
                    <a:gd name="T41" fmla="*/ 3 h 67"/>
                    <a:gd name="T42" fmla="*/ 2 w 38"/>
                    <a:gd name="T43" fmla="*/ 1 h 67"/>
                    <a:gd name="T44" fmla="*/ 1 w 38"/>
                    <a:gd name="T45" fmla="*/ 0 h 67"/>
                    <a:gd name="T46" fmla="*/ 0 w 38"/>
                    <a:gd name="T47" fmla="*/ 2 h 67"/>
                    <a:gd name="T48" fmla="*/ 1 w 38"/>
                    <a:gd name="T49" fmla="*/ 4 h 67"/>
                    <a:gd name="T50" fmla="*/ 1 w 38"/>
                    <a:gd name="T51" fmla="*/ 8 h 67"/>
                    <a:gd name="T52" fmla="*/ 3 w 38"/>
                    <a:gd name="T53" fmla="*/ 11 h 67"/>
                    <a:gd name="T54" fmla="*/ 4 w 38"/>
                    <a:gd name="T55" fmla="*/ 15 h 67"/>
                    <a:gd name="T56" fmla="*/ 6 w 38"/>
                    <a:gd name="T57" fmla="*/ 19 h 67"/>
                    <a:gd name="T58" fmla="*/ 8 w 38"/>
                    <a:gd name="T59" fmla="*/ 24 h 67"/>
                    <a:gd name="T60" fmla="*/ 10 w 38"/>
                    <a:gd name="T61" fmla="*/ 28 h 67"/>
                    <a:gd name="T62" fmla="*/ 11 w 38"/>
                    <a:gd name="T63" fmla="*/ 32 h 67"/>
                    <a:gd name="T64" fmla="*/ 13 w 38"/>
                    <a:gd name="T65" fmla="*/ 34 h 67"/>
                    <a:gd name="T66" fmla="*/ 13 w 38"/>
                    <a:gd name="T67" fmla="*/ 34 h 67"/>
                    <a:gd name="T68" fmla="*/ 14 w 38"/>
                    <a:gd name="T69" fmla="*/ 34 h 67"/>
                    <a:gd name="T70" fmla="*/ 14 w 38"/>
                    <a:gd name="T71" fmla="*/ 34 h 67"/>
                    <a:gd name="T72" fmla="*/ 15 w 38"/>
                    <a:gd name="T73" fmla="*/ 34 h 67"/>
                    <a:gd name="T74" fmla="*/ 15 w 38"/>
                    <a:gd name="T75" fmla="*/ 34 h 67"/>
                    <a:gd name="T76" fmla="*/ 15 w 38"/>
                    <a:gd name="T77" fmla="*/ 33 h 67"/>
                    <a:gd name="T78" fmla="*/ 14 w 38"/>
                    <a:gd name="T79" fmla="*/ 32 h 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67">
                      <a:moveTo>
                        <a:pt x="28" y="63"/>
                      </a:moveTo>
                      <a:lnTo>
                        <a:pt x="27" y="61"/>
                      </a:lnTo>
                      <a:lnTo>
                        <a:pt x="25" y="59"/>
                      </a:lnTo>
                      <a:lnTo>
                        <a:pt x="24" y="55"/>
                      </a:lnTo>
                      <a:lnTo>
                        <a:pt x="22" y="52"/>
                      </a:lnTo>
                      <a:lnTo>
                        <a:pt x="20" y="49"/>
                      </a:lnTo>
                      <a:lnTo>
                        <a:pt x="18" y="45"/>
                      </a:lnTo>
                      <a:lnTo>
                        <a:pt x="17" y="41"/>
                      </a:lnTo>
                      <a:lnTo>
                        <a:pt x="15" y="37"/>
                      </a:lnTo>
                      <a:lnTo>
                        <a:pt x="13" y="32"/>
                      </a:lnTo>
                      <a:lnTo>
                        <a:pt x="11" y="28"/>
                      </a:lnTo>
                      <a:lnTo>
                        <a:pt x="9" y="24"/>
                      </a:lnTo>
                      <a:lnTo>
                        <a:pt x="8" y="20"/>
                      </a:lnTo>
                      <a:lnTo>
                        <a:pt x="7" y="17"/>
                      </a:lnTo>
                      <a:lnTo>
                        <a:pt x="6" y="13"/>
                      </a:lnTo>
                      <a:lnTo>
                        <a:pt x="4" y="10"/>
                      </a:lnTo>
                      <a:lnTo>
                        <a:pt x="4" y="7"/>
                      </a:lnTo>
                      <a:lnTo>
                        <a:pt x="3" y="5"/>
                      </a:lnTo>
                      <a:lnTo>
                        <a:pt x="3" y="3"/>
                      </a:lnTo>
                      <a:lnTo>
                        <a:pt x="3" y="2"/>
                      </a:lnTo>
                      <a:lnTo>
                        <a:pt x="2" y="3"/>
                      </a:lnTo>
                      <a:lnTo>
                        <a:pt x="1" y="3"/>
                      </a:lnTo>
                      <a:lnTo>
                        <a:pt x="2" y="3"/>
                      </a:lnTo>
                      <a:lnTo>
                        <a:pt x="3" y="5"/>
                      </a:lnTo>
                      <a:lnTo>
                        <a:pt x="5" y="7"/>
                      </a:lnTo>
                      <a:lnTo>
                        <a:pt x="7" y="11"/>
                      </a:lnTo>
                      <a:lnTo>
                        <a:pt x="9" y="15"/>
                      </a:lnTo>
                      <a:lnTo>
                        <a:pt x="12" y="20"/>
                      </a:lnTo>
                      <a:lnTo>
                        <a:pt x="16" y="27"/>
                      </a:lnTo>
                      <a:lnTo>
                        <a:pt x="20" y="34"/>
                      </a:lnTo>
                      <a:lnTo>
                        <a:pt x="24" y="43"/>
                      </a:lnTo>
                      <a:lnTo>
                        <a:pt x="29" y="54"/>
                      </a:lnTo>
                      <a:lnTo>
                        <a:pt x="36" y="66"/>
                      </a:lnTo>
                      <a:lnTo>
                        <a:pt x="38" y="63"/>
                      </a:lnTo>
                      <a:lnTo>
                        <a:pt x="33" y="51"/>
                      </a:lnTo>
                      <a:lnTo>
                        <a:pt x="28" y="41"/>
                      </a:lnTo>
                      <a:lnTo>
                        <a:pt x="22" y="32"/>
                      </a:lnTo>
                      <a:lnTo>
                        <a:pt x="18" y="25"/>
                      </a:lnTo>
                      <a:lnTo>
                        <a:pt x="15" y="18"/>
                      </a:lnTo>
                      <a:lnTo>
                        <a:pt x="12" y="13"/>
                      </a:lnTo>
                      <a:lnTo>
                        <a:pt x="9" y="8"/>
                      </a:lnTo>
                      <a:lnTo>
                        <a:pt x="7" y="5"/>
                      </a:lnTo>
                      <a:lnTo>
                        <a:pt x="5" y="2"/>
                      </a:lnTo>
                      <a:lnTo>
                        <a:pt x="4" y="1"/>
                      </a:lnTo>
                      <a:lnTo>
                        <a:pt x="2" y="0"/>
                      </a:lnTo>
                      <a:lnTo>
                        <a:pt x="1" y="0"/>
                      </a:lnTo>
                      <a:lnTo>
                        <a:pt x="0" y="2"/>
                      </a:lnTo>
                      <a:lnTo>
                        <a:pt x="0" y="4"/>
                      </a:lnTo>
                      <a:lnTo>
                        <a:pt x="0" y="6"/>
                      </a:lnTo>
                      <a:lnTo>
                        <a:pt x="1" y="8"/>
                      </a:lnTo>
                      <a:lnTo>
                        <a:pt x="1" y="11"/>
                      </a:lnTo>
                      <a:lnTo>
                        <a:pt x="2" y="15"/>
                      </a:lnTo>
                      <a:lnTo>
                        <a:pt x="4" y="18"/>
                      </a:lnTo>
                      <a:lnTo>
                        <a:pt x="5" y="22"/>
                      </a:lnTo>
                      <a:lnTo>
                        <a:pt x="7" y="26"/>
                      </a:lnTo>
                      <a:lnTo>
                        <a:pt x="9" y="30"/>
                      </a:lnTo>
                      <a:lnTo>
                        <a:pt x="10" y="34"/>
                      </a:lnTo>
                      <a:lnTo>
                        <a:pt x="12" y="38"/>
                      </a:lnTo>
                      <a:lnTo>
                        <a:pt x="14" y="43"/>
                      </a:lnTo>
                      <a:lnTo>
                        <a:pt x="16" y="47"/>
                      </a:lnTo>
                      <a:lnTo>
                        <a:pt x="17" y="50"/>
                      </a:lnTo>
                      <a:lnTo>
                        <a:pt x="19" y="55"/>
                      </a:lnTo>
                      <a:lnTo>
                        <a:pt x="21" y="58"/>
                      </a:lnTo>
                      <a:lnTo>
                        <a:pt x="23" y="61"/>
                      </a:lnTo>
                      <a:lnTo>
                        <a:pt x="24" y="64"/>
                      </a:lnTo>
                      <a:lnTo>
                        <a:pt x="26" y="66"/>
                      </a:lnTo>
                      <a:lnTo>
                        <a:pt x="27" y="67"/>
                      </a:lnTo>
                      <a:lnTo>
                        <a:pt x="28" y="67"/>
                      </a:lnTo>
                      <a:lnTo>
                        <a:pt x="28" y="66"/>
                      </a:lnTo>
                      <a:lnTo>
                        <a:pt x="29" y="66"/>
                      </a:lnTo>
                      <a:lnTo>
                        <a:pt x="29" y="65"/>
                      </a:lnTo>
                      <a:lnTo>
                        <a:pt x="29" y="64"/>
                      </a:lnTo>
                      <a:lnTo>
                        <a:pt x="29" y="63"/>
                      </a:lnTo>
                      <a:lnTo>
                        <a:pt x="28"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0" name="Freeform 902">
                  <a:extLst>
                    <a:ext uri="{FF2B5EF4-FFF2-40B4-BE49-F238E27FC236}">
                      <a16:creationId xmlns:a16="http://schemas.microsoft.com/office/drawing/2014/main" id="{14FFCCC0-2062-D2FD-4A26-BBDF00AB224C}"/>
                    </a:ext>
                  </a:extLst>
                </p:cNvPr>
                <p:cNvSpPr>
                  <a:spLocks/>
                </p:cNvSpPr>
                <p:nvPr/>
              </p:nvSpPr>
              <p:spPr bwMode="auto">
                <a:xfrm>
                  <a:off x="227" y="2077"/>
                  <a:ext cx="63" cy="28"/>
                </a:xfrm>
                <a:custGeom>
                  <a:avLst/>
                  <a:gdLst>
                    <a:gd name="T0" fmla="*/ 1 w 89"/>
                    <a:gd name="T1" fmla="*/ 20 h 39"/>
                    <a:gd name="T2" fmla="*/ 3 w 89"/>
                    <a:gd name="T3" fmla="*/ 20 h 39"/>
                    <a:gd name="T4" fmla="*/ 6 w 89"/>
                    <a:gd name="T5" fmla="*/ 19 h 39"/>
                    <a:gd name="T6" fmla="*/ 9 w 89"/>
                    <a:gd name="T7" fmla="*/ 19 h 39"/>
                    <a:gd name="T8" fmla="*/ 13 w 89"/>
                    <a:gd name="T9" fmla="*/ 19 h 39"/>
                    <a:gd name="T10" fmla="*/ 17 w 89"/>
                    <a:gd name="T11" fmla="*/ 18 h 39"/>
                    <a:gd name="T12" fmla="*/ 21 w 89"/>
                    <a:gd name="T13" fmla="*/ 17 h 39"/>
                    <a:gd name="T14" fmla="*/ 25 w 89"/>
                    <a:gd name="T15" fmla="*/ 17 h 39"/>
                    <a:gd name="T16" fmla="*/ 29 w 89"/>
                    <a:gd name="T17" fmla="*/ 16 h 39"/>
                    <a:gd name="T18" fmla="*/ 33 w 89"/>
                    <a:gd name="T19" fmla="*/ 14 h 39"/>
                    <a:gd name="T20" fmla="*/ 36 w 89"/>
                    <a:gd name="T21" fmla="*/ 13 h 39"/>
                    <a:gd name="T22" fmla="*/ 39 w 89"/>
                    <a:gd name="T23" fmla="*/ 11 h 39"/>
                    <a:gd name="T24" fmla="*/ 42 w 89"/>
                    <a:gd name="T25" fmla="*/ 9 h 39"/>
                    <a:gd name="T26" fmla="*/ 44 w 89"/>
                    <a:gd name="T27" fmla="*/ 8 h 39"/>
                    <a:gd name="T28" fmla="*/ 45 w 89"/>
                    <a:gd name="T29" fmla="*/ 5 h 39"/>
                    <a:gd name="T30" fmla="*/ 44 w 89"/>
                    <a:gd name="T31" fmla="*/ 2 h 39"/>
                    <a:gd name="T32" fmla="*/ 43 w 89"/>
                    <a:gd name="T33" fmla="*/ 0 h 39"/>
                    <a:gd name="T34" fmla="*/ 42 w 89"/>
                    <a:gd name="T35" fmla="*/ 2 h 39"/>
                    <a:gd name="T36" fmla="*/ 43 w 89"/>
                    <a:gd name="T37" fmla="*/ 4 h 39"/>
                    <a:gd name="T38" fmla="*/ 42 w 89"/>
                    <a:gd name="T39" fmla="*/ 5 h 39"/>
                    <a:gd name="T40" fmla="*/ 42 w 89"/>
                    <a:gd name="T41" fmla="*/ 6 h 39"/>
                    <a:gd name="T42" fmla="*/ 40 w 89"/>
                    <a:gd name="T43" fmla="*/ 9 h 39"/>
                    <a:gd name="T44" fmla="*/ 37 w 89"/>
                    <a:gd name="T45" fmla="*/ 10 h 39"/>
                    <a:gd name="T46" fmla="*/ 34 w 89"/>
                    <a:gd name="T47" fmla="*/ 11 h 39"/>
                    <a:gd name="T48" fmla="*/ 30 w 89"/>
                    <a:gd name="T49" fmla="*/ 13 h 39"/>
                    <a:gd name="T50" fmla="*/ 27 w 89"/>
                    <a:gd name="T51" fmla="*/ 14 h 39"/>
                    <a:gd name="T52" fmla="*/ 23 w 89"/>
                    <a:gd name="T53" fmla="*/ 15 h 39"/>
                    <a:gd name="T54" fmla="*/ 18 w 89"/>
                    <a:gd name="T55" fmla="*/ 16 h 39"/>
                    <a:gd name="T56" fmla="*/ 15 w 89"/>
                    <a:gd name="T57" fmla="*/ 17 h 39"/>
                    <a:gd name="T58" fmla="*/ 11 w 89"/>
                    <a:gd name="T59" fmla="*/ 17 h 39"/>
                    <a:gd name="T60" fmla="*/ 7 w 89"/>
                    <a:gd name="T61" fmla="*/ 17 h 39"/>
                    <a:gd name="T62" fmla="*/ 4 w 89"/>
                    <a:gd name="T63" fmla="*/ 17 h 39"/>
                    <a:gd name="T64" fmla="*/ 2 w 89"/>
                    <a:gd name="T65" fmla="*/ 17 h 39"/>
                    <a:gd name="T66" fmla="*/ 1 w 89"/>
                    <a:gd name="T67" fmla="*/ 17 h 39"/>
                    <a:gd name="T68" fmla="*/ 1 w 89"/>
                    <a:gd name="T69" fmla="*/ 17 h 39"/>
                    <a:gd name="T70" fmla="*/ 1 w 89"/>
                    <a:gd name="T71" fmla="*/ 17 h 39"/>
                    <a:gd name="T72" fmla="*/ 0 w 89"/>
                    <a:gd name="T73" fmla="*/ 18 h 39"/>
                    <a:gd name="T74" fmla="*/ 0 w 89"/>
                    <a:gd name="T75" fmla="*/ 19 h 39"/>
                    <a:gd name="T76" fmla="*/ 0 w 89"/>
                    <a:gd name="T77" fmla="*/ 19 h 39"/>
                    <a:gd name="T78" fmla="*/ 0 w 89"/>
                    <a:gd name="T79" fmla="*/ 19 h 39"/>
                    <a:gd name="T80" fmla="*/ 0 w 89"/>
                    <a:gd name="T81" fmla="*/ 19 h 39"/>
                    <a:gd name="T82" fmla="*/ 1 w 89"/>
                    <a:gd name="T83" fmla="*/ 20 h 39"/>
                    <a:gd name="T84" fmla="*/ 1 w 89"/>
                    <a:gd name="T85" fmla="*/ 20 h 39"/>
                    <a:gd name="T86" fmla="*/ 1 w 89"/>
                    <a:gd name="T87" fmla="*/ 20 h 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9" h="39">
                      <a:moveTo>
                        <a:pt x="1" y="39"/>
                      </a:moveTo>
                      <a:lnTo>
                        <a:pt x="2" y="39"/>
                      </a:lnTo>
                      <a:lnTo>
                        <a:pt x="4" y="39"/>
                      </a:lnTo>
                      <a:lnTo>
                        <a:pt x="6" y="39"/>
                      </a:lnTo>
                      <a:lnTo>
                        <a:pt x="9" y="39"/>
                      </a:lnTo>
                      <a:lnTo>
                        <a:pt x="12" y="38"/>
                      </a:lnTo>
                      <a:lnTo>
                        <a:pt x="15" y="37"/>
                      </a:lnTo>
                      <a:lnTo>
                        <a:pt x="18" y="37"/>
                      </a:lnTo>
                      <a:lnTo>
                        <a:pt x="22" y="37"/>
                      </a:lnTo>
                      <a:lnTo>
                        <a:pt x="26" y="36"/>
                      </a:lnTo>
                      <a:lnTo>
                        <a:pt x="30" y="36"/>
                      </a:lnTo>
                      <a:lnTo>
                        <a:pt x="34" y="35"/>
                      </a:lnTo>
                      <a:lnTo>
                        <a:pt x="38" y="34"/>
                      </a:lnTo>
                      <a:lnTo>
                        <a:pt x="42" y="33"/>
                      </a:lnTo>
                      <a:lnTo>
                        <a:pt x="46" y="32"/>
                      </a:lnTo>
                      <a:lnTo>
                        <a:pt x="50" y="32"/>
                      </a:lnTo>
                      <a:lnTo>
                        <a:pt x="54" y="31"/>
                      </a:lnTo>
                      <a:lnTo>
                        <a:pt x="58" y="30"/>
                      </a:lnTo>
                      <a:lnTo>
                        <a:pt x="62" y="29"/>
                      </a:lnTo>
                      <a:lnTo>
                        <a:pt x="66" y="27"/>
                      </a:lnTo>
                      <a:lnTo>
                        <a:pt x="69" y="26"/>
                      </a:lnTo>
                      <a:lnTo>
                        <a:pt x="72" y="25"/>
                      </a:lnTo>
                      <a:lnTo>
                        <a:pt x="75" y="23"/>
                      </a:lnTo>
                      <a:lnTo>
                        <a:pt x="78" y="22"/>
                      </a:lnTo>
                      <a:lnTo>
                        <a:pt x="81" y="20"/>
                      </a:lnTo>
                      <a:lnTo>
                        <a:pt x="83" y="18"/>
                      </a:lnTo>
                      <a:lnTo>
                        <a:pt x="85" y="17"/>
                      </a:lnTo>
                      <a:lnTo>
                        <a:pt x="87" y="15"/>
                      </a:lnTo>
                      <a:lnTo>
                        <a:pt x="88" y="12"/>
                      </a:lnTo>
                      <a:lnTo>
                        <a:pt x="89" y="10"/>
                      </a:lnTo>
                      <a:lnTo>
                        <a:pt x="89" y="7"/>
                      </a:lnTo>
                      <a:lnTo>
                        <a:pt x="88" y="4"/>
                      </a:lnTo>
                      <a:lnTo>
                        <a:pt x="87" y="2"/>
                      </a:lnTo>
                      <a:lnTo>
                        <a:pt x="86" y="0"/>
                      </a:lnTo>
                      <a:lnTo>
                        <a:pt x="83" y="2"/>
                      </a:lnTo>
                      <a:lnTo>
                        <a:pt x="85" y="4"/>
                      </a:lnTo>
                      <a:lnTo>
                        <a:pt x="85" y="6"/>
                      </a:lnTo>
                      <a:lnTo>
                        <a:pt x="86" y="8"/>
                      </a:lnTo>
                      <a:lnTo>
                        <a:pt x="86" y="9"/>
                      </a:lnTo>
                      <a:lnTo>
                        <a:pt x="85" y="10"/>
                      </a:lnTo>
                      <a:lnTo>
                        <a:pt x="85" y="12"/>
                      </a:lnTo>
                      <a:lnTo>
                        <a:pt x="83" y="13"/>
                      </a:lnTo>
                      <a:lnTo>
                        <a:pt x="81" y="15"/>
                      </a:lnTo>
                      <a:lnTo>
                        <a:pt x="79" y="17"/>
                      </a:lnTo>
                      <a:lnTo>
                        <a:pt x="77" y="18"/>
                      </a:lnTo>
                      <a:lnTo>
                        <a:pt x="74" y="20"/>
                      </a:lnTo>
                      <a:lnTo>
                        <a:pt x="71" y="20"/>
                      </a:lnTo>
                      <a:lnTo>
                        <a:pt x="68" y="22"/>
                      </a:lnTo>
                      <a:lnTo>
                        <a:pt x="64" y="23"/>
                      </a:lnTo>
                      <a:lnTo>
                        <a:pt x="61" y="25"/>
                      </a:lnTo>
                      <a:lnTo>
                        <a:pt x="57" y="25"/>
                      </a:lnTo>
                      <a:lnTo>
                        <a:pt x="53" y="27"/>
                      </a:lnTo>
                      <a:lnTo>
                        <a:pt x="49" y="28"/>
                      </a:lnTo>
                      <a:lnTo>
                        <a:pt x="45" y="29"/>
                      </a:lnTo>
                      <a:lnTo>
                        <a:pt x="41" y="30"/>
                      </a:lnTo>
                      <a:lnTo>
                        <a:pt x="37" y="30"/>
                      </a:lnTo>
                      <a:lnTo>
                        <a:pt x="33" y="31"/>
                      </a:lnTo>
                      <a:lnTo>
                        <a:pt x="29" y="32"/>
                      </a:lnTo>
                      <a:lnTo>
                        <a:pt x="26" y="32"/>
                      </a:lnTo>
                      <a:lnTo>
                        <a:pt x="22" y="32"/>
                      </a:lnTo>
                      <a:lnTo>
                        <a:pt x="18" y="33"/>
                      </a:lnTo>
                      <a:lnTo>
                        <a:pt x="14" y="33"/>
                      </a:lnTo>
                      <a:lnTo>
                        <a:pt x="12" y="34"/>
                      </a:lnTo>
                      <a:lnTo>
                        <a:pt x="9" y="34"/>
                      </a:lnTo>
                      <a:lnTo>
                        <a:pt x="6" y="34"/>
                      </a:lnTo>
                      <a:lnTo>
                        <a:pt x="4" y="34"/>
                      </a:lnTo>
                      <a:lnTo>
                        <a:pt x="2" y="34"/>
                      </a:lnTo>
                      <a:lnTo>
                        <a:pt x="1" y="34"/>
                      </a:lnTo>
                      <a:lnTo>
                        <a:pt x="1" y="35"/>
                      </a:lnTo>
                      <a:lnTo>
                        <a:pt x="0" y="35"/>
                      </a:lnTo>
                      <a:lnTo>
                        <a:pt x="0" y="36"/>
                      </a:lnTo>
                      <a:lnTo>
                        <a:pt x="0" y="37"/>
                      </a:lnTo>
                      <a:lnTo>
                        <a:pt x="0" y="38"/>
                      </a:lnTo>
                      <a:lnTo>
                        <a:pt x="1" y="38"/>
                      </a:lnTo>
                      <a:lnTo>
                        <a:pt x="1" y="39"/>
                      </a:lnTo>
                      <a:lnTo>
                        <a:pt x="2" y="39"/>
                      </a:lnTo>
                      <a:lnTo>
                        <a:pt x="1"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1" name="Freeform 903">
                  <a:extLst>
                    <a:ext uri="{FF2B5EF4-FFF2-40B4-BE49-F238E27FC236}">
                      <a16:creationId xmlns:a16="http://schemas.microsoft.com/office/drawing/2014/main" id="{B194A7CF-BD76-81BA-539F-503D1840AC30}"/>
                    </a:ext>
                  </a:extLst>
                </p:cNvPr>
                <p:cNvSpPr>
                  <a:spLocks/>
                </p:cNvSpPr>
                <p:nvPr/>
              </p:nvSpPr>
              <p:spPr bwMode="auto">
                <a:xfrm>
                  <a:off x="217" y="2043"/>
                  <a:ext cx="13" cy="62"/>
                </a:xfrm>
                <a:custGeom>
                  <a:avLst/>
                  <a:gdLst>
                    <a:gd name="T0" fmla="*/ 9 w 18"/>
                    <a:gd name="T1" fmla="*/ 1 h 86"/>
                    <a:gd name="T2" fmla="*/ 9 w 18"/>
                    <a:gd name="T3" fmla="*/ 1 h 86"/>
                    <a:gd name="T4" fmla="*/ 7 w 18"/>
                    <a:gd name="T5" fmla="*/ 1 h 86"/>
                    <a:gd name="T6" fmla="*/ 7 w 18"/>
                    <a:gd name="T7" fmla="*/ 2 h 86"/>
                    <a:gd name="T8" fmla="*/ 6 w 18"/>
                    <a:gd name="T9" fmla="*/ 4 h 86"/>
                    <a:gd name="T10" fmla="*/ 5 w 18"/>
                    <a:gd name="T11" fmla="*/ 6 h 86"/>
                    <a:gd name="T12" fmla="*/ 3 w 18"/>
                    <a:gd name="T13" fmla="*/ 9 h 86"/>
                    <a:gd name="T14" fmla="*/ 2 w 18"/>
                    <a:gd name="T15" fmla="*/ 12 h 86"/>
                    <a:gd name="T16" fmla="*/ 1 w 18"/>
                    <a:gd name="T17" fmla="*/ 16 h 86"/>
                    <a:gd name="T18" fmla="*/ 1 w 18"/>
                    <a:gd name="T19" fmla="*/ 19 h 86"/>
                    <a:gd name="T20" fmla="*/ 0 w 18"/>
                    <a:gd name="T21" fmla="*/ 23 h 86"/>
                    <a:gd name="T22" fmla="*/ 0 w 18"/>
                    <a:gd name="T23" fmla="*/ 27 h 86"/>
                    <a:gd name="T24" fmla="*/ 1 w 18"/>
                    <a:gd name="T25" fmla="*/ 31 h 86"/>
                    <a:gd name="T26" fmla="*/ 1 w 18"/>
                    <a:gd name="T27" fmla="*/ 35 h 86"/>
                    <a:gd name="T28" fmla="*/ 3 w 18"/>
                    <a:gd name="T29" fmla="*/ 38 h 86"/>
                    <a:gd name="T30" fmla="*/ 5 w 18"/>
                    <a:gd name="T31" fmla="*/ 42 h 86"/>
                    <a:gd name="T32" fmla="*/ 9 w 18"/>
                    <a:gd name="T33" fmla="*/ 45 h 86"/>
                    <a:gd name="T34" fmla="*/ 8 w 18"/>
                    <a:gd name="T35" fmla="*/ 42 h 86"/>
                    <a:gd name="T36" fmla="*/ 5 w 18"/>
                    <a:gd name="T37" fmla="*/ 38 h 86"/>
                    <a:gd name="T38" fmla="*/ 3 w 18"/>
                    <a:gd name="T39" fmla="*/ 35 h 86"/>
                    <a:gd name="T40" fmla="*/ 2 w 18"/>
                    <a:gd name="T41" fmla="*/ 32 h 86"/>
                    <a:gd name="T42" fmla="*/ 1 w 18"/>
                    <a:gd name="T43" fmla="*/ 29 h 86"/>
                    <a:gd name="T44" fmla="*/ 1 w 18"/>
                    <a:gd name="T45" fmla="*/ 25 h 86"/>
                    <a:gd name="T46" fmla="*/ 2 w 18"/>
                    <a:gd name="T47" fmla="*/ 22 h 86"/>
                    <a:gd name="T48" fmla="*/ 3 w 18"/>
                    <a:gd name="T49" fmla="*/ 18 h 86"/>
                    <a:gd name="T50" fmla="*/ 3 w 18"/>
                    <a:gd name="T51" fmla="*/ 14 h 86"/>
                    <a:gd name="T52" fmla="*/ 4 w 18"/>
                    <a:gd name="T53" fmla="*/ 12 h 86"/>
                    <a:gd name="T54" fmla="*/ 5 w 18"/>
                    <a:gd name="T55" fmla="*/ 9 h 86"/>
                    <a:gd name="T56" fmla="*/ 7 w 18"/>
                    <a:gd name="T57" fmla="*/ 6 h 86"/>
                    <a:gd name="T58" fmla="*/ 7 w 18"/>
                    <a:gd name="T59" fmla="*/ 4 h 86"/>
                    <a:gd name="T60" fmla="*/ 9 w 18"/>
                    <a:gd name="T61" fmla="*/ 3 h 86"/>
                    <a:gd name="T62" fmla="*/ 9 w 18"/>
                    <a:gd name="T63" fmla="*/ 2 h 86"/>
                    <a:gd name="T64" fmla="*/ 9 w 18"/>
                    <a:gd name="T65" fmla="*/ 2 h 86"/>
                    <a:gd name="T66" fmla="*/ 9 w 18"/>
                    <a:gd name="T67" fmla="*/ 1 h 86"/>
                    <a:gd name="T68" fmla="*/ 9 w 18"/>
                    <a:gd name="T69" fmla="*/ 1 h 86"/>
                    <a:gd name="T70" fmla="*/ 9 w 18"/>
                    <a:gd name="T71" fmla="*/ 1 h 86"/>
                    <a:gd name="T72" fmla="*/ 9 w 18"/>
                    <a:gd name="T73" fmla="*/ 2 h 86"/>
                    <a:gd name="T74" fmla="*/ 9 w 18"/>
                    <a:gd name="T75" fmla="*/ 2 h 86"/>
                    <a:gd name="T76" fmla="*/ 9 w 18"/>
                    <a:gd name="T77" fmla="*/ 2 h 86"/>
                    <a:gd name="T78" fmla="*/ 9 w 18"/>
                    <a:gd name="T79" fmla="*/ 2 h 86"/>
                    <a:gd name="T80" fmla="*/ 9 w 18"/>
                    <a:gd name="T81" fmla="*/ 2 h 86"/>
                    <a:gd name="T82" fmla="*/ 9 w 18"/>
                    <a:gd name="T83" fmla="*/ 2 h 86"/>
                    <a:gd name="T84" fmla="*/ 9 w 18"/>
                    <a:gd name="T85" fmla="*/ 1 h 86"/>
                    <a:gd name="T86" fmla="*/ 9 w 18"/>
                    <a:gd name="T87" fmla="*/ 1 h 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8" h="86">
                      <a:moveTo>
                        <a:pt x="15" y="2"/>
                      </a:moveTo>
                      <a:lnTo>
                        <a:pt x="18" y="2"/>
                      </a:lnTo>
                      <a:lnTo>
                        <a:pt x="17" y="0"/>
                      </a:lnTo>
                      <a:lnTo>
                        <a:pt x="16" y="1"/>
                      </a:lnTo>
                      <a:lnTo>
                        <a:pt x="15" y="1"/>
                      </a:lnTo>
                      <a:lnTo>
                        <a:pt x="14" y="2"/>
                      </a:lnTo>
                      <a:lnTo>
                        <a:pt x="14" y="3"/>
                      </a:lnTo>
                      <a:lnTo>
                        <a:pt x="12" y="4"/>
                      </a:lnTo>
                      <a:lnTo>
                        <a:pt x="11" y="6"/>
                      </a:lnTo>
                      <a:lnTo>
                        <a:pt x="11" y="8"/>
                      </a:lnTo>
                      <a:lnTo>
                        <a:pt x="9" y="10"/>
                      </a:lnTo>
                      <a:lnTo>
                        <a:pt x="9" y="12"/>
                      </a:lnTo>
                      <a:lnTo>
                        <a:pt x="7" y="15"/>
                      </a:lnTo>
                      <a:lnTo>
                        <a:pt x="6" y="17"/>
                      </a:lnTo>
                      <a:lnTo>
                        <a:pt x="5" y="21"/>
                      </a:lnTo>
                      <a:lnTo>
                        <a:pt x="4" y="24"/>
                      </a:lnTo>
                      <a:lnTo>
                        <a:pt x="3" y="27"/>
                      </a:lnTo>
                      <a:lnTo>
                        <a:pt x="2" y="30"/>
                      </a:lnTo>
                      <a:lnTo>
                        <a:pt x="2" y="33"/>
                      </a:lnTo>
                      <a:lnTo>
                        <a:pt x="1" y="38"/>
                      </a:lnTo>
                      <a:lnTo>
                        <a:pt x="0" y="41"/>
                      </a:lnTo>
                      <a:lnTo>
                        <a:pt x="0" y="44"/>
                      </a:lnTo>
                      <a:lnTo>
                        <a:pt x="0" y="48"/>
                      </a:lnTo>
                      <a:lnTo>
                        <a:pt x="0" y="51"/>
                      </a:lnTo>
                      <a:lnTo>
                        <a:pt x="0" y="55"/>
                      </a:lnTo>
                      <a:lnTo>
                        <a:pt x="1" y="60"/>
                      </a:lnTo>
                      <a:lnTo>
                        <a:pt x="2" y="63"/>
                      </a:lnTo>
                      <a:lnTo>
                        <a:pt x="2" y="66"/>
                      </a:lnTo>
                      <a:lnTo>
                        <a:pt x="4" y="70"/>
                      </a:lnTo>
                      <a:lnTo>
                        <a:pt x="6" y="74"/>
                      </a:lnTo>
                      <a:lnTo>
                        <a:pt x="7" y="77"/>
                      </a:lnTo>
                      <a:lnTo>
                        <a:pt x="10" y="80"/>
                      </a:lnTo>
                      <a:lnTo>
                        <a:pt x="13" y="83"/>
                      </a:lnTo>
                      <a:lnTo>
                        <a:pt x="16" y="86"/>
                      </a:lnTo>
                      <a:lnTo>
                        <a:pt x="18" y="82"/>
                      </a:lnTo>
                      <a:lnTo>
                        <a:pt x="15" y="80"/>
                      </a:lnTo>
                      <a:lnTo>
                        <a:pt x="12" y="77"/>
                      </a:lnTo>
                      <a:lnTo>
                        <a:pt x="10" y="74"/>
                      </a:lnTo>
                      <a:lnTo>
                        <a:pt x="8" y="71"/>
                      </a:lnTo>
                      <a:lnTo>
                        <a:pt x="6" y="68"/>
                      </a:lnTo>
                      <a:lnTo>
                        <a:pt x="5" y="65"/>
                      </a:lnTo>
                      <a:lnTo>
                        <a:pt x="4" y="61"/>
                      </a:lnTo>
                      <a:lnTo>
                        <a:pt x="4" y="58"/>
                      </a:lnTo>
                      <a:lnTo>
                        <a:pt x="3" y="55"/>
                      </a:lnTo>
                      <a:lnTo>
                        <a:pt x="3" y="51"/>
                      </a:lnTo>
                      <a:lnTo>
                        <a:pt x="3" y="48"/>
                      </a:lnTo>
                      <a:lnTo>
                        <a:pt x="3" y="45"/>
                      </a:lnTo>
                      <a:lnTo>
                        <a:pt x="4" y="41"/>
                      </a:lnTo>
                      <a:lnTo>
                        <a:pt x="4" y="38"/>
                      </a:lnTo>
                      <a:lnTo>
                        <a:pt x="5" y="34"/>
                      </a:lnTo>
                      <a:lnTo>
                        <a:pt x="5" y="31"/>
                      </a:lnTo>
                      <a:lnTo>
                        <a:pt x="6" y="28"/>
                      </a:lnTo>
                      <a:lnTo>
                        <a:pt x="7" y="25"/>
                      </a:lnTo>
                      <a:lnTo>
                        <a:pt x="8" y="22"/>
                      </a:lnTo>
                      <a:lnTo>
                        <a:pt x="9" y="19"/>
                      </a:lnTo>
                      <a:lnTo>
                        <a:pt x="10" y="17"/>
                      </a:lnTo>
                      <a:lnTo>
                        <a:pt x="11" y="14"/>
                      </a:lnTo>
                      <a:lnTo>
                        <a:pt x="12" y="12"/>
                      </a:lnTo>
                      <a:lnTo>
                        <a:pt x="13" y="10"/>
                      </a:lnTo>
                      <a:lnTo>
                        <a:pt x="14" y="8"/>
                      </a:lnTo>
                      <a:lnTo>
                        <a:pt x="15" y="6"/>
                      </a:lnTo>
                      <a:lnTo>
                        <a:pt x="16" y="6"/>
                      </a:lnTo>
                      <a:lnTo>
                        <a:pt x="17" y="5"/>
                      </a:lnTo>
                      <a:lnTo>
                        <a:pt x="17" y="4"/>
                      </a:lnTo>
                      <a:lnTo>
                        <a:pt x="16" y="4"/>
                      </a:lnTo>
                      <a:lnTo>
                        <a:pt x="15" y="2"/>
                      </a:lnTo>
                      <a:lnTo>
                        <a:pt x="18" y="2"/>
                      </a:lnTo>
                      <a:lnTo>
                        <a:pt x="15" y="2"/>
                      </a:lnTo>
                      <a:lnTo>
                        <a:pt x="16" y="2"/>
                      </a:lnTo>
                      <a:lnTo>
                        <a:pt x="16" y="3"/>
                      </a:lnTo>
                      <a:lnTo>
                        <a:pt x="16" y="4"/>
                      </a:lnTo>
                      <a:lnTo>
                        <a:pt x="17" y="4"/>
                      </a:lnTo>
                      <a:lnTo>
                        <a:pt x="18" y="4"/>
                      </a:lnTo>
                      <a:lnTo>
                        <a:pt x="18" y="3"/>
                      </a:lnTo>
                      <a:lnTo>
                        <a:pt x="18" y="2"/>
                      </a:lnTo>
                      <a:lnTo>
                        <a:pt x="1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2" name="Freeform 904">
                  <a:extLst>
                    <a:ext uri="{FF2B5EF4-FFF2-40B4-BE49-F238E27FC236}">
                      <a16:creationId xmlns:a16="http://schemas.microsoft.com/office/drawing/2014/main" id="{945EAAD6-7084-549B-8AEF-6A678AA606B7}"/>
                    </a:ext>
                  </a:extLst>
                </p:cNvPr>
                <p:cNvSpPr>
                  <a:spLocks/>
                </p:cNvSpPr>
                <p:nvPr/>
              </p:nvSpPr>
              <p:spPr bwMode="auto">
                <a:xfrm>
                  <a:off x="206" y="2009"/>
                  <a:ext cx="23" cy="35"/>
                </a:xfrm>
                <a:custGeom>
                  <a:avLst/>
                  <a:gdLst>
                    <a:gd name="T0" fmla="*/ 1 w 32"/>
                    <a:gd name="T1" fmla="*/ 1 h 50"/>
                    <a:gd name="T2" fmla="*/ 0 w 32"/>
                    <a:gd name="T3" fmla="*/ 3 h 50"/>
                    <a:gd name="T4" fmla="*/ 1 w 32"/>
                    <a:gd name="T5" fmla="*/ 4 h 50"/>
                    <a:gd name="T6" fmla="*/ 1 w 32"/>
                    <a:gd name="T7" fmla="*/ 6 h 50"/>
                    <a:gd name="T8" fmla="*/ 2 w 32"/>
                    <a:gd name="T9" fmla="*/ 8 h 50"/>
                    <a:gd name="T10" fmla="*/ 3 w 32"/>
                    <a:gd name="T11" fmla="*/ 9 h 50"/>
                    <a:gd name="T12" fmla="*/ 4 w 32"/>
                    <a:gd name="T13" fmla="*/ 11 h 50"/>
                    <a:gd name="T14" fmla="*/ 6 w 32"/>
                    <a:gd name="T15" fmla="*/ 13 h 50"/>
                    <a:gd name="T16" fmla="*/ 7 w 32"/>
                    <a:gd name="T17" fmla="*/ 14 h 50"/>
                    <a:gd name="T18" fmla="*/ 9 w 32"/>
                    <a:gd name="T19" fmla="*/ 15 h 50"/>
                    <a:gd name="T20" fmla="*/ 10 w 32"/>
                    <a:gd name="T21" fmla="*/ 16 h 50"/>
                    <a:gd name="T22" fmla="*/ 12 w 32"/>
                    <a:gd name="T23" fmla="*/ 18 h 50"/>
                    <a:gd name="T24" fmla="*/ 13 w 32"/>
                    <a:gd name="T25" fmla="*/ 20 h 50"/>
                    <a:gd name="T26" fmla="*/ 14 w 32"/>
                    <a:gd name="T27" fmla="*/ 21 h 50"/>
                    <a:gd name="T28" fmla="*/ 14 w 32"/>
                    <a:gd name="T29" fmla="*/ 23 h 50"/>
                    <a:gd name="T30" fmla="*/ 15 w 32"/>
                    <a:gd name="T31" fmla="*/ 24 h 50"/>
                    <a:gd name="T32" fmla="*/ 17 w 32"/>
                    <a:gd name="T33" fmla="*/ 25 h 50"/>
                    <a:gd name="T34" fmla="*/ 17 w 32"/>
                    <a:gd name="T35" fmla="*/ 23 h 50"/>
                    <a:gd name="T36" fmla="*/ 16 w 32"/>
                    <a:gd name="T37" fmla="*/ 21 h 50"/>
                    <a:gd name="T38" fmla="*/ 15 w 32"/>
                    <a:gd name="T39" fmla="*/ 19 h 50"/>
                    <a:gd name="T40" fmla="*/ 14 w 32"/>
                    <a:gd name="T41" fmla="*/ 18 h 50"/>
                    <a:gd name="T42" fmla="*/ 12 w 32"/>
                    <a:gd name="T43" fmla="*/ 16 h 50"/>
                    <a:gd name="T44" fmla="*/ 11 w 32"/>
                    <a:gd name="T45" fmla="*/ 14 h 50"/>
                    <a:gd name="T46" fmla="*/ 9 w 32"/>
                    <a:gd name="T47" fmla="*/ 13 h 50"/>
                    <a:gd name="T48" fmla="*/ 8 w 32"/>
                    <a:gd name="T49" fmla="*/ 11 h 50"/>
                    <a:gd name="T50" fmla="*/ 6 w 32"/>
                    <a:gd name="T51" fmla="*/ 10 h 50"/>
                    <a:gd name="T52" fmla="*/ 4 w 32"/>
                    <a:gd name="T53" fmla="*/ 8 h 50"/>
                    <a:gd name="T54" fmla="*/ 4 w 32"/>
                    <a:gd name="T55" fmla="*/ 7 h 50"/>
                    <a:gd name="T56" fmla="*/ 3 w 32"/>
                    <a:gd name="T57" fmla="*/ 6 h 50"/>
                    <a:gd name="T58" fmla="*/ 2 w 32"/>
                    <a:gd name="T59" fmla="*/ 4 h 50"/>
                    <a:gd name="T60" fmla="*/ 1 w 32"/>
                    <a:gd name="T61" fmla="*/ 3 h 50"/>
                    <a:gd name="T62" fmla="*/ 2 w 32"/>
                    <a:gd name="T63" fmla="*/ 3 h 50"/>
                    <a:gd name="T64" fmla="*/ 2 w 32"/>
                    <a:gd name="T65" fmla="*/ 2 h 50"/>
                    <a:gd name="T66" fmla="*/ 2 w 32"/>
                    <a:gd name="T67" fmla="*/ 1 h 50"/>
                    <a:gd name="T68" fmla="*/ 3 w 32"/>
                    <a:gd name="T69" fmla="*/ 1 h 50"/>
                    <a:gd name="T70" fmla="*/ 2 w 32"/>
                    <a:gd name="T71" fmla="*/ 1 h 50"/>
                    <a:gd name="T72" fmla="*/ 2 w 32"/>
                    <a:gd name="T73" fmla="*/ 1 h 50"/>
                    <a:gd name="T74" fmla="*/ 2 w 32"/>
                    <a:gd name="T75" fmla="*/ 0 h 50"/>
                    <a:gd name="T76" fmla="*/ 1 w 32"/>
                    <a:gd name="T77" fmla="*/ 0 h 50"/>
                    <a:gd name="T78" fmla="*/ 1 w 32"/>
                    <a:gd name="T79" fmla="*/ 0 h 50"/>
                    <a:gd name="T80" fmla="*/ 1 w 32"/>
                    <a:gd name="T81" fmla="*/ 1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2" h="50">
                      <a:moveTo>
                        <a:pt x="2" y="1"/>
                      </a:moveTo>
                      <a:lnTo>
                        <a:pt x="1" y="3"/>
                      </a:lnTo>
                      <a:lnTo>
                        <a:pt x="1" y="4"/>
                      </a:lnTo>
                      <a:lnTo>
                        <a:pt x="0" y="6"/>
                      </a:lnTo>
                      <a:lnTo>
                        <a:pt x="1" y="8"/>
                      </a:lnTo>
                      <a:lnTo>
                        <a:pt x="1" y="9"/>
                      </a:lnTo>
                      <a:lnTo>
                        <a:pt x="1" y="11"/>
                      </a:lnTo>
                      <a:lnTo>
                        <a:pt x="2" y="12"/>
                      </a:lnTo>
                      <a:lnTo>
                        <a:pt x="2" y="14"/>
                      </a:lnTo>
                      <a:lnTo>
                        <a:pt x="4" y="15"/>
                      </a:lnTo>
                      <a:lnTo>
                        <a:pt x="4" y="16"/>
                      </a:lnTo>
                      <a:lnTo>
                        <a:pt x="6" y="18"/>
                      </a:lnTo>
                      <a:lnTo>
                        <a:pt x="7" y="20"/>
                      </a:lnTo>
                      <a:lnTo>
                        <a:pt x="8" y="21"/>
                      </a:lnTo>
                      <a:lnTo>
                        <a:pt x="9" y="23"/>
                      </a:lnTo>
                      <a:lnTo>
                        <a:pt x="11" y="25"/>
                      </a:lnTo>
                      <a:lnTo>
                        <a:pt x="13" y="26"/>
                      </a:lnTo>
                      <a:lnTo>
                        <a:pt x="14" y="28"/>
                      </a:lnTo>
                      <a:lnTo>
                        <a:pt x="16" y="29"/>
                      </a:lnTo>
                      <a:lnTo>
                        <a:pt x="17" y="30"/>
                      </a:lnTo>
                      <a:lnTo>
                        <a:pt x="19" y="32"/>
                      </a:lnTo>
                      <a:lnTo>
                        <a:pt x="20" y="33"/>
                      </a:lnTo>
                      <a:lnTo>
                        <a:pt x="21" y="35"/>
                      </a:lnTo>
                      <a:lnTo>
                        <a:pt x="23" y="37"/>
                      </a:lnTo>
                      <a:lnTo>
                        <a:pt x="24" y="38"/>
                      </a:lnTo>
                      <a:lnTo>
                        <a:pt x="25" y="40"/>
                      </a:lnTo>
                      <a:lnTo>
                        <a:pt x="26" y="42"/>
                      </a:lnTo>
                      <a:lnTo>
                        <a:pt x="27" y="43"/>
                      </a:lnTo>
                      <a:lnTo>
                        <a:pt x="28" y="45"/>
                      </a:lnTo>
                      <a:lnTo>
                        <a:pt x="28" y="47"/>
                      </a:lnTo>
                      <a:lnTo>
                        <a:pt x="29" y="48"/>
                      </a:lnTo>
                      <a:lnTo>
                        <a:pt x="29" y="49"/>
                      </a:lnTo>
                      <a:lnTo>
                        <a:pt x="29" y="50"/>
                      </a:lnTo>
                      <a:lnTo>
                        <a:pt x="32" y="50"/>
                      </a:lnTo>
                      <a:lnTo>
                        <a:pt x="32" y="49"/>
                      </a:lnTo>
                      <a:lnTo>
                        <a:pt x="32" y="47"/>
                      </a:lnTo>
                      <a:lnTo>
                        <a:pt x="31" y="45"/>
                      </a:lnTo>
                      <a:lnTo>
                        <a:pt x="31" y="43"/>
                      </a:lnTo>
                      <a:lnTo>
                        <a:pt x="30" y="41"/>
                      </a:lnTo>
                      <a:lnTo>
                        <a:pt x="29" y="39"/>
                      </a:lnTo>
                      <a:lnTo>
                        <a:pt x="28" y="38"/>
                      </a:lnTo>
                      <a:lnTo>
                        <a:pt x="26" y="36"/>
                      </a:lnTo>
                      <a:lnTo>
                        <a:pt x="25" y="34"/>
                      </a:lnTo>
                      <a:lnTo>
                        <a:pt x="24" y="33"/>
                      </a:lnTo>
                      <a:lnTo>
                        <a:pt x="22" y="30"/>
                      </a:lnTo>
                      <a:lnTo>
                        <a:pt x="21" y="29"/>
                      </a:lnTo>
                      <a:lnTo>
                        <a:pt x="19" y="28"/>
                      </a:lnTo>
                      <a:lnTo>
                        <a:pt x="18" y="26"/>
                      </a:lnTo>
                      <a:lnTo>
                        <a:pt x="16" y="25"/>
                      </a:lnTo>
                      <a:lnTo>
                        <a:pt x="15" y="23"/>
                      </a:lnTo>
                      <a:lnTo>
                        <a:pt x="13" y="21"/>
                      </a:lnTo>
                      <a:lnTo>
                        <a:pt x="12" y="20"/>
                      </a:lnTo>
                      <a:lnTo>
                        <a:pt x="11" y="18"/>
                      </a:lnTo>
                      <a:lnTo>
                        <a:pt x="9" y="16"/>
                      </a:lnTo>
                      <a:lnTo>
                        <a:pt x="8" y="16"/>
                      </a:lnTo>
                      <a:lnTo>
                        <a:pt x="7" y="14"/>
                      </a:lnTo>
                      <a:lnTo>
                        <a:pt x="6" y="12"/>
                      </a:lnTo>
                      <a:lnTo>
                        <a:pt x="5" y="11"/>
                      </a:lnTo>
                      <a:lnTo>
                        <a:pt x="4" y="10"/>
                      </a:lnTo>
                      <a:lnTo>
                        <a:pt x="4" y="9"/>
                      </a:lnTo>
                      <a:lnTo>
                        <a:pt x="4" y="8"/>
                      </a:lnTo>
                      <a:lnTo>
                        <a:pt x="3" y="6"/>
                      </a:lnTo>
                      <a:lnTo>
                        <a:pt x="4" y="6"/>
                      </a:lnTo>
                      <a:lnTo>
                        <a:pt x="4" y="5"/>
                      </a:lnTo>
                      <a:lnTo>
                        <a:pt x="4" y="4"/>
                      </a:lnTo>
                      <a:lnTo>
                        <a:pt x="4" y="3"/>
                      </a:lnTo>
                      <a:lnTo>
                        <a:pt x="5" y="3"/>
                      </a:lnTo>
                      <a:lnTo>
                        <a:pt x="4" y="3"/>
                      </a:lnTo>
                      <a:lnTo>
                        <a:pt x="4" y="2"/>
                      </a:lnTo>
                      <a:lnTo>
                        <a:pt x="4" y="1"/>
                      </a:lnTo>
                      <a:lnTo>
                        <a:pt x="4" y="0"/>
                      </a:lnTo>
                      <a:lnTo>
                        <a:pt x="3" y="0"/>
                      </a:lnTo>
                      <a:lnTo>
                        <a:pt x="2" y="0"/>
                      </a:lnTo>
                      <a:lnTo>
                        <a:pt x="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3" name="Freeform 905">
                  <a:extLst>
                    <a:ext uri="{FF2B5EF4-FFF2-40B4-BE49-F238E27FC236}">
                      <a16:creationId xmlns:a16="http://schemas.microsoft.com/office/drawing/2014/main" id="{D003BDD2-C3D3-74A5-093E-3495D9823B36}"/>
                    </a:ext>
                  </a:extLst>
                </p:cNvPr>
                <p:cNvSpPr>
                  <a:spLocks/>
                </p:cNvSpPr>
                <p:nvPr/>
              </p:nvSpPr>
              <p:spPr bwMode="auto">
                <a:xfrm>
                  <a:off x="209" y="1954"/>
                  <a:ext cx="32" cy="58"/>
                </a:xfrm>
                <a:custGeom>
                  <a:avLst/>
                  <a:gdLst>
                    <a:gd name="T0" fmla="*/ 3 w 47"/>
                    <a:gd name="T1" fmla="*/ 24 h 81"/>
                    <a:gd name="T2" fmla="*/ 3 w 47"/>
                    <a:gd name="T3" fmla="*/ 21 h 81"/>
                    <a:gd name="T4" fmla="*/ 5 w 47"/>
                    <a:gd name="T5" fmla="*/ 16 h 81"/>
                    <a:gd name="T6" fmla="*/ 7 w 47"/>
                    <a:gd name="T7" fmla="*/ 13 h 81"/>
                    <a:gd name="T8" fmla="*/ 10 w 47"/>
                    <a:gd name="T9" fmla="*/ 9 h 81"/>
                    <a:gd name="T10" fmla="*/ 13 w 47"/>
                    <a:gd name="T11" fmla="*/ 6 h 81"/>
                    <a:gd name="T12" fmla="*/ 15 w 47"/>
                    <a:gd name="T13" fmla="*/ 4 h 81"/>
                    <a:gd name="T14" fmla="*/ 18 w 47"/>
                    <a:gd name="T15" fmla="*/ 3 h 81"/>
                    <a:gd name="T16" fmla="*/ 20 w 47"/>
                    <a:gd name="T17" fmla="*/ 2 h 81"/>
                    <a:gd name="T18" fmla="*/ 20 w 47"/>
                    <a:gd name="T19" fmla="*/ 2 h 81"/>
                    <a:gd name="T20" fmla="*/ 20 w 47"/>
                    <a:gd name="T21" fmla="*/ 3 h 81"/>
                    <a:gd name="T22" fmla="*/ 20 w 47"/>
                    <a:gd name="T23" fmla="*/ 6 h 81"/>
                    <a:gd name="T24" fmla="*/ 18 w 47"/>
                    <a:gd name="T25" fmla="*/ 10 h 81"/>
                    <a:gd name="T26" fmla="*/ 15 w 47"/>
                    <a:gd name="T27" fmla="*/ 16 h 81"/>
                    <a:gd name="T28" fmla="*/ 11 w 47"/>
                    <a:gd name="T29" fmla="*/ 24 h 81"/>
                    <a:gd name="T30" fmla="*/ 4 w 47"/>
                    <a:gd name="T31" fmla="*/ 34 h 81"/>
                    <a:gd name="T32" fmla="*/ 1 w 47"/>
                    <a:gd name="T33" fmla="*/ 42 h 81"/>
                    <a:gd name="T34" fmla="*/ 9 w 47"/>
                    <a:gd name="T35" fmla="*/ 30 h 81"/>
                    <a:gd name="T36" fmla="*/ 14 w 47"/>
                    <a:gd name="T37" fmla="*/ 21 h 81"/>
                    <a:gd name="T38" fmla="*/ 18 w 47"/>
                    <a:gd name="T39" fmla="*/ 14 h 81"/>
                    <a:gd name="T40" fmla="*/ 21 w 47"/>
                    <a:gd name="T41" fmla="*/ 8 h 81"/>
                    <a:gd name="T42" fmla="*/ 22 w 47"/>
                    <a:gd name="T43" fmla="*/ 4 h 81"/>
                    <a:gd name="T44" fmla="*/ 22 w 47"/>
                    <a:gd name="T45" fmla="*/ 1 h 81"/>
                    <a:gd name="T46" fmla="*/ 20 w 47"/>
                    <a:gd name="T47" fmla="*/ 0 h 81"/>
                    <a:gd name="T48" fmla="*/ 18 w 47"/>
                    <a:gd name="T49" fmla="*/ 1 h 81"/>
                    <a:gd name="T50" fmla="*/ 16 w 47"/>
                    <a:gd name="T51" fmla="*/ 1 h 81"/>
                    <a:gd name="T52" fmla="*/ 13 w 47"/>
                    <a:gd name="T53" fmla="*/ 4 h 81"/>
                    <a:gd name="T54" fmla="*/ 11 w 47"/>
                    <a:gd name="T55" fmla="*/ 6 h 81"/>
                    <a:gd name="T56" fmla="*/ 8 w 47"/>
                    <a:gd name="T57" fmla="*/ 9 h 81"/>
                    <a:gd name="T58" fmla="*/ 5 w 47"/>
                    <a:gd name="T59" fmla="*/ 14 h 81"/>
                    <a:gd name="T60" fmla="*/ 3 w 47"/>
                    <a:gd name="T61" fmla="*/ 17 h 81"/>
                    <a:gd name="T62" fmla="*/ 2 w 47"/>
                    <a:gd name="T63" fmla="*/ 21 h 81"/>
                    <a:gd name="T64" fmla="*/ 1 w 47"/>
                    <a:gd name="T65" fmla="*/ 26 h 81"/>
                    <a:gd name="T66" fmla="*/ 1 w 47"/>
                    <a:gd name="T67" fmla="*/ 26 h 81"/>
                    <a:gd name="T68" fmla="*/ 1 w 47"/>
                    <a:gd name="T69" fmla="*/ 26 h 81"/>
                    <a:gd name="T70" fmla="*/ 1 w 47"/>
                    <a:gd name="T71" fmla="*/ 26 h 81"/>
                    <a:gd name="T72" fmla="*/ 2 w 47"/>
                    <a:gd name="T73" fmla="*/ 26 h 81"/>
                    <a:gd name="T74" fmla="*/ 2 w 47"/>
                    <a:gd name="T75" fmla="*/ 26 h 81"/>
                    <a:gd name="T76" fmla="*/ 2 w 47"/>
                    <a:gd name="T77" fmla="*/ 26 h 81"/>
                    <a:gd name="T78" fmla="*/ 2 w 47"/>
                    <a:gd name="T79" fmla="*/ 26 h 81"/>
                    <a:gd name="T80" fmla="*/ 2 w 47"/>
                    <a:gd name="T81" fmla="*/ 26 h 81"/>
                    <a:gd name="T82" fmla="*/ 2 w 47"/>
                    <a:gd name="T83" fmla="*/ 26 h 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 h="81">
                      <a:moveTo>
                        <a:pt x="5" y="50"/>
                      </a:moveTo>
                      <a:lnTo>
                        <a:pt x="6" y="47"/>
                      </a:lnTo>
                      <a:lnTo>
                        <a:pt x="7" y="43"/>
                      </a:lnTo>
                      <a:lnTo>
                        <a:pt x="8" y="40"/>
                      </a:lnTo>
                      <a:lnTo>
                        <a:pt x="9" y="36"/>
                      </a:lnTo>
                      <a:lnTo>
                        <a:pt x="12" y="32"/>
                      </a:lnTo>
                      <a:lnTo>
                        <a:pt x="14" y="28"/>
                      </a:lnTo>
                      <a:lnTo>
                        <a:pt x="16" y="25"/>
                      </a:lnTo>
                      <a:lnTo>
                        <a:pt x="19" y="22"/>
                      </a:lnTo>
                      <a:lnTo>
                        <a:pt x="22" y="18"/>
                      </a:lnTo>
                      <a:lnTo>
                        <a:pt x="25" y="15"/>
                      </a:lnTo>
                      <a:lnTo>
                        <a:pt x="28" y="13"/>
                      </a:lnTo>
                      <a:lnTo>
                        <a:pt x="30" y="10"/>
                      </a:lnTo>
                      <a:lnTo>
                        <a:pt x="33" y="8"/>
                      </a:lnTo>
                      <a:lnTo>
                        <a:pt x="36" y="6"/>
                      </a:lnTo>
                      <a:lnTo>
                        <a:pt x="38" y="5"/>
                      </a:lnTo>
                      <a:lnTo>
                        <a:pt x="40" y="4"/>
                      </a:lnTo>
                      <a:lnTo>
                        <a:pt x="42" y="4"/>
                      </a:lnTo>
                      <a:lnTo>
                        <a:pt x="44" y="4"/>
                      </a:lnTo>
                      <a:lnTo>
                        <a:pt x="44" y="5"/>
                      </a:lnTo>
                      <a:lnTo>
                        <a:pt x="44" y="6"/>
                      </a:lnTo>
                      <a:lnTo>
                        <a:pt x="44" y="8"/>
                      </a:lnTo>
                      <a:lnTo>
                        <a:pt x="44" y="11"/>
                      </a:lnTo>
                      <a:lnTo>
                        <a:pt x="42" y="15"/>
                      </a:lnTo>
                      <a:lnTo>
                        <a:pt x="40" y="20"/>
                      </a:lnTo>
                      <a:lnTo>
                        <a:pt x="37" y="25"/>
                      </a:lnTo>
                      <a:lnTo>
                        <a:pt x="33" y="32"/>
                      </a:lnTo>
                      <a:lnTo>
                        <a:pt x="29" y="39"/>
                      </a:lnTo>
                      <a:lnTo>
                        <a:pt x="23" y="47"/>
                      </a:lnTo>
                      <a:lnTo>
                        <a:pt x="17" y="57"/>
                      </a:lnTo>
                      <a:lnTo>
                        <a:pt x="9" y="67"/>
                      </a:lnTo>
                      <a:lnTo>
                        <a:pt x="0" y="79"/>
                      </a:lnTo>
                      <a:lnTo>
                        <a:pt x="2" y="81"/>
                      </a:lnTo>
                      <a:lnTo>
                        <a:pt x="11" y="70"/>
                      </a:lnTo>
                      <a:lnTo>
                        <a:pt x="19" y="59"/>
                      </a:lnTo>
                      <a:lnTo>
                        <a:pt x="25" y="50"/>
                      </a:lnTo>
                      <a:lnTo>
                        <a:pt x="31" y="42"/>
                      </a:lnTo>
                      <a:lnTo>
                        <a:pt x="36" y="34"/>
                      </a:lnTo>
                      <a:lnTo>
                        <a:pt x="40" y="28"/>
                      </a:lnTo>
                      <a:lnTo>
                        <a:pt x="43" y="22"/>
                      </a:lnTo>
                      <a:lnTo>
                        <a:pt x="45" y="16"/>
                      </a:lnTo>
                      <a:lnTo>
                        <a:pt x="47" y="12"/>
                      </a:lnTo>
                      <a:lnTo>
                        <a:pt x="47" y="9"/>
                      </a:lnTo>
                      <a:lnTo>
                        <a:pt x="47" y="6"/>
                      </a:lnTo>
                      <a:lnTo>
                        <a:pt x="47" y="3"/>
                      </a:lnTo>
                      <a:lnTo>
                        <a:pt x="46" y="1"/>
                      </a:lnTo>
                      <a:lnTo>
                        <a:pt x="44" y="0"/>
                      </a:lnTo>
                      <a:lnTo>
                        <a:pt x="42" y="0"/>
                      </a:lnTo>
                      <a:lnTo>
                        <a:pt x="40" y="1"/>
                      </a:lnTo>
                      <a:lnTo>
                        <a:pt x="37" y="1"/>
                      </a:lnTo>
                      <a:lnTo>
                        <a:pt x="34" y="3"/>
                      </a:lnTo>
                      <a:lnTo>
                        <a:pt x="32" y="5"/>
                      </a:lnTo>
                      <a:lnTo>
                        <a:pt x="28" y="7"/>
                      </a:lnTo>
                      <a:lnTo>
                        <a:pt x="25" y="10"/>
                      </a:lnTo>
                      <a:lnTo>
                        <a:pt x="23" y="12"/>
                      </a:lnTo>
                      <a:lnTo>
                        <a:pt x="20" y="15"/>
                      </a:lnTo>
                      <a:lnTo>
                        <a:pt x="17" y="18"/>
                      </a:lnTo>
                      <a:lnTo>
                        <a:pt x="14" y="22"/>
                      </a:lnTo>
                      <a:lnTo>
                        <a:pt x="11" y="26"/>
                      </a:lnTo>
                      <a:lnTo>
                        <a:pt x="9" y="30"/>
                      </a:lnTo>
                      <a:lnTo>
                        <a:pt x="7" y="34"/>
                      </a:lnTo>
                      <a:lnTo>
                        <a:pt x="5" y="38"/>
                      </a:lnTo>
                      <a:lnTo>
                        <a:pt x="4" y="42"/>
                      </a:lnTo>
                      <a:lnTo>
                        <a:pt x="3" y="46"/>
                      </a:lnTo>
                      <a:lnTo>
                        <a:pt x="2" y="50"/>
                      </a:lnTo>
                      <a:lnTo>
                        <a:pt x="3" y="50"/>
                      </a:lnTo>
                      <a:lnTo>
                        <a:pt x="3" y="51"/>
                      </a:lnTo>
                      <a:lnTo>
                        <a:pt x="3" y="52"/>
                      </a:lnTo>
                      <a:lnTo>
                        <a:pt x="4" y="52"/>
                      </a:lnTo>
                      <a:lnTo>
                        <a:pt x="5" y="52"/>
                      </a:lnTo>
                      <a:lnTo>
                        <a:pt x="5" y="51"/>
                      </a:lnTo>
                      <a:lnTo>
                        <a:pt x="5"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4" name="Freeform 906">
                  <a:extLst>
                    <a:ext uri="{FF2B5EF4-FFF2-40B4-BE49-F238E27FC236}">
                      <a16:creationId xmlns:a16="http://schemas.microsoft.com/office/drawing/2014/main" id="{965AC516-AADE-83A7-5457-FD3E665DB68B}"/>
                    </a:ext>
                  </a:extLst>
                </p:cNvPr>
                <p:cNvSpPr>
                  <a:spLocks/>
                </p:cNvSpPr>
                <p:nvPr/>
              </p:nvSpPr>
              <p:spPr bwMode="auto">
                <a:xfrm>
                  <a:off x="189" y="1979"/>
                  <a:ext cx="25" cy="20"/>
                </a:xfrm>
                <a:custGeom>
                  <a:avLst/>
                  <a:gdLst>
                    <a:gd name="T0" fmla="*/ 3 w 35"/>
                    <a:gd name="T1" fmla="*/ 4 h 27"/>
                    <a:gd name="T2" fmla="*/ 4 w 35"/>
                    <a:gd name="T3" fmla="*/ 3 h 27"/>
                    <a:gd name="T4" fmla="*/ 5 w 35"/>
                    <a:gd name="T5" fmla="*/ 3 h 27"/>
                    <a:gd name="T6" fmla="*/ 6 w 35"/>
                    <a:gd name="T7" fmla="*/ 3 h 27"/>
                    <a:gd name="T8" fmla="*/ 8 w 35"/>
                    <a:gd name="T9" fmla="*/ 4 h 27"/>
                    <a:gd name="T10" fmla="*/ 9 w 35"/>
                    <a:gd name="T11" fmla="*/ 5 h 27"/>
                    <a:gd name="T12" fmla="*/ 10 w 35"/>
                    <a:gd name="T13" fmla="*/ 7 h 27"/>
                    <a:gd name="T14" fmla="*/ 11 w 35"/>
                    <a:gd name="T15" fmla="*/ 9 h 27"/>
                    <a:gd name="T16" fmla="*/ 13 w 35"/>
                    <a:gd name="T17" fmla="*/ 10 h 27"/>
                    <a:gd name="T18" fmla="*/ 14 w 35"/>
                    <a:gd name="T19" fmla="*/ 12 h 27"/>
                    <a:gd name="T20" fmla="*/ 14 w 35"/>
                    <a:gd name="T21" fmla="*/ 14 h 27"/>
                    <a:gd name="T22" fmla="*/ 15 w 35"/>
                    <a:gd name="T23" fmla="*/ 15 h 27"/>
                    <a:gd name="T24" fmla="*/ 16 w 35"/>
                    <a:gd name="T25" fmla="*/ 15 h 27"/>
                    <a:gd name="T26" fmla="*/ 17 w 35"/>
                    <a:gd name="T27" fmla="*/ 14 h 27"/>
                    <a:gd name="T28" fmla="*/ 17 w 35"/>
                    <a:gd name="T29" fmla="*/ 12 h 27"/>
                    <a:gd name="T30" fmla="*/ 18 w 35"/>
                    <a:gd name="T31" fmla="*/ 10 h 27"/>
                    <a:gd name="T32" fmla="*/ 16 w 35"/>
                    <a:gd name="T33" fmla="*/ 7 h 27"/>
                    <a:gd name="T34" fmla="*/ 16 w 35"/>
                    <a:gd name="T35" fmla="*/ 11 h 27"/>
                    <a:gd name="T36" fmla="*/ 16 w 35"/>
                    <a:gd name="T37" fmla="*/ 12 h 27"/>
                    <a:gd name="T38" fmla="*/ 16 w 35"/>
                    <a:gd name="T39" fmla="*/ 13 h 27"/>
                    <a:gd name="T40" fmla="*/ 16 w 35"/>
                    <a:gd name="T41" fmla="*/ 13 h 27"/>
                    <a:gd name="T42" fmla="*/ 15 w 35"/>
                    <a:gd name="T43" fmla="*/ 12 h 27"/>
                    <a:gd name="T44" fmla="*/ 14 w 35"/>
                    <a:gd name="T45" fmla="*/ 11 h 27"/>
                    <a:gd name="T46" fmla="*/ 14 w 35"/>
                    <a:gd name="T47" fmla="*/ 9 h 27"/>
                    <a:gd name="T48" fmla="*/ 13 w 35"/>
                    <a:gd name="T49" fmla="*/ 7 h 27"/>
                    <a:gd name="T50" fmla="*/ 11 w 35"/>
                    <a:gd name="T51" fmla="*/ 5 h 27"/>
                    <a:gd name="T52" fmla="*/ 10 w 35"/>
                    <a:gd name="T53" fmla="*/ 3 h 27"/>
                    <a:gd name="T54" fmla="*/ 9 w 35"/>
                    <a:gd name="T55" fmla="*/ 1 h 27"/>
                    <a:gd name="T56" fmla="*/ 7 w 35"/>
                    <a:gd name="T57" fmla="*/ 1 h 27"/>
                    <a:gd name="T58" fmla="*/ 5 w 35"/>
                    <a:gd name="T59" fmla="*/ 0 h 27"/>
                    <a:gd name="T60" fmla="*/ 4 w 35"/>
                    <a:gd name="T61" fmla="*/ 1 h 27"/>
                    <a:gd name="T62" fmla="*/ 1 w 35"/>
                    <a:gd name="T63" fmla="*/ 2 h 27"/>
                    <a:gd name="T64" fmla="*/ 1 w 35"/>
                    <a:gd name="T65" fmla="*/ 3 h 27"/>
                    <a:gd name="T66" fmla="*/ 0 w 35"/>
                    <a:gd name="T67" fmla="*/ 4 h 27"/>
                    <a:gd name="T68" fmla="*/ 1 w 35"/>
                    <a:gd name="T69" fmla="*/ 4 h 27"/>
                    <a:gd name="T70" fmla="*/ 1 w 35"/>
                    <a:gd name="T71" fmla="*/ 5 h 27"/>
                    <a:gd name="T72" fmla="*/ 1 w 35"/>
                    <a:gd name="T73" fmla="*/ 5 h 27"/>
                    <a:gd name="T74" fmla="*/ 1 w 35"/>
                    <a:gd name="T75" fmla="*/ 5 h 27"/>
                    <a:gd name="T76" fmla="*/ 1 w 35"/>
                    <a:gd name="T77" fmla="*/ 5 h 27"/>
                    <a:gd name="T78" fmla="*/ 1 w 35"/>
                    <a:gd name="T79" fmla="*/ 5 h 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 h="27">
                      <a:moveTo>
                        <a:pt x="3" y="9"/>
                      </a:moveTo>
                      <a:lnTo>
                        <a:pt x="5" y="7"/>
                      </a:lnTo>
                      <a:lnTo>
                        <a:pt x="6" y="6"/>
                      </a:lnTo>
                      <a:lnTo>
                        <a:pt x="8" y="5"/>
                      </a:lnTo>
                      <a:lnTo>
                        <a:pt x="9" y="5"/>
                      </a:lnTo>
                      <a:lnTo>
                        <a:pt x="10" y="5"/>
                      </a:lnTo>
                      <a:lnTo>
                        <a:pt x="12" y="5"/>
                      </a:lnTo>
                      <a:lnTo>
                        <a:pt x="13" y="5"/>
                      </a:lnTo>
                      <a:lnTo>
                        <a:pt x="14" y="6"/>
                      </a:lnTo>
                      <a:lnTo>
                        <a:pt x="16" y="7"/>
                      </a:lnTo>
                      <a:lnTo>
                        <a:pt x="17" y="8"/>
                      </a:lnTo>
                      <a:lnTo>
                        <a:pt x="17" y="9"/>
                      </a:lnTo>
                      <a:lnTo>
                        <a:pt x="19" y="11"/>
                      </a:lnTo>
                      <a:lnTo>
                        <a:pt x="20" y="12"/>
                      </a:lnTo>
                      <a:lnTo>
                        <a:pt x="21" y="14"/>
                      </a:lnTo>
                      <a:lnTo>
                        <a:pt x="22" y="16"/>
                      </a:lnTo>
                      <a:lnTo>
                        <a:pt x="23" y="18"/>
                      </a:lnTo>
                      <a:lnTo>
                        <a:pt x="25" y="19"/>
                      </a:lnTo>
                      <a:lnTo>
                        <a:pt x="25" y="20"/>
                      </a:lnTo>
                      <a:lnTo>
                        <a:pt x="26" y="22"/>
                      </a:lnTo>
                      <a:lnTo>
                        <a:pt x="27" y="24"/>
                      </a:lnTo>
                      <a:lnTo>
                        <a:pt x="28" y="25"/>
                      </a:lnTo>
                      <a:lnTo>
                        <a:pt x="28" y="26"/>
                      </a:lnTo>
                      <a:lnTo>
                        <a:pt x="30" y="27"/>
                      </a:lnTo>
                      <a:lnTo>
                        <a:pt x="32" y="27"/>
                      </a:lnTo>
                      <a:lnTo>
                        <a:pt x="33" y="27"/>
                      </a:lnTo>
                      <a:lnTo>
                        <a:pt x="33" y="25"/>
                      </a:lnTo>
                      <a:lnTo>
                        <a:pt x="34" y="24"/>
                      </a:lnTo>
                      <a:lnTo>
                        <a:pt x="34" y="22"/>
                      </a:lnTo>
                      <a:lnTo>
                        <a:pt x="35" y="20"/>
                      </a:lnTo>
                      <a:lnTo>
                        <a:pt x="35" y="17"/>
                      </a:lnTo>
                      <a:lnTo>
                        <a:pt x="35" y="13"/>
                      </a:lnTo>
                      <a:lnTo>
                        <a:pt x="31" y="13"/>
                      </a:lnTo>
                      <a:lnTo>
                        <a:pt x="31" y="16"/>
                      </a:lnTo>
                      <a:lnTo>
                        <a:pt x="31" y="20"/>
                      </a:lnTo>
                      <a:lnTo>
                        <a:pt x="31" y="21"/>
                      </a:lnTo>
                      <a:lnTo>
                        <a:pt x="31" y="22"/>
                      </a:lnTo>
                      <a:lnTo>
                        <a:pt x="31" y="24"/>
                      </a:lnTo>
                      <a:lnTo>
                        <a:pt x="31" y="22"/>
                      </a:lnTo>
                      <a:lnTo>
                        <a:pt x="30" y="22"/>
                      </a:lnTo>
                      <a:lnTo>
                        <a:pt x="30" y="21"/>
                      </a:lnTo>
                      <a:lnTo>
                        <a:pt x="28" y="20"/>
                      </a:lnTo>
                      <a:lnTo>
                        <a:pt x="28" y="18"/>
                      </a:lnTo>
                      <a:lnTo>
                        <a:pt x="27" y="16"/>
                      </a:lnTo>
                      <a:lnTo>
                        <a:pt x="26" y="15"/>
                      </a:lnTo>
                      <a:lnTo>
                        <a:pt x="25" y="13"/>
                      </a:lnTo>
                      <a:lnTo>
                        <a:pt x="24" y="12"/>
                      </a:lnTo>
                      <a:lnTo>
                        <a:pt x="22" y="10"/>
                      </a:lnTo>
                      <a:lnTo>
                        <a:pt x="21" y="8"/>
                      </a:lnTo>
                      <a:lnTo>
                        <a:pt x="20" y="6"/>
                      </a:lnTo>
                      <a:lnTo>
                        <a:pt x="19" y="5"/>
                      </a:lnTo>
                      <a:lnTo>
                        <a:pt x="17" y="3"/>
                      </a:lnTo>
                      <a:lnTo>
                        <a:pt x="16" y="2"/>
                      </a:lnTo>
                      <a:lnTo>
                        <a:pt x="14" y="2"/>
                      </a:lnTo>
                      <a:lnTo>
                        <a:pt x="12" y="1"/>
                      </a:lnTo>
                      <a:lnTo>
                        <a:pt x="10" y="0"/>
                      </a:lnTo>
                      <a:lnTo>
                        <a:pt x="9" y="0"/>
                      </a:lnTo>
                      <a:lnTo>
                        <a:pt x="7" y="2"/>
                      </a:lnTo>
                      <a:lnTo>
                        <a:pt x="5" y="2"/>
                      </a:lnTo>
                      <a:lnTo>
                        <a:pt x="3" y="4"/>
                      </a:lnTo>
                      <a:lnTo>
                        <a:pt x="1" y="6"/>
                      </a:lnTo>
                      <a:lnTo>
                        <a:pt x="1" y="7"/>
                      </a:lnTo>
                      <a:lnTo>
                        <a:pt x="0" y="7"/>
                      </a:lnTo>
                      <a:lnTo>
                        <a:pt x="0" y="8"/>
                      </a:lnTo>
                      <a:lnTo>
                        <a:pt x="1" y="8"/>
                      </a:lnTo>
                      <a:lnTo>
                        <a:pt x="1" y="9"/>
                      </a:lnTo>
                      <a:lnTo>
                        <a:pt x="2" y="9"/>
                      </a:lnTo>
                      <a:lnTo>
                        <a:pt x="2" y="10"/>
                      </a:lnTo>
                      <a:lnTo>
                        <a:pt x="3" y="10"/>
                      </a:lnTo>
                      <a:lnTo>
                        <a:pt x="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5" name="Freeform 907">
                  <a:extLst>
                    <a:ext uri="{FF2B5EF4-FFF2-40B4-BE49-F238E27FC236}">
                      <a16:creationId xmlns:a16="http://schemas.microsoft.com/office/drawing/2014/main" id="{A257495C-88F7-0287-89DD-068414338611}"/>
                    </a:ext>
                  </a:extLst>
                </p:cNvPr>
                <p:cNvSpPr>
                  <a:spLocks/>
                </p:cNvSpPr>
                <p:nvPr/>
              </p:nvSpPr>
              <p:spPr bwMode="auto">
                <a:xfrm>
                  <a:off x="175" y="1983"/>
                  <a:ext cx="15" cy="19"/>
                </a:xfrm>
                <a:custGeom>
                  <a:avLst/>
                  <a:gdLst>
                    <a:gd name="T0" fmla="*/ 0 w 22"/>
                    <a:gd name="T1" fmla="*/ 13 h 27"/>
                    <a:gd name="T2" fmla="*/ 1 w 22"/>
                    <a:gd name="T3" fmla="*/ 13 h 27"/>
                    <a:gd name="T4" fmla="*/ 10 w 22"/>
                    <a:gd name="T5" fmla="*/ 1 h 27"/>
                    <a:gd name="T6" fmla="*/ 10 w 22"/>
                    <a:gd name="T7" fmla="*/ 0 h 27"/>
                    <a:gd name="T8" fmla="*/ 1 w 22"/>
                    <a:gd name="T9" fmla="*/ 11 h 27"/>
                    <a:gd name="T10" fmla="*/ 1 w 22"/>
                    <a:gd name="T11" fmla="*/ 13 h 27"/>
                    <a:gd name="T12" fmla="*/ 1 w 22"/>
                    <a:gd name="T13" fmla="*/ 11 h 27"/>
                    <a:gd name="T14" fmla="*/ 1 w 22"/>
                    <a:gd name="T15" fmla="*/ 12 h 27"/>
                    <a:gd name="T16" fmla="*/ 1 w 22"/>
                    <a:gd name="T17" fmla="*/ 12 h 27"/>
                    <a:gd name="T18" fmla="*/ 1 w 22"/>
                    <a:gd name="T19" fmla="*/ 13 h 27"/>
                    <a:gd name="T20" fmla="*/ 0 w 22"/>
                    <a:gd name="T21" fmla="*/ 13 h 27"/>
                    <a:gd name="T22" fmla="*/ 0 w 22"/>
                    <a:gd name="T23" fmla="*/ 13 h 27"/>
                    <a:gd name="T24" fmla="*/ 1 w 22"/>
                    <a:gd name="T25" fmla="*/ 13 h 27"/>
                    <a:gd name="T26" fmla="*/ 1 w 22"/>
                    <a:gd name="T27" fmla="*/ 13 h 27"/>
                    <a:gd name="T28" fmla="*/ 1 w 22"/>
                    <a:gd name="T29" fmla="*/ 13 h 27"/>
                    <a:gd name="T30" fmla="*/ 1 w 22"/>
                    <a:gd name="T31" fmla="*/ 13 h 27"/>
                    <a:gd name="T32" fmla="*/ 1 w 22"/>
                    <a:gd name="T33" fmla="*/ 13 h 27"/>
                    <a:gd name="T34" fmla="*/ 1 w 22"/>
                    <a:gd name="T35" fmla="*/ 13 h 27"/>
                    <a:gd name="T36" fmla="*/ 1 w 22"/>
                    <a:gd name="T37" fmla="*/ 13 h 27"/>
                    <a:gd name="T38" fmla="*/ 1 w 22"/>
                    <a:gd name="T39" fmla="*/ 13 h 27"/>
                    <a:gd name="T40" fmla="*/ 1 w 22"/>
                    <a:gd name="T41" fmla="*/ 13 h 27"/>
                    <a:gd name="T42" fmla="*/ 1 w 22"/>
                    <a:gd name="T43" fmla="*/ 13 h 27"/>
                    <a:gd name="T44" fmla="*/ 1 w 22"/>
                    <a:gd name="T45" fmla="*/ 13 h 27"/>
                    <a:gd name="T46" fmla="*/ 1 w 22"/>
                    <a:gd name="T47" fmla="*/ 13 h 27"/>
                    <a:gd name="T48" fmla="*/ 0 w 22"/>
                    <a:gd name="T49" fmla="*/ 13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2" h="27">
                      <a:moveTo>
                        <a:pt x="0" y="25"/>
                      </a:moveTo>
                      <a:lnTo>
                        <a:pt x="3" y="26"/>
                      </a:lnTo>
                      <a:lnTo>
                        <a:pt x="22" y="3"/>
                      </a:lnTo>
                      <a:lnTo>
                        <a:pt x="20" y="0"/>
                      </a:lnTo>
                      <a:lnTo>
                        <a:pt x="1" y="23"/>
                      </a:lnTo>
                      <a:lnTo>
                        <a:pt x="3" y="25"/>
                      </a:lnTo>
                      <a:lnTo>
                        <a:pt x="1" y="23"/>
                      </a:lnTo>
                      <a:lnTo>
                        <a:pt x="1" y="24"/>
                      </a:lnTo>
                      <a:lnTo>
                        <a:pt x="1" y="25"/>
                      </a:lnTo>
                      <a:lnTo>
                        <a:pt x="0" y="25"/>
                      </a:lnTo>
                      <a:lnTo>
                        <a:pt x="1" y="25"/>
                      </a:lnTo>
                      <a:lnTo>
                        <a:pt x="1" y="26"/>
                      </a:lnTo>
                      <a:lnTo>
                        <a:pt x="1" y="27"/>
                      </a:lnTo>
                      <a:lnTo>
                        <a:pt x="2" y="27"/>
                      </a:lnTo>
                      <a:lnTo>
                        <a:pt x="3" y="27"/>
                      </a:lnTo>
                      <a:lnTo>
                        <a:pt x="3" y="26"/>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6" name="Freeform 908">
                  <a:extLst>
                    <a:ext uri="{FF2B5EF4-FFF2-40B4-BE49-F238E27FC236}">
                      <a16:creationId xmlns:a16="http://schemas.microsoft.com/office/drawing/2014/main" id="{658CBAF6-9489-30B2-2E35-37D681D5B897}"/>
                    </a:ext>
                  </a:extLst>
                </p:cNvPr>
                <p:cNvSpPr>
                  <a:spLocks/>
                </p:cNvSpPr>
                <p:nvPr/>
              </p:nvSpPr>
              <p:spPr bwMode="auto">
                <a:xfrm>
                  <a:off x="175" y="1968"/>
                  <a:ext cx="2" cy="34"/>
                </a:xfrm>
                <a:custGeom>
                  <a:avLst/>
                  <a:gdLst>
                    <a:gd name="T0" fmla="*/ 0 w 3"/>
                    <a:gd name="T1" fmla="*/ 1 h 49"/>
                    <a:gd name="T2" fmla="*/ 0 w 3"/>
                    <a:gd name="T3" fmla="*/ 24 h 49"/>
                    <a:gd name="T4" fmla="*/ 1 w 3"/>
                    <a:gd name="T5" fmla="*/ 24 h 49"/>
                    <a:gd name="T6" fmla="*/ 1 w 3"/>
                    <a:gd name="T7" fmla="*/ 1 h 49"/>
                    <a:gd name="T8" fmla="*/ 1 w 3"/>
                    <a:gd name="T9" fmla="*/ 1 h 49"/>
                    <a:gd name="T10" fmla="*/ 1 w 3"/>
                    <a:gd name="T11" fmla="*/ 1 h 49"/>
                    <a:gd name="T12" fmla="*/ 1 w 3"/>
                    <a:gd name="T13" fmla="*/ 1 h 49"/>
                    <a:gd name="T14" fmla="*/ 1 w 3"/>
                    <a:gd name="T15" fmla="*/ 1 h 49"/>
                    <a:gd name="T16" fmla="*/ 1 w 3"/>
                    <a:gd name="T17" fmla="*/ 0 h 49"/>
                    <a:gd name="T18" fmla="*/ 1 w 3"/>
                    <a:gd name="T19" fmla="*/ 0 h 49"/>
                    <a:gd name="T20" fmla="*/ 1 w 3"/>
                    <a:gd name="T21" fmla="*/ 0 h 49"/>
                    <a:gd name="T22" fmla="*/ 1 w 3"/>
                    <a:gd name="T23" fmla="*/ 0 h 49"/>
                    <a:gd name="T24" fmla="*/ 1 w 3"/>
                    <a:gd name="T25" fmla="*/ 0 h 49"/>
                    <a:gd name="T26" fmla="*/ 1 w 3"/>
                    <a:gd name="T27" fmla="*/ 0 h 49"/>
                    <a:gd name="T28" fmla="*/ 1 w 3"/>
                    <a:gd name="T29" fmla="*/ 0 h 49"/>
                    <a:gd name="T30" fmla="*/ 1 w 3"/>
                    <a:gd name="T31" fmla="*/ 0 h 49"/>
                    <a:gd name="T32" fmla="*/ 1 w 3"/>
                    <a:gd name="T33" fmla="*/ 0 h 49"/>
                    <a:gd name="T34" fmla="*/ 1 w 3"/>
                    <a:gd name="T35" fmla="*/ 1 h 49"/>
                    <a:gd name="T36" fmla="*/ 0 w 3"/>
                    <a:gd name="T37" fmla="*/ 1 h 49"/>
                    <a:gd name="T38" fmla="*/ 0 w 3"/>
                    <a:gd name="T39" fmla="*/ 1 h 49"/>
                    <a:gd name="T40" fmla="*/ 0 w 3"/>
                    <a:gd name="T41" fmla="*/ 1 h 49"/>
                    <a:gd name="T42" fmla="*/ 0 w 3"/>
                    <a:gd name="T43" fmla="*/ 1 h 49"/>
                    <a:gd name="T44" fmla="*/ 0 w 3"/>
                    <a:gd name="T45" fmla="*/ 1 h 4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 h="49">
                      <a:moveTo>
                        <a:pt x="0" y="2"/>
                      </a:moveTo>
                      <a:lnTo>
                        <a:pt x="0" y="49"/>
                      </a:lnTo>
                      <a:lnTo>
                        <a:pt x="3" y="49"/>
                      </a:lnTo>
                      <a:lnTo>
                        <a:pt x="3" y="2"/>
                      </a:lnTo>
                      <a:lnTo>
                        <a:pt x="3" y="1"/>
                      </a:lnTo>
                      <a:lnTo>
                        <a:pt x="3" y="0"/>
                      </a:lnTo>
                      <a:lnTo>
                        <a:pt x="2" y="0"/>
                      </a:lnTo>
                      <a:lnTo>
                        <a:pt x="1" y="0"/>
                      </a:lnTo>
                      <a:lnTo>
                        <a:pt x="1" y="1"/>
                      </a:lnTo>
                      <a:lnTo>
                        <a:pt x="0" y="1"/>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7" name="Freeform 909">
                  <a:extLst>
                    <a:ext uri="{FF2B5EF4-FFF2-40B4-BE49-F238E27FC236}">
                      <a16:creationId xmlns:a16="http://schemas.microsoft.com/office/drawing/2014/main" id="{FED87407-F661-5FBE-2107-B739DE9A9E2D}"/>
                    </a:ext>
                  </a:extLst>
                </p:cNvPr>
                <p:cNvSpPr>
                  <a:spLocks/>
                </p:cNvSpPr>
                <p:nvPr/>
              </p:nvSpPr>
              <p:spPr bwMode="auto">
                <a:xfrm>
                  <a:off x="155" y="1958"/>
                  <a:ext cx="22" cy="11"/>
                </a:xfrm>
                <a:custGeom>
                  <a:avLst/>
                  <a:gdLst>
                    <a:gd name="T0" fmla="*/ 1 w 32"/>
                    <a:gd name="T1" fmla="*/ 0 h 15"/>
                    <a:gd name="T2" fmla="*/ 0 w 32"/>
                    <a:gd name="T3" fmla="*/ 1 h 15"/>
                    <a:gd name="T4" fmla="*/ 0 w 32"/>
                    <a:gd name="T5" fmla="*/ 3 h 15"/>
                    <a:gd name="T6" fmla="*/ 1 w 32"/>
                    <a:gd name="T7" fmla="*/ 3 h 15"/>
                    <a:gd name="T8" fmla="*/ 2 w 32"/>
                    <a:gd name="T9" fmla="*/ 4 h 15"/>
                    <a:gd name="T10" fmla="*/ 2 w 32"/>
                    <a:gd name="T11" fmla="*/ 4 h 15"/>
                    <a:gd name="T12" fmla="*/ 4 w 32"/>
                    <a:gd name="T13" fmla="*/ 4 h 15"/>
                    <a:gd name="T14" fmla="*/ 6 w 32"/>
                    <a:gd name="T15" fmla="*/ 4 h 15"/>
                    <a:gd name="T16" fmla="*/ 7 w 32"/>
                    <a:gd name="T17" fmla="*/ 4 h 15"/>
                    <a:gd name="T18" fmla="*/ 8 w 32"/>
                    <a:gd name="T19" fmla="*/ 5 h 15"/>
                    <a:gd name="T20" fmla="*/ 10 w 32"/>
                    <a:gd name="T21" fmla="*/ 5 h 15"/>
                    <a:gd name="T22" fmla="*/ 10 w 32"/>
                    <a:gd name="T23" fmla="*/ 5 h 15"/>
                    <a:gd name="T24" fmla="*/ 12 w 32"/>
                    <a:gd name="T25" fmla="*/ 6 h 15"/>
                    <a:gd name="T26" fmla="*/ 13 w 32"/>
                    <a:gd name="T27" fmla="*/ 7 h 15"/>
                    <a:gd name="T28" fmla="*/ 14 w 32"/>
                    <a:gd name="T29" fmla="*/ 7 h 15"/>
                    <a:gd name="T30" fmla="*/ 14 w 32"/>
                    <a:gd name="T31" fmla="*/ 7 h 15"/>
                    <a:gd name="T32" fmla="*/ 14 w 32"/>
                    <a:gd name="T33" fmla="*/ 8 h 15"/>
                    <a:gd name="T34" fmla="*/ 15 w 32"/>
                    <a:gd name="T35" fmla="*/ 7 h 15"/>
                    <a:gd name="T36" fmla="*/ 15 w 32"/>
                    <a:gd name="T37" fmla="*/ 6 h 15"/>
                    <a:gd name="T38" fmla="*/ 14 w 32"/>
                    <a:gd name="T39" fmla="*/ 5 h 15"/>
                    <a:gd name="T40" fmla="*/ 13 w 32"/>
                    <a:gd name="T41" fmla="*/ 4 h 15"/>
                    <a:gd name="T42" fmla="*/ 12 w 32"/>
                    <a:gd name="T43" fmla="*/ 3 h 15"/>
                    <a:gd name="T44" fmla="*/ 10 w 32"/>
                    <a:gd name="T45" fmla="*/ 3 h 15"/>
                    <a:gd name="T46" fmla="*/ 9 w 32"/>
                    <a:gd name="T47" fmla="*/ 3 h 15"/>
                    <a:gd name="T48" fmla="*/ 8 w 32"/>
                    <a:gd name="T49" fmla="*/ 3 h 15"/>
                    <a:gd name="T50" fmla="*/ 6 w 32"/>
                    <a:gd name="T51" fmla="*/ 2 h 15"/>
                    <a:gd name="T52" fmla="*/ 5 w 32"/>
                    <a:gd name="T53" fmla="*/ 2 h 15"/>
                    <a:gd name="T54" fmla="*/ 3 w 32"/>
                    <a:gd name="T55" fmla="*/ 2 h 15"/>
                    <a:gd name="T56" fmla="*/ 2 w 32"/>
                    <a:gd name="T57" fmla="*/ 1 h 15"/>
                    <a:gd name="T58" fmla="*/ 2 w 32"/>
                    <a:gd name="T59" fmla="*/ 1 h 15"/>
                    <a:gd name="T60" fmla="*/ 2 w 32"/>
                    <a:gd name="T61" fmla="*/ 1 h 15"/>
                    <a:gd name="T62" fmla="*/ 2 w 32"/>
                    <a:gd name="T63" fmla="*/ 3 h 15"/>
                    <a:gd name="T64" fmla="*/ 2 w 32"/>
                    <a:gd name="T65" fmla="*/ 2 h 15"/>
                    <a:gd name="T66" fmla="*/ 2 w 32"/>
                    <a:gd name="T67" fmla="*/ 2 h 15"/>
                    <a:gd name="T68" fmla="*/ 2 w 32"/>
                    <a:gd name="T69" fmla="*/ 1 h 15"/>
                    <a:gd name="T70" fmla="*/ 2 w 32"/>
                    <a:gd name="T71" fmla="*/ 1 h 15"/>
                    <a:gd name="T72" fmla="*/ 2 w 32"/>
                    <a:gd name="T73" fmla="*/ 1 h 15"/>
                    <a:gd name="T74" fmla="*/ 2 w 32"/>
                    <a:gd name="T75" fmla="*/ 1 h 15"/>
                    <a:gd name="T76" fmla="*/ 2 w 32"/>
                    <a:gd name="T77" fmla="*/ 0 h 15"/>
                    <a:gd name="T78" fmla="*/ 2 w 32"/>
                    <a:gd name="T79" fmla="*/ 0 h 15"/>
                    <a:gd name="T80" fmla="*/ 1 w 32"/>
                    <a:gd name="T81" fmla="*/ 0 h 15"/>
                    <a:gd name="T82" fmla="*/ 1 w 32"/>
                    <a:gd name="T83" fmla="*/ 0 h 1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 h="15">
                      <a:moveTo>
                        <a:pt x="3" y="0"/>
                      </a:moveTo>
                      <a:lnTo>
                        <a:pt x="2" y="0"/>
                      </a:lnTo>
                      <a:lnTo>
                        <a:pt x="2" y="1"/>
                      </a:lnTo>
                      <a:lnTo>
                        <a:pt x="0" y="2"/>
                      </a:lnTo>
                      <a:lnTo>
                        <a:pt x="0" y="3"/>
                      </a:lnTo>
                      <a:lnTo>
                        <a:pt x="0" y="5"/>
                      </a:lnTo>
                      <a:lnTo>
                        <a:pt x="1" y="6"/>
                      </a:lnTo>
                      <a:lnTo>
                        <a:pt x="2" y="6"/>
                      </a:lnTo>
                      <a:lnTo>
                        <a:pt x="3" y="6"/>
                      </a:lnTo>
                      <a:lnTo>
                        <a:pt x="4" y="7"/>
                      </a:lnTo>
                      <a:lnTo>
                        <a:pt x="5" y="7"/>
                      </a:lnTo>
                      <a:lnTo>
                        <a:pt x="5" y="8"/>
                      </a:lnTo>
                      <a:lnTo>
                        <a:pt x="7" y="8"/>
                      </a:lnTo>
                      <a:lnTo>
                        <a:pt x="8" y="8"/>
                      </a:lnTo>
                      <a:lnTo>
                        <a:pt x="9" y="8"/>
                      </a:lnTo>
                      <a:lnTo>
                        <a:pt x="11" y="8"/>
                      </a:lnTo>
                      <a:lnTo>
                        <a:pt x="12" y="8"/>
                      </a:lnTo>
                      <a:lnTo>
                        <a:pt x="14" y="8"/>
                      </a:lnTo>
                      <a:lnTo>
                        <a:pt x="15" y="8"/>
                      </a:lnTo>
                      <a:lnTo>
                        <a:pt x="16" y="9"/>
                      </a:lnTo>
                      <a:lnTo>
                        <a:pt x="18" y="9"/>
                      </a:lnTo>
                      <a:lnTo>
                        <a:pt x="20" y="10"/>
                      </a:lnTo>
                      <a:lnTo>
                        <a:pt x="21" y="10"/>
                      </a:lnTo>
                      <a:lnTo>
                        <a:pt x="22" y="10"/>
                      </a:lnTo>
                      <a:lnTo>
                        <a:pt x="24" y="11"/>
                      </a:lnTo>
                      <a:lnTo>
                        <a:pt x="25" y="11"/>
                      </a:lnTo>
                      <a:lnTo>
                        <a:pt x="26" y="11"/>
                      </a:lnTo>
                      <a:lnTo>
                        <a:pt x="27" y="12"/>
                      </a:lnTo>
                      <a:lnTo>
                        <a:pt x="28" y="13"/>
                      </a:lnTo>
                      <a:lnTo>
                        <a:pt x="29" y="13"/>
                      </a:lnTo>
                      <a:lnTo>
                        <a:pt x="29" y="14"/>
                      </a:lnTo>
                      <a:lnTo>
                        <a:pt x="29" y="15"/>
                      </a:lnTo>
                      <a:lnTo>
                        <a:pt x="32" y="15"/>
                      </a:lnTo>
                      <a:lnTo>
                        <a:pt x="32" y="14"/>
                      </a:lnTo>
                      <a:lnTo>
                        <a:pt x="32" y="12"/>
                      </a:lnTo>
                      <a:lnTo>
                        <a:pt x="32" y="11"/>
                      </a:lnTo>
                      <a:lnTo>
                        <a:pt x="30" y="10"/>
                      </a:lnTo>
                      <a:lnTo>
                        <a:pt x="30" y="9"/>
                      </a:lnTo>
                      <a:lnTo>
                        <a:pt x="29" y="8"/>
                      </a:lnTo>
                      <a:lnTo>
                        <a:pt x="27" y="8"/>
                      </a:lnTo>
                      <a:lnTo>
                        <a:pt x="26" y="7"/>
                      </a:lnTo>
                      <a:lnTo>
                        <a:pt x="24" y="6"/>
                      </a:lnTo>
                      <a:lnTo>
                        <a:pt x="22" y="6"/>
                      </a:lnTo>
                      <a:lnTo>
                        <a:pt x="20" y="5"/>
                      </a:lnTo>
                      <a:lnTo>
                        <a:pt x="19" y="5"/>
                      </a:lnTo>
                      <a:lnTo>
                        <a:pt x="17" y="5"/>
                      </a:lnTo>
                      <a:lnTo>
                        <a:pt x="16" y="5"/>
                      </a:lnTo>
                      <a:lnTo>
                        <a:pt x="14" y="5"/>
                      </a:lnTo>
                      <a:lnTo>
                        <a:pt x="13" y="4"/>
                      </a:lnTo>
                      <a:lnTo>
                        <a:pt x="11" y="4"/>
                      </a:lnTo>
                      <a:lnTo>
                        <a:pt x="10" y="4"/>
                      </a:lnTo>
                      <a:lnTo>
                        <a:pt x="8" y="4"/>
                      </a:lnTo>
                      <a:lnTo>
                        <a:pt x="7" y="4"/>
                      </a:lnTo>
                      <a:lnTo>
                        <a:pt x="6" y="3"/>
                      </a:lnTo>
                      <a:lnTo>
                        <a:pt x="5" y="3"/>
                      </a:lnTo>
                      <a:lnTo>
                        <a:pt x="4" y="3"/>
                      </a:lnTo>
                      <a:lnTo>
                        <a:pt x="3" y="2"/>
                      </a:lnTo>
                      <a:lnTo>
                        <a:pt x="4" y="3"/>
                      </a:lnTo>
                      <a:lnTo>
                        <a:pt x="4" y="4"/>
                      </a:lnTo>
                      <a:lnTo>
                        <a:pt x="4" y="5"/>
                      </a:lnTo>
                      <a:lnTo>
                        <a:pt x="4" y="4"/>
                      </a:lnTo>
                      <a:lnTo>
                        <a:pt x="5" y="3"/>
                      </a:lnTo>
                      <a:lnTo>
                        <a:pt x="5" y="2"/>
                      </a:lnTo>
                      <a:lnTo>
                        <a:pt x="5" y="1"/>
                      </a:lnTo>
                      <a:lnTo>
                        <a:pt x="4" y="1"/>
                      </a:lnTo>
                      <a:lnTo>
                        <a:pt x="4" y="0"/>
                      </a:lnTo>
                      <a:lnTo>
                        <a:pt x="3" y="0"/>
                      </a:lnTo>
                      <a:lnTo>
                        <a:pt x="2"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8" name="Freeform 910">
                  <a:extLst>
                    <a:ext uri="{FF2B5EF4-FFF2-40B4-BE49-F238E27FC236}">
                      <a16:creationId xmlns:a16="http://schemas.microsoft.com/office/drawing/2014/main" id="{ABFEA873-E926-2BAF-1DE3-D49791E72F9C}"/>
                    </a:ext>
                  </a:extLst>
                </p:cNvPr>
                <p:cNvSpPr>
                  <a:spLocks/>
                </p:cNvSpPr>
                <p:nvPr/>
              </p:nvSpPr>
              <p:spPr bwMode="auto">
                <a:xfrm>
                  <a:off x="156" y="1909"/>
                  <a:ext cx="83" cy="53"/>
                </a:xfrm>
                <a:custGeom>
                  <a:avLst/>
                  <a:gdLst>
                    <a:gd name="T0" fmla="*/ 1 w 121"/>
                    <a:gd name="T1" fmla="*/ 27 h 74"/>
                    <a:gd name="T2" fmla="*/ 8 w 121"/>
                    <a:gd name="T3" fmla="*/ 24 h 74"/>
                    <a:gd name="T4" fmla="*/ 14 w 121"/>
                    <a:gd name="T5" fmla="*/ 21 h 74"/>
                    <a:gd name="T6" fmla="*/ 23 w 121"/>
                    <a:gd name="T7" fmla="*/ 17 h 74"/>
                    <a:gd name="T8" fmla="*/ 29 w 121"/>
                    <a:gd name="T9" fmla="*/ 14 h 74"/>
                    <a:gd name="T10" fmla="*/ 37 w 121"/>
                    <a:gd name="T11" fmla="*/ 10 h 74"/>
                    <a:gd name="T12" fmla="*/ 44 w 121"/>
                    <a:gd name="T13" fmla="*/ 7 h 74"/>
                    <a:gd name="T14" fmla="*/ 49 w 121"/>
                    <a:gd name="T15" fmla="*/ 4 h 74"/>
                    <a:gd name="T16" fmla="*/ 54 w 121"/>
                    <a:gd name="T17" fmla="*/ 3 h 74"/>
                    <a:gd name="T18" fmla="*/ 56 w 121"/>
                    <a:gd name="T19" fmla="*/ 2 h 74"/>
                    <a:gd name="T20" fmla="*/ 56 w 121"/>
                    <a:gd name="T21" fmla="*/ 1 h 74"/>
                    <a:gd name="T22" fmla="*/ 54 w 121"/>
                    <a:gd name="T23" fmla="*/ 1 h 74"/>
                    <a:gd name="T24" fmla="*/ 50 w 121"/>
                    <a:gd name="T25" fmla="*/ 4 h 74"/>
                    <a:gd name="T26" fmla="*/ 43 w 121"/>
                    <a:gd name="T27" fmla="*/ 9 h 74"/>
                    <a:gd name="T28" fmla="*/ 32 w 121"/>
                    <a:gd name="T29" fmla="*/ 16 h 74"/>
                    <a:gd name="T30" fmla="*/ 19 w 121"/>
                    <a:gd name="T31" fmla="*/ 24 h 74"/>
                    <a:gd name="T32" fmla="*/ 1 w 121"/>
                    <a:gd name="T33" fmla="*/ 36 h 74"/>
                    <a:gd name="T34" fmla="*/ 10 w 121"/>
                    <a:gd name="T35" fmla="*/ 32 h 74"/>
                    <a:gd name="T36" fmla="*/ 26 w 121"/>
                    <a:gd name="T37" fmla="*/ 22 h 74"/>
                    <a:gd name="T38" fmla="*/ 38 w 121"/>
                    <a:gd name="T39" fmla="*/ 14 h 74"/>
                    <a:gd name="T40" fmla="*/ 47 w 121"/>
                    <a:gd name="T41" fmla="*/ 9 h 74"/>
                    <a:gd name="T42" fmla="*/ 54 w 121"/>
                    <a:gd name="T43" fmla="*/ 5 h 74"/>
                    <a:gd name="T44" fmla="*/ 56 w 121"/>
                    <a:gd name="T45" fmla="*/ 3 h 74"/>
                    <a:gd name="T46" fmla="*/ 56 w 121"/>
                    <a:gd name="T47" fmla="*/ 0 h 74"/>
                    <a:gd name="T48" fmla="*/ 55 w 121"/>
                    <a:gd name="T49" fmla="*/ 0 h 74"/>
                    <a:gd name="T50" fmla="*/ 51 w 121"/>
                    <a:gd name="T51" fmla="*/ 1 h 74"/>
                    <a:gd name="T52" fmla="*/ 46 w 121"/>
                    <a:gd name="T53" fmla="*/ 4 h 74"/>
                    <a:gd name="T54" fmla="*/ 40 w 121"/>
                    <a:gd name="T55" fmla="*/ 6 h 74"/>
                    <a:gd name="T56" fmla="*/ 34 w 121"/>
                    <a:gd name="T57" fmla="*/ 10 h 74"/>
                    <a:gd name="T58" fmla="*/ 26 w 121"/>
                    <a:gd name="T59" fmla="*/ 14 h 74"/>
                    <a:gd name="T60" fmla="*/ 18 w 121"/>
                    <a:gd name="T61" fmla="*/ 17 h 74"/>
                    <a:gd name="T62" fmla="*/ 11 w 121"/>
                    <a:gd name="T63" fmla="*/ 20 h 74"/>
                    <a:gd name="T64" fmla="*/ 3 w 121"/>
                    <a:gd name="T65" fmla="*/ 23 h 74"/>
                    <a:gd name="T66" fmla="*/ 1 w 121"/>
                    <a:gd name="T67" fmla="*/ 24 h 74"/>
                    <a:gd name="T68" fmla="*/ 1 w 121"/>
                    <a:gd name="T69" fmla="*/ 24 h 74"/>
                    <a:gd name="T70" fmla="*/ 0 w 121"/>
                    <a:gd name="T71" fmla="*/ 24 h 74"/>
                    <a:gd name="T72" fmla="*/ 0 w 121"/>
                    <a:gd name="T73" fmla="*/ 25 h 74"/>
                    <a:gd name="T74" fmla="*/ 0 w 121"/>
                    <a:gd name="T75" fmla="*/ 25 h 74"/>
                    <a:gd name="T76" fmla="*/ 0 w 121"/>
                    <a:gd name="T77" fmla="*/ 26 h 74"/>
                    <a:gd name="T78" fmla="*/ 0 w 121"/>
                    <a:gd name="T79" fmla="*/ 27 h 74"/>
                    <a:gd name="T80" fmla="*/ 1 w 121"/>
                    <a:gd name="T81" fmla="*/ 27 h 74"/>
                    <a:gd name="T82" fmla="*/ 1 w 121"/>
                    <a:gd name="T83" fmla="*/ 27 h 74"/>
                    <a:gd name="T84" fmla="*/ 1 w 121"/>
                    <a:gd name="T85" fmla="*/ 27 h 74"/>
                    <a:gd name="T86" fmla="*/ 1 w 121"/>
                    <a:gd name="T87" fmla="*/ 27 h 7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1" h="74">
                      <a:moveTo>
                        <a:pt x="1" y="51"/>
                      </a:moveTo>
                      <a:lnTo>
                        <a:pt x="2" y="51"/>
                      </a:lnTo>
                      <a:lnTo>
                        <a:pt x="9" y="48"/>
                      </a:lnTo>
                      <a:lnTo>
                        <a:pt x="16" y="46"/>
                      </a:lnTo>
                      <a:lnTo>
                        <a:pt x="24" y="43"/>
                      </a:lnTo>
                      <a:lnTo>
                        <a:pt x="31" y="40"/>
                      </a:lnTo>
                      <a:lnTo>
                        <a:pt x="39" y="36"/>
                      </a:lnTo>
                      <a:lnTo>
                        <a:pt x="48" y="33"/>
                      </a:lnTo>
                      <a:lnTo>
                        <a:pt x="56" y="30"/>
                      </a:lnTo>
                      <a:lnTo>
                        <a:pt x="63" y="26"/>
                      </a:lnTo>
                      <a:lnTo>
                        <a:pt x="71" y="23"/>
                      </a:lnTo>
                      <a:lnTo>
                        <a:pt x="79" y="20"/>
                      </a:lnTo>
                      <a:lnTo>
                        <a:pt x="86" y="17"/>
                      </a:lnTo>
                      <a:lnTo>
                        <a:pt x="93" y="14"/>
                      </a:lnTo>
                      <a:lnTo>
                        <a:pt x="99" y="12"/>
                      </a:lnTo>
                      <a:lnTo>
                        <a:pt x="104" y="9"/>
                      </a:lnTo>
                      <a:lnTo>
                        <a:pt x="109" y="7"/>
                      </a:lnTo>
                      <a:lnTo>
                        <a:pt x="113" y="6"/>
                      </a:lnTo>
                      <a:lnTo>
                        <a:pt x="117" y="4"/>
                      </a:lnTo>
                      <a:lnTo>
                        <a:pt x="118" y="4"/>
                      </a:lnTo>
                      <a:lnTo>
                        <a:pt x="119" y="4"/>
                      </a:lnTo>
                      <a:lnTo>
                        <a:pt x="118" y="1"/>
                      </a:lnTo>
                      <a:lnTo>
                        <a:pt x="117" y="2"/>
                      </a:lnTo>
                      <a:lnTo>
                        <a:pt x="115" y="3"/>
                      </a:lnTo>
                      <a:lnTo>
                        <a:pt x="111" y="6"/>
                      </a:lnTo>
                      <a:lnTo>
                        <a:pt x="106" y="9"/>
                      </a:lnTo>
                      <a:lnTo>
                        <a:pt x="100" y="14"/>
                      </a:lnTo>
                      <a:lnTo>
                        <a:pt x="91" y="18"/>
                      </a:lnTo>
                      <a:lnTo>
                        <a:pt x="81" y="25"/>
                      </a:lnTo>
                      <a:lnTo>
                        <a:pt x="69" y="31"/>
                      </a:lnTo>
                      <a:lnTo>
                        <a:pt x="55" y="39"/>
                      </a:lnTo>
                      <a:lnTo>
                        <a:pt x="39" y="48"/>
                      </a:lnTo>
                      <a:lnTo>
                        <a:pt x="21" y="59"/>
                      </a:lnTo>
                      <a:lnTo>
                        <a:pt x="1" y="70"/>
                      </a:lnTo>
                      <a:lnTo>
                        <a:pt x="2" y="74"/>
                      </a:lnTo>
                      <a:lnTo>
                        <a:pt x="22" y="62"/>
                      </a:lnTo>
                      <a:lnTo>
                        <a:pt x="40" y="53"/>
                      </a:lnTo>
                      <a:lnTo>
                        <a:pt x="56" y="43"/>
                      </a:lnTo>
                      <a:lnTo>
                        <a:pt x="70" y="35"/>
                      </a:lnTo>
                      <a:lnTo>
                        <a:pt x="82" y="28"/>
                      </a:lnTo>
                      <a:lnTo>
                        <a:pt x="92" y="22"/>
                      </a:lnTo>
                      <a:lnTo>
                        <a:pt x="101" y="17"/>
                      </a:lnTo>
                      <a:lnTo>
                        <a:pt x="108" y="13"/>
                      </a:lnTo>
                      <a:lnTo>
                        <a:pt x="113" y="10"/>
                      </a:lnTo>
                      <a:lnTo>
                        <a:pt x="117" y="7"/>
                      </a:lnTo>
                      <a:lnTo>
                        <a:pt x="120" y="5"/>
                      </a:lnTo>
                      <a:lnTo>
                        <a:pt x="121" y="4"/>
                      </a:lnTo>
                      <a:lnTo>
                        <a:pt x="120" y="0"/>
                      </a:lnTo>
                      <a:lnTo>
                        <a:pt x="118" y="0"/>
                      </a:lnTo>
                      <a:lnTo>
                        <a:pt x="116" y="0"/>
                      </a:lnTo>
                      <a:lnTo>
                        <a:pt x="112" y="2"/>
                      </a:lnTo>
                      <a:lnTo>
                        <a:pt x="108" y="3"/>
                      </a:lnTo>
                      <a:lnTo>
                        <a:pt x="104" y="5"/>
                      </a:lnTo>
                      <a:lnTo>
                        <a:pt x="98" y="8"/>
                      </a:lnTo>
                      <a:lnTo>
                        <a:pt x="91" y="10"/>
                      </a:lnTo>
                      <a:lnTo>
                        <a:pt x="85" y="13"/>
                      </a:lnTo>
                      <a:lnTo>
                        <a:pt x="78" y="16"/>
                      </a:lnTo>
                      <a:lnTo>
                        <a:pt x="71" y="19"/>
                      </a:lnTo>
                      <a:lnTo>
                        <a:pt x="63" y="23"/>
                      </a:lnTo>
                      <a:lnTo>
                        <a:pt x="55" y="26"/>
                      </a:lnTo>
                      <a:lnTo>
                        <a:pt x="46" y="29"/>
                      </a:lnTo>
                      <a:lnTo>
                        <a:pt x="38" y="33"/>
                      </a:lnTo>
                      <a:lnTo>
                        <a:pt x="30" y="35"/>
                      </a:lnTo>
                      <a:lnTo>
                        <a:pt x="23" y="39"/>
                      </a:lnTo>
                      <a:lnTo>
                        <a:pt x="15" y="42"/>
                      </a:lnTo>
                      <a:lnTo>
                        <a:pt x="8" y="45"/>
                      </a:lnTo>
                      <a:lnTo>
                        <a:pt x="1" y="47"/>
                      </a:lnTo>
                      <a:lnTo>
                        <a:pt x="0" y="47"/>
                      </a:lnTo>
                      <a:lnTo>
                        <a:pt x="0" y="48"/>
                      </a:lnTo>
                      <a:lnTo>
                        <a:pt x="0" y="49"/>
                      </a:lnTo>
                      <a:lnTo>
                        <a:pt x="0" y="50"/>
                      </a:lnTo>
                      <a:lnTo>
                        <a:pt x="0" y="51"/>
                      </a:lnTo>
                      <a:lnTo>
                        <a:pt x="1" y="51"/>
                      </a:lnTo>
                      <a:lnTo>
                        <a:pt x="2" y="51"/>
                      </a:lnTo>
                      <a:lnTo>
                        <a:pt x="1"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19" name="Freeform 911">
                  <a:extLst>
                    <a:ext uri="{FF2B5EF4-FFF2-40B4-BE49-F238E27FC236}">
                      <a16:creationId xmlns:a16="http://schemas.microsoft.com/office/drawing/2014/main" id="{D02DF7F3-B482-0790-46CB-3E80D742FFBF}"/>
                    </a:ext>
                  </a:extLst>
                </p:cNvPr>
                <p:cNvSpPr>
                  <a:spLocks/>
                </p:cNvSpPr>
                <p:nvPr/>
              </p:nvSpPr>
              <p:spPr bwMode="auto">
                <a:xfrm>
                  <a:off x="147" y="1899"/>
                  <a:ext cx="17" cy="46"/>
                </a:xfrm>
                <a:custGeom>
                  <a:avLst/>
                  <a:gdLst>
                    <a:gd name="T0" fmla="*/ 10 w 25"/>
                    <a:gd name="T1" fmla="*/ 3 h 64"/>
                    <a:gd name="T2" fmla="*/ 10 w 25"/>
                    <a:gd name="T3" fmla="*/ 6 h 64"/>
                    <a:gd name="T4" fmla="*/ 8 w 25"/>
                    <a:gd name="T5" fmla="*/ 9 h 64"/>
                    <a:gd name="T6" fmla="*/ 7 w 25"/>
                    <a:gd name="T7" fmla="*/ 13 h 64"/>
                    <a:gd name="T8" fmla="*/ 5 w 25"/>
                    <a:gd name="T9" fmla="*/ 16 h 64"/>
                    <a:gd name="T10" fmla="*/ 4 w 25"/>
                    <a:gd name="T11" fmla="*/ 18 h 64"/>
                    <a:gd name="T12" fmla="*/ 3 w 25"/>
                    <a:gd name="T13" fmla="*/ 21 h 64"/>
                    <a:gd name="T14" fmla="*/ 2 w 25"/>
                    <a:gd name="T15" fmla="*/ 23 h 64"/>
                    <a:gd name="T16" fmla="*/ 1 w 25"/>
                    <a:gd name="T17" fmla="*/ 25 h 64"/>
                    <a:gd name="T18" fmla="*/ 1 w 25"/>
                    <a:gd name="T19" fmla="*/ 27 h 64"/>
                    <a:gd name="T20" fmla="*/ 0 w 25"/>
                    <a:gd name="T21" fmla="*/ 29 h 64"/>
                    <a:gd name="T22" fmla="*/ 0 w 25"/>
                    <a:gd name="T23" fmla="*/ 30 h 64"/>
                    <a:gd name="T24" fmla="*/ 1 w 25"/>
                    <a:gd name="T25" fmla="*/ 32 h 64"/>
                    <a:gd name="T26" fmla="*/ 2 w 25"/>
                    <a:gd name="T27" fmla="*/ 32 h 64"/>
                    <a:gd name="T28" fmla="*/ 3 w 25"/>
                    <a:gd name="T29" fmla="*/ 33 h 64"/>
                    <a:gd name="T30" fmla="*/ 5 w 25"/>
                    <a:gd name="T31" fmla="*/ 33 h 64"/>
                    <a:gd name="T32" fmla="*/ 7 w 25"/>
                    <a:gd name="T33" fmla="*/ 32 h 64"/>
                    <a:gd name="T34" fmla="*/ 5 w 25"/>
                    <a:gd name="T35" fmla="*/ 32 h 64"/>
                    <a:gd name="T36" fmla="*/ 3 w 25"/>
                    <a:gd name="T37" fmla="*/ 30 h 64"/>
                    <a:gd name="T38" fmla="*/ 2 w 25"/>
                    <a:gd name="T39" fmla="*/ 30 h 64"/>
                    <a:gd name="T40" fmla="*/ 1 w 25"/>
                    <a:gd name="T41" fmla="*/ 30 h 64"/>
                    <a:gd name="T42" fmla="*/ 1 w 25"/>
                    <a:gd name="T43" fmla="*/ 29 h 64"/>
                    <a:gd name="T44" fmla="*/ 1 w 25"/>
                    <a:gd name="T45" fmla="*/ 29 h 64"/>
                    <a:gd name="T46" fmla="*/ 2 w 25"/>
                    <a:gd name="T47" fmla="*/ 27 h 64"/>
                    <a:gd name="T48" fmla="*/ 3 w 25"/>
                    <a:gd name="T49" fmla="*/ 25 h 64"/>
                    <a:gd name="T50" fmla="*/ 3 w 25"/>
                    <a:gd name="T51" fmla="*/ 23 h 64"/>
                    <a:gd name="T52" fmla="*/ 5 w 25"/>
                    <a:gd name="T53" fmla="*/ 21 h 64"/>
                    <a:gd name="T54" fmla="*/ 6 w 25"/>
                    <a:gd name="T55" fmla="*/ 18 h 64"/>
                    <a:gd name="T56" fmla="*/ 7 w 25"/>
                    <a:gd name="T57" fmla="*/ 16 h 64"/>
                    <a:gd name="T58" fmla="*/ 9 w 25"/>
                    <a:gd name="T59" fmla="*/ 12 h 64"/>
                    <a:gd name="T60" fmla="*/ 10 w 25"/>
                    <a:gd name="T61" fmla="*/ 9 h 64"/>
                    <a:gd name="T62" fmla="*/ 11 w 25"/>
                    <a:gd name="T63" fmla="*/ 5 h 64"/>
                    <a:gd name="T64" fmla="*/ 12 w 25"/>
                    <a:gd name="T65" fmla="*/ 1 h 64"/>
                    <a:gd name="T66" fmla="*/ 12 w 25"/>
                    <a:gd name="T67" fmla="*/ 1 h 64"/>
                    <a:gd name="T68" fmla="*/ 12 w 25"/>
                    <a:gd name="T69" fmla="*/ 1 h 64"/>
                    <a:gd name="T70" fmla="*/ 12 w 25"/>
                    <a:gd name="T71" fmla="*/ 1 h 64"/>
                    <a:gd name="T72" fmla="*/ 12 w 25"/>
                    <a:gd name="T73" fmla="*/ 0 h 64"/>
                    <a:gd name="T74" fmla="*/ 11 w 25"/>
                    <a:gd name="T75" fmla="*/ 0 h 64"/>
                    <a:gd name="T76" fmla="*/ 11 w 25"/>
                    <a:gd name="T77" fmla="*/ 0 h 64"/>
                    <a:gd name="T78" fmla="*/ 11 w 25"/>
                    <a:gd name="T79" fmla="*/ 0 h 64"/>
                    <a:gd name="T80" fmla="*/ 11 w 25"/>
                    <a:gd name="T81" fmla="*/ 0 h 64"/>
                    <a:gd name="T82" fmla="*/ 10 w 25"/>
                    <a:gd name="T83" fmla="*/ 1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 h="64">
                      <a:moveTo>
                        <a:pt x="22" y="1"/>
                      </a:moveTo>
                      <a:lnTo>
                        <a:pt x="21" y="5"/>
                      </a:lnTo>
                      <a:lnTo>
                        <a:pt x="20" y="8"/>
                      </a:lnTo>
                      <a:lnTo>
                        <a:pt x="20" y="12"/>
                      </a:lnTo>
                      <a:lnTo>
                        <a:pt x="18" y="15"/>
                      </a:lnTo>
                      <a:lnTo>
                        <a:pt x="17" y="18"/>
                      </a:lnTo>
                      <a:lnTo>
                        <a:pt x="16" y="22"/>
                      </a:lnTo>
                      <a:lnTo>
                        <a:pt x="15" y="25"/>
                      </a:lnTo>
                      <a:lnTo>
                        <a:pt x="13" y="28"/>
                      </a:lnTo>
                      <a:lnTo>
                        <a:pt x="12" y="30"/>
                      </a:lnTo>
                      <a:lnTo>
                        <a:pt x="11" y="33"/>
                      </a:lnTo>
                      <a:lnTo>
                        <a:pt x="9" y="35"/>
                      </a:lnTo>
                      <a:lnTo>
                        <a:pt x="8" y="38"/>
                      </a:lnTo>
                      <a:lnTo>
                        <a:pt x="7" y="40"/>
                      </a:lnTo>
                      <a:lnTo>
                        <a:pt x="6" y="42"/>
                      </a:lnTo>
                      <a:lnTo>
                        <a:pt x="4" y="44"/>
                      </a:lnTo>
                      <a:lnTo>
                        <a:pt x="3" y="47"/>
                      </a:lnTo>
                      <a:lnTo>
                        <a:pt x="3" y="49"/>
                      </a:lnTo>
                      <a:lnTo>
                        <a:pt x="2" y="50"/>
                      </a:lnTo>
                      <a:lnTo>
                        <a:pt x="1" y="52"/>
                      </a:lnTo>
                      <a:lnTo>
                        <a:pt x="0" y="54"/>
                      </a:lnTo>
                      <a:lnTo>
                        <a:pt x="0" y="55"/>
                      </a:lnTo>
                      <a:lnTo>
                        <a:pt x="0" y="57"/>
                      </a:lnTo>
                      <a:lnTo>
                        <a:pt x="0" y="59"/>
                      </a:lnTo>
                      <a:lnTo>
                        <a:pt x="0" y="60"/>
                      </a:lnTo>
                      <a:lnTo>
                        <a:pt x="1" y="61"/>
                      </a:lnTo>
                      <a:lnTo>
                        <a:pt x="3" y="62"/>
                      </a:lnTo>
                      <a:lnTo>
                        <a:pt x="4" y="63"/>
                      </a:lnTo>
                      <a:lnTo>
                        <a:pt x="5" y="64"/>
                      </a:lnTo>
                      <a:lnTo>
                        <a:pt x="7" y="64"/>
                      </a:lnTo>
                      <a:lnTo>
                        <a:pt x="9" y="64"/>
                      </a:lnTo>
                      <a:lnTo>
                        <a:pt x="11" y="64"/>
                      </a:lnTo>
                      <a:lnTo>
                        <a:pt x="14" y="64"/>
                      </a:lnTo>
                      <a:lnTo>
                        <a:pt x="14" y="61"/>
                      </a:lnTo>
                      <a:lnTo>
                        <a:pt x="11" y="61"/>
                      </a:lnTo>
                      <a:lnTo>
                        <a:pt x="10" y="61"/>
                      </a:lnTo>
                      <a:lnTo>
                        <a:pt x="8" y="60"/>
                      </a:lnTo>
                      <a:lnTo>
                        <a:pt x="6" y="59"/>
                      </a:lnTo>
                      <a:lnTo>
                        <a:pt x="5" y="59"/>
                      </a:lnTo>
                      <a:lnTo>
                        <a:pt x="4" y="59"/>
                      </a:lnTo>
                      <a:lnTo>
                        <a:pt x="3" y="58"/>
                      </a:lnTo>
                      <a:lnTo>
                        <a:pt x="3" y="57"/>
                      </a:lnTo>
                      <a:lnTo>
                        <a:pt x="3" y="56"/>
                      </a:lnTo>
                      <a:lnTo>
                        <a:pt x="3" y="55"/>
                      </a:lnTo>
                      <a:lnTo>
                        <a:pt x="4" y="54"/>
                      </a:lnTo>
                      <a:lnTo>
                        <a:pt x="5" y="52"/>
                      </a:lnTo>
                      <a:lnTo>
                        <a:pt x="5" y="50"/>
                      </a:lnTo>
                      <a:lnTo>
                        <a:pt x="6" y="49"/>
                      </a:lnTo>
                      <a:lnTo>
                        <a:pt x="7" y="47"/>
                      </a:lnTo>
                      <a:lnTo>
                        <a:pt x="8" y="45"/>
                      </a:lnTo>
                      <a:lnTo>
                        <a:pt x="10" y="43"/>
                      </a:lnTo>
                      <a:lnTo>
                        <a:pt x="11" y="40"/>
                      </a:lnTo>
                      <a:lnTo>
                        <a:pt x="12" y="38"/>
                      </a:lnTo>
                      <a:lnTo>
                        <a:pt x="13" y="35"/>
                      </a:lnTo>
                      <a:lnTo>
                        <a:pt x="15" y="32"/>
                      </a:lnTo>
                      <a:lnTo>
                        <a:pt x="16" y="30"/>
                      </a:lnTo>
                      <a:lnTo>
                        <a:pt x="17" y="27"/>
                      </a:lnTo>
                      <a:lnTo>
                        <a:pt x="19" y="23"/>
                      </a:lnTo>
                      <a:lnTo>
                        <a:pt x="20" y="20"/>
                      </a:lnTo>
                      <a:lnTo>
                        <a:pt x="21" y="17"/>
                      </a:lnTo>
                      <a:lnTo>
                        <a:pt x="22" y="13"/>
                      </a:lnTo>
                      <a:lnTo>
                        <a:pt x="23" y="10"/>
                      </a:lnTo>
                      <a:lnTo>
                        <a:pt x="25" y="6"/>
                      </a:lnTo>
                      <a:lnTo>
                        <a:pt x="25" y="2"/>
                      </a:lnTo>
                      <a:lnTo>
                        <a:pt x="25" y="1"/>
                      </a:lnTo>
                      <a:lnTo>
                        <a:pt x="25" y="0"/>
                      </a:lnTo>
                      <a:lnTo>
                        <a:pt x="24" y="0"/>
                      </a:lnTo>
                      <a:lnTo>
                        <a:pt x="23" y="0"/>
                      </a:lnTo>
                      <a:lnTo>
                        <a:pt x="2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0" name="Freeform 912">
                  <a:extLst>
                    <a:ext uri="{FF2B5EF4-FFF2-40B4-BE49-F238E27FC236}">
                      <a16:creationId xmlns:a16="http://schemas.microsoft.com/office/drawing/2014/main" id="{1D62AB1D-2426-6A9A-0849-84BB725063F0}"/>
                    </a:ext>
                  </a:extLst>
                </p:cNvPr>
                <p:cNvSpPr>
                  <a:spLocks/>
                </p:cNvSpPr>
                <p:nvPr/>
              </p:nvSpPr>
              <p:spPr bwMode="auto">
                <a:xfrm>
                  <a:off x="136" y="1806"/>
                  <a:ext cx="9" cy="28"/>
                </a:xfrm>
                <a:custGeom>
                  <a:avLst/>
                  <a:gdLst>
                    <a:gd name="T0" fmla="*/ 5 w 13"/>
                    <a:gd name="T1" fmla="*/ 1 h 39"/>
                    <a:gd name="T2" fmla="*/ 4 w 13"/>
                    <a:gd name="T3" fmla="*/ 1 h 39"/>
                    <a:gd name="T4" fmla="*/ 0 w 13"/>
                    <a:gd name="T5" fmla="*/ 19 h 39"/>
                    <a:gd name="T6" fmla="*/ 1 w 13"/>
                    <a:gd name="T7" fmla="*/ 20 h 39"/>
                    <a:gd name="T8" fmla="*/ 6 w 13"/>
                    <a:gd name="T9" fmla="*/ 1 h 39"/>
                    <a:gd name="T10" fmla="*/ 6 w 13"/>
                    <a:gd name="T11" fmla="*/ 2 h 39"/>
                    <a:gd name="T12" fmla="*/ 6 w 13"/>
                    <a:gd name="T13" fmla="*/ 1 h 39"/>
                    <a:gd name="T14" fmla="*/ 6 w 13"/>
                    <a:gd name="T15" fmla="*/ 1 h 39"/>
                    <a:gd name="T16" fmla="*/ 6 w 13"/>
                    <a:gd name="T17" fmla="*/ 1 h 39"/>
                    <a:gd name="T18" fmla="*/ 6 w 13"/>
                    <a:gd name="T19" fmla="*/ 1 h 39"/>
                    <a:gd name="T20" fmla="*/ 6 w 13"/>
                    <a:gd name="T21" fmla="*/ 1 h 39"/>
                    <a:gd name="T22" fmla="*/ 6 w 13"/>
                    <a:gd name="T23" fmla="*/ 1 h 39"/>
                    <a:gd name="T24" fmla="*/ 6 w 13"/>
                    <a:gd name="T25" fmla="*/ 0 h 39"/>
                    <a:gd name="T26" fmla="*/ 6 w 13"/>
                    <a:gd name="T27" fmla="*/ 0 h 39"/>
                    <a:gd name="T28" fmla="*/ 6 w 13"/>
                    <a:gd name="T29" fmla="*/ 0 h 39"/>
                    <a:gd name="T30" fmla="*/ 6 w 13"/>
                    <a:gd name="T31" fmla="*/ 0 h 39"/>
                    <a:gd name="T32" fmla="*/ 6 w 13"/>
                    <a:gd name="T33" fmla="*/ 0 h 39"/>
                    <a:gd name="T34" fmla="*/ 6 w 13"/>
                    <a:gd name="T35" fmla="*/ 0 h 39"/>
                    <a:gd name="T36" fmla="*/ 6 w 13"/>
                    <a:gd name="T37" fmla="*/ 0 h 39"/>
                    <a:gd name="T38" fmla="*/ 5 w 13"/>
                    <a:gd name="T39" fmla="*/ 0 h 39"/>
                    <a:gd name="T40" fmla="*/ 5 w 13"/>
                    <a:gd name="T41" fmla="*/ 1 h 39"/>
                    <a:gd name="T42" fmla="*/ 4 w 13"/>
                    <a:gd name="T43" fmla="*/ 1 h 39"/>
                    <a:gd name="T44" fmla="*/ 4 w 13"/>
                    <a:gd name="T45" fmla="*/ 1 h 39"/>
                    <a:gd name="T46" fmla="*/ 5 w 13"/>
                    <a:gd name="T47" fmla="*/ 1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 h="39">
                      <a:moveTo>
                        <a:pt x="10" y="1"/>
                      </a:moveTo>
                      <a:lnTo>
                        <a:pt x="9" y="2"/>
                      </a:lnTo>
                      <a:lnTo>
                        <a:pt x="0" y="37"/>
                      </a:lnTo>
                      <a:lnTo>
                        <a:pt x="2" y="39"/>
                      </a:lnTo>
                      <a:lnTo>
                        <a:pt x="12" y="2"/>
                      </a:lnTo>
                      <a:lnTo>
                        <a:pt x="12" y="4"/>
                      </a:lnTo>
                      <a:lnTo>
                        <a:pt x="12" y="2"/>
                      </a:lnTo>
                      <a:lnTo>
                        <a:pt x="13" y="2"/>
                      </a:lnTo>
                      <a:lnTo>
                        <a:pt x="12" y="2"/>
                      </a:lnTo>
                      <a:lnTo>
                        <a:pt x="12" y="1"/>
                      </a:lnTo>
                      <a:lnTo>
                        <a:pt x="12" y="0"/>
                      </a:lnTo>
                      <a:lnTo>
                        <a:pt x="11" y="0"/>
                      </a:lnTo>
                      <a:lnTo>
                        <a:pt x="10" y="0"/>
                      </a:lnTo>
                      <a:lnTo>
                        <a:pt x="10" y="1"/>
                      </a:lnTo>
                      <a:lnTo>
                        <a:pt x="9" y="1"/>
                      </a:lnTo>
                      <a:lnTo>
                        <a:pt x="9" y="2"/>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1" name="Freeform 913">
                  <a:extLst>
                    <a:ext uri="{FF2B5EF4-FFF2-40B4-BE49-F238E27FC236}">
                      <a16:creationId xmlns:a16="http://schemas.microsoft.com/office/drawing/2014/main" id="{A8CCB35A-7E30-6DEB-FBDC-08116262B538}"/>
                    </a:ext>
                  </a:extLst>
                </p:cNvPr>
                <p:cNvSpPr>
                  <a:spLocks/>
                </p:cNvSpPr>
                <p:nvPr/>
              </p:nvSpPr>
              <p:spPr bwMode="auto">
                <a:xfrm>
                  <a:off x="143" y="1788"/>
                  <a:ext cx="15" cy="21"/>
                </a:xfrm>
                <a:custGeom>
                  <a:avLst/>
                  <a:gdLst>
                    <a:gd name="T0" fmla="*/ 9 w 21"/>
                    <a:gd name="T1" fmla="*/ 0 h 29"/>
                    <a:gd name="T2" fmla="*/ 0 w 21"/>
                    <a:gd name="T3" fmla="*/ 14 h 29"/>
                    <a:gd name="T4" fmla="*/ 1 w 21"/>
                    <a:gd name="T5" fmla="*/ 15 h 29"/>
                    <a:gd name="T6" fmla="*/ 11 w 21"/>
                    <a:gd name="T7" fmla="*/ 2 h 29"/>
                    <a:gd name="T8" fmla="*/ 11 w 21"/>
                    <a:gd name="T9" fmla="*/ 1 h 29"/>
                    <a:gd name="T10" fmla="*/ 11 w 21"/>
                    <a:gd name="T11" fmla="*/ 1 h 29"/>
                    <a:gd name="T12" fmla="*/ 11 w 21"/>
                    <a:gd name="T13" fmla="*/ 1 h 29"/>
                    <a:gd name="T14" fmla="*/ 11 w 21"/>
                    <a:gd name="T15" fmla="*/ 1 h 29"/>
                    <a:gd name="T16" fmla="*/ 11 w 21"/>
                    <a:gd name="T17" fmla="*/ 1 h 29"/>
                    <a:gd name="T18" fmla="*/ 11 w 21"/>
                    <a:gd name="T19" fmla="*/ 1 h 29"/>
                    <a:gd name="T20" fmla="*/ 11 w 21"/>
                    <a:gd name="T21" fmla="*/ 1 h 29"/>
                    <a:gd name="T22" fmla="*/ 11 w 21"/>
                    <a:gd name="T23" fmla="*/ 0 h 29"/>
                    <a:gd name="T24" fmla="*/ 10 w 21"/>
                    <a:gd name="T25" fmla="*/ 0 h 29"/>
                    <a:gd name="T26" fmla="*/ 10 w 21"/>
                    <a:gd name="T27" fmla="*/ 0 h 29"/>
                    <a:gd name="T28" fmla="*/ 10 w 21"/>
                    <a:gd name="T29" fmla="*/ 0 h 29"/>
                    <a:gd name="T30" fmla="*/ 10 w 21"/>
                    <a:gd name="T31" fmla="*/ 0 h 29"/>
                    <a:gd name="T32" fmla="*/ 10 w 21"/>
                    <a:gd name="T33" fmla="*/ 0 h 29"/>
                    <a:gd name="T34" fmla="*/ 10 w 21"/>
                    <a:gd name="T35" fmla="*/ 0 h 29"/>
                    <a:gd name="T36" fmla="*/ 10 w 21"/>
                    <a:gd name="T37" fmla="*/ 0 h 29"/>
                    <a:gd name="T38" fmla="*/ 10 w 21"/>
                    <a:gd name="T39" fmla="*/ 0 h 29"/>
                    <a:gd name="T40" fmla="*/ 9 w 21"/>
                    <a:gd name="T41" fmla="*/ 0 h 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 h="29">
                      <a:moveTo>
                        <a:pt x="18" y="0"/>
                      </a:moveTo>
                      <a:lnTo>
                        <a:pt x="0" y="26"/>
                      </a:lnTo>
                      <a:lnTo>
                        <a:pt x="2" y="29"/>
                      </a:lnTo>
                      <a:lnTo>
                        <a:pt x="21" y="4"/>
                      </a:lnTo>
                      <a:lnTo>
                        <a:pt x="21" y="3"/>
                      </a:lnTo>
                      <a:lnTo>
                        <a:pt x="21" y="2"/>
                      </a:lnTo>
                      <a:lnTo>
                        <a:pt x="21" y="1"/>
                      </a:lnTo>
                      <a:lnTo>
                        <a:pt x="21" y="0"/>
                      </a:lnTo>
                      <a:lnTo>
                        <a:pt x="20" y="0"/>
                      </a:lnTo>
                      <a:lnTo>
                        <a:pt x="19"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2" name="Freeform 914">
                  <a:extLst>
                    <a:ext uri="{FF2B5EF4-FFF2-40B4-BE49-F238E27FC236}">
                      <a16:creationId xmlns:a16="http://schemas.microsoft.com/office/drawing/2014/main" id="{1D88A8A2-422F-DA2F-2E86-C080E69B0E61}"/>
                    </a:ext>
                  </a:extLst>
                </p:cNvPr>
                <p:cNvSpPr>
                  <a:spLocks/>
                </p:cNvSpPr>
                <p:nvPr/>
              </p:nvSpPr>
              <p:spPr bwMode="auto">
                <a:xfrm>
                  <a:off x="143" y="1695"/>
                  <a:ext cx="34" cy="12"/>
                </a:xfrm>
                <a:custGeom>
                  <a:avLst/>
                  <a:gdLst>
                    <a:gd name="T0" fmla="*/ 0 w 49"/>
                    <a:gd name="T1" fmla="*/ 2 h 16"/>
                    <a:gd name="T2" fmla="*/ 1 w 49"/>
                    <a:gd name="T3" fmla="*/ 4 h 16"/>
                    <a:gd name="T4" fmla="*/ 1 w 49"/>
                    <a:gd name="T5" fmla="*/ 6 h 16"/>
                    <a:gd name="T6" fmla="*/ 2 w 49"/>
                    <a:gd name="T7" fmla="*/ 8 h 16"/>
                    <a:gd name="T8" fmla="*/ 4 w 49"/>
                    <a:gd name="T9" fmla="*/ 8 h 16"/>
                    <a:gd name="T10" fmla="*/ 6 w 49"/>
                    <a:gd name="T11" fmla="*/ 8 h 16"/>
                    <a:gd name="T12" fmla="*/ 8 w 49"/>
                    <a:gd name="T13" fmla="*/ 8 h 16"/>
                    <a:gd name="T14" fmla="*/ 10 w 49"/>
                    <a:gd name="T15" fmla="*/ 8 h 16"/>
                    <a:gd name="T16" fmla="*/ 12 w 49"/>
                    <a:gd name="T17" fmla="*/ 8 h 16"/>
                    <a:gd name="T18" fmla="*/ 13 w 49"/>
                    <a:gd name="T19" fmla="*/ 8 h 16"/>
                    <a:gd name="T20" fmla="*/ 15 w 49"/>
                    <a:gd name="T21" fmla="*/ 8 h 16"/>
                    <a:gd name="T22" fmla="*/ 18 w 49"/>
                    <a:gd name="T23" fmla="*/ 8 h 16"/>
                    <a:gd name="T24" fmla="*/ 19 w 49"/>
                    <a:gd name="T25" fmla="*/ 8 h 16"/>
                    <a:gd name="T26" fmla="*/ 21 w 49"/>
                    <a:gd name="T27" fmla="*/ 8 h 16"/>
                    <a:gd name="T28" fmla="*/ 22 w 49"/>
                    <a:gd name="T29" fmla="*/ 8 h 16"/>
                    <a:gd name="T30" fmla="*/ 22 w 49"/>
                    <a:gd name="T31" fmla="*/ 8 h 16"/>
                    <a:gd name="T32" fmla="*/ 23 w 49"/>
                    <a:gd name="T33" fmla="*/ 8 h 16"/>
                    <a:gd name="T34" fmla="*/ 24 w 49"/>
                    <a:gd name="T35" fmla="*/ 8 h 16"/>
                    <a:gd name="T36" fmla="*/ 23 w 49"/>
                    <a:gd name="T37" fmla="*/ 6 h 16"/>
                    <a:gd name="T38" fmla="*/ 22 w 49"/>
                    <a:gd name="T39" fmla="*/ 6 h 16"/>
                    <a:gd name="T40" fmla="*/ 19 w 49"/>
                    <a:gd name="T41" fmla="*/ 6 h 16"/>
                    <a:gd name="T42" fmla="*/ 18 w 49"/>
                    <a:gd name="T43" fmla="*/ 6 h 16"/>
                    <a:gd name="T44" fmla="*/ 17 w 49"/>
                    <a:gd name="T45" fmla="*/ 6 h 16"/>
                    <a:gd name="T46" fmla="*/ 15 w 49"/>
                    <a:gd name="T47" fmla="*/ 6 h 16"/>
                    <a:gd name="T48" fmla="*/ 12 w 49"/>
                    <a:gd name="T49" fmla="*/ 6 h 16"/>
                    <a:gd name="T50" fmla="*/ 10 w 49"/>
                    <a:gd name="T51" fmla="*/ 6 h 16"/>
                    <a:gd name="T52" fmla="*/ 8 w 49"/>
                    <a:gd name="T53" fmla="*/ 7 h 16"/>
                    <a:gd name="T54" fmla="*/ 7 w 49"/>
                    <a:gd name="T55" fmla="*/ 6 h 16"/>
                    <a:gd name="T56" fmla="*/ 6 w 49"/>
                    <a:gd name="T57" fmla="*/ 6 h 16"/>
                    <a:gd name="T58" fmla="*/ 3 w 49"/>
                    <a:gd name="T59" fmla="*/ 6 h 16"/>
                    <a:gd name="T60" fmla="*/ 3 w 49"/>
                    <a:gd name="T61" fmla="*/ 5 h 16"/>
                    <a:gd name="T62" fmla="*/ 2 w 49"/>
                    <a:gd name="T63" fmla="*/ 4 h 16"/>
                    <a:gd name="T64" fmla="*/ 2 w 49"/>
                    <a:gd name="T65" fmla="*/ 2 h 16"/>
                    <a:gd name="T66" fmla="*/ 1 w 49"/>
                    <a:gd name="T67" fmla="*/ 2 h 16"/>
                    <a:gd name="T68" fmla="*/ 1 w 49"/>
                    <a:gd name="T69" fmla="*/ 2 h 16"/>
                    <a:gd name="T70" fmla="*/ 1 w 49"/>
                    <a:gd name="T71" fmla="*/ 1 h 16"/>
                    <a:gd name="T72" fmla="*/ 1 w 49"/>
                    <a:gd name="T73" fmla="*/ 1 h 16"/>
                    <a:gd name="T74" fmla="*/ 1 w 49"/>
                    <a:gd name="T75" fmla="*/ 1 h 16"/>
                    <a:gd name="T76" fmla="*/ 1 w 49"/>
                    <a:gd name="T77" fmla="*/ 0 h 16"/>
                    <a:gd name="T78" fmla="*/ 1 w 49"/>
                    <a:gd name="T79" fmla="*/ 1 h 16"/>
                    <a:gd name="T80" fmla="*/ 1 w 49"/>
                    <a:gd name="T81" fmla="*/ 1 h 16"/>
                    <a:gd name="T82" fmla="*/ 0 w 49"/>
                    <a:gd name="T83" fmla="*/ 1 h 16"/>
                    <a:gd name="T84" fmla="*/ 0 w 49"/>
                    <a:gd name="T85" fmla="*/ 2 h 16"/>
                    <a:gd name="T86" fmla="*/ 0 w 49"/>
                    <a:gd name="T87" fmla="*/ 2 h 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 h="16">
                      <a:moveTo>
                        <a:pt x="0" y="3"/>
                      </a:moveTo>
                      <a:lnTo>
                        <a:pt x="0" y="2"/>
                      </a:lnTo>
                      <a:lnTo>
                        <a:pt x="0" y="5"/>
                      </a:lnTo>
                      <a:lnTo>
                        <a:pt x="1" y="7"/>
                      </a:lnTo>
                      <a:lnTo>
                        <a:pt x="1" y="8"/>
                      </a:lnTo>
                      <a:lnTo>
                        <a:pt x="2" y="10"/>
                      </a:lnTo>
                      <a:lnTo>
                        <a:pt x="4" y="12"/>
                      </a:lnTo>
                      <a:lnTo>
                        <a:pt x="5" y="13"/>
                      </a:lnTo>
                      <a:lnTo>
                        <a:pt x="7" y="14"/>
                      </a:lnTo>
                      <a:lnTo>
                        <a:pt x="8" y="15"/>
                      </a:lnTo>
                      <a:lnTo>
                        <a:pt x="10" y="15"/>
                      </a:lnTo>
                      <a:lnTo>
                        <a:pt x="12" y="15"/>
                      </a:lnTo>
                      <a:lnTo>
                        <a:pt x="14" y="15"/>
                      </a:lnTo>
                      <a:lnTo>
                        <a:pt x="16" y="15"/>
                      </a:lnTo>
                      <a:lnTo>
                        <a:pt x="18" y="16"/>
                      </a:lnTo>
                      <a:lnTo>
                        <a:pt x="20" y="15"/>
                      </a:lnTo>
                      <a:lnTo>
                        <a:pt x="22" y="15"/>
                      </a:lnTo>
                      <a:lnTo>
                        <a:pt x="24" y="15"/>
                      </a:lnTo>
                      <a:lnTo>
                        <a:pt x="26" y="15"/>
                      </a:lnTo>
                      <a:lnTo>
                        <a:pt x="28" y="15"/>
                      </a:lnTo>
                      <a:lnTo>
                        <a:pt x="31" y="15"/>
                      </a:lnTo>
                      <a:lnTo>
                        <a:pt x="32" y="15"/>
                      </a:lnTo>
                      <a:lnTo>
                        <a:pt x="35" y="15"/>
                      </a:lnTo>
                      <a:lnTo>
                        <a:pt x="37" y="14"/>
                      </a:lnTo>
                      <a:lnTo>
                        <a:pt x="38" y="14"/>
                      </a:lnTo>
                      <a:lnTo>
                        <a:pt x="40" y="14"/>
                      </a:lnTo>
                      <a:lnTo>
                        <a:pt x="41" y="14"/>
                      </a:lnTo>
                      <a:lnTo>
                        <a:pt x="43" y="14"/>
                      </a:lnTo>
                      <a:lnTo>
                        <a:pt x="44" y="14"/>
                      </a:lnTo>
                      <a:lnTo>
                        <a:pt x="45" y="15"/>
                      </a:lnTo>
                      <a:lnTo>
                        <a:pt x="46" y="15"/>
                      </a:lnTo>
                      <a:lnTo>
                        <a:pt x="47" y="15"/>
                      </a:lnTo>
                      <a:lnTo>
                        <a:pt x="49" y="15"/>
                      </a:lnTo>
                      <a:lnTo>
                        <a:pt x="49" y="13"/>
                      </a:lnTo>
                      <a:lnTo>
                        <a:pt x="48" y="12"/>
                      </a:lnTo>
                      <a:lnTo>
                        <a:pt x="47" y="11"/>
                      </a:lnTo>
                      <a:lnTo>
                        <a:pt x="46" y="10"/>
                      </a:lnTo>
                      <a:lnTo>
                        <a:pt x="44" y="10"/>
                      </a:lnTo>
                      <a:lnTo>
                        <a:pt x="43" y="10"/>
                      </a:lnTo>
                      <a:lnTo>
                        <a:pt x="41" y="10"/>
                      </a:lnTo>
                      <a:lnTo>
                        <a:pt x="40" y="10"/>
                      </a:lnTo>
                      <a:lnTo>
                        <a:pt x="38" y="10"/>
                      </a:lnTo>
                      <a:lnTo>
                        <a:pt x="36" y="10"/>
                      </a:lnTo>
                      <a:lnTo>
                        <a:pt x="34" y="10"/>
                      </a:lnTo>
                      <a:lnTo>
                        <a:pt x="32" y="10"/>
                      </a:lnTo>
                      <a:lnTo>
                        <a:pt x="30" y="10"/>
                      </a:lnTo>
                      <a:lnTo>
                        <a:pt x="28" y="11"/>
                      </a:lnTo>
                      <a:lnTo>
                        <a:pt x="26" y="11"/>
                      </a:lnTo>
                      <a:lnTo>
                        <a:pt x="24" y="11"/>
                      </a:lnTo>
                      <a:lnTo>
                        <a:pt x="22" y="11"/>
                      </a:lnTo>
                      <a:lnTo>
                        <a:pt x="20" y="11"/>
                      </a:lnTo>
                      <a:lnTo>
                        <a:pt x="18" y="12"/>
                      </a:lnTo>
                      <a:lnTo>
                        <a:pt x="16" y="11"/>
                      </a:lnTo>
                      <a:lnTo>
                        <a:pt x="14" y="11"/>
                      </a:lnTo>
                      <a:lnTo>
                        <a:pt x="12" y="11"/>
                      </a:lnTo>
                      <a:lnTo>
                        <a:pt x="11" y="11"/>
                      </a:lnTo>
                      <a:lnTo>
                        <a:pt x="9" y="10"/>
                      </a:lnTo>
                      <a:lnTo>
                        <a:pt x="7" y="10"/>
                      </a:lnTo>
                      <a:lnTo>
                        <a:pt x="7" y="9"/>
                      </a:lnTo>
                      <a:lnTo>
                        <a:pt x="6" y="8"/>
                      </a:lnTo>
                      <a:lnTo>
                        <a:pt x="5" y="8"/>
                      </a:lnTo>
                      <a:lnTo>
                        <a:pt x="4" y="7"/>
                      </a:lnTo>
                      <a:lnTo>
                        <a:pt x="4" y="5"/>
                      </a:lnTo>
                      <a:lnTo>
                        <a:pt x="4" y="4"/>
                      </a:lnTo>
                      <a:lnTo>
                        <a:pt x="3" y="2"/>
                      </a:lnTo>
                      <a:lnTo>
                        <a:pt x="3" y="1"/>
                      </a:lnTo>
                      <a:lnTo>
                        <a:pt x="2" y="1"/>
                      </a:lnTo>
                      <a:lnTo>
                        <a:pt x="1" y="0"/>
                      </a:lnTo>
                      <a:lnTo>
                        <a:pt x="1" y="1"/>
                      </a:lnTo>
                      <a:lnTo>
                        <a:pt x="0" y="1"/>
                      </a:lnTo>
                      <a:lnTo>
                        <a:pt x="0" y="2"/>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3" name="Freeform 915">
                  <a:extLst>
                    <a:ext uri="{FF2B5EF4-FFF2-40B4-BE49-F238E27FC236}">
                      <a16:creationId xmlns:a16="http://schemas.microsoft.com/office/drawing/2014/main" id="{0FBA5A54-1605-2CAD-F62D-93E85ABE5831}"/>
                    </a:ext>
                  </a:extLst>
                </p:cNvPr>
                <p:cNvSpPr>
                  <a:spLocks/>
                </p:cNvSpPr>
                <p:nvPr/>
              </p:nvSpPr>
              <p:spPr bwMode="auto">
                <a:xfrm>
                  <a:off x="248" y="1134"/>
                  <a:ext cx="59" cy="96"/>
                </a:xfrm>
                <a:custGeom>
                  <a:avLst/>
                  <a:gdLst>
                    <a:gd name="T0" fmla="*/ 39 w 86"/>
                    <a:gd name="T1" fmla="*/ 0 h 135"/>
                    <a:gd name="T2" fmla="*/ 37 w 86"/>
                    <a:gd name="T3" fmla="*/ 3 h 135"/>
                    <a:gd name="T4" fmla="*/ 34 w 86"/>
                    <a:gd name="T5" fmla="*/ 6 h 135"/>
                    <a:gd name="T6" fmla="*/ 31 w 86"/>
                    <a:gd name="T7" fmla="*/ 11 h 135"/>
                    <a:gd name="T8" fmla="*/ 27 w 86"/>
                    <a:gd name="T9" fmla="*/ 15 h 135"/>
                    <a:gd name="T10" fmla="*/ 25 w 86"/>
                    <a:gd name="T11" fmla="*/ 18 h 135"/>
                    <a:gd name="T12" fmla="*/ 22 w 86"/>
                    <a:gd name="T13" fmla="*/ 23 h 135"/>
                    <a:gd name="T14" fmla="*/ 19 w 86"/>
                    <a:gd name="T15" fmla="*/ 27 h 135"/>
                    <a:gd name="T16" fmla="*/ 16 w 86"/>
                    <a:gd name="T17" fmla="*/ 33 h 135"/>
                    <a:gd name="T18" fmla="*/ 14 w 86"/>
                    <a:gd name="T19" fmla="*/ 37 h 135"/>
                    <a:gd name="T20" fmla="*/ 12 w 86"/>
                    <a:gd name="T21" fmla="*/ 41 h 135"/>
                    <a:gd name="T22" fmla="*/ 10 w 86"/>
                    <a:gd name="T23" fmla="*/ 46 h 135"/>
                    <a:gd name="T24" fmla="*/ 7 w 86"/>
                    <a:gd name="T25" fmla="*/ 51 h 135"/>
                    <a:gd name="T26" fmla="*/ 5 w 86"/>
                    <a:gd name="T27" fmla="*/ 55 h 135"/>
                    <a:gd name="T28" fmla="*/ 3 w 86"/>
                    <a:gd name="T29" fmla="*/ 60 h 135"/>
                    <a:gd name="T30" fmla="*/ 1 w 86"/>
                    <a:gd name="T31" fmla="*/ 64 h 135"/>
                    <a:gd name="T32" fmla="*/ 0 w 86"/>
                    <a:gd name="T33" fmla="*/ 68 h 135"/>
                    <a:gd name="T34" fmla="*/ 2 w 86"/>
                    <a:gd name="T35" fmla="*/ 67 h 135"/>
                    <a:gd name="T36" fmla="*/ 3 w 86"/>
                    <a:gd name="T37" fmla="*/ 63 h 135"/>
                    <a:gd name="T38" fmla="*/ 5 w 86"/>
                    <a:gd name="T39" fmla="*/ 58 h 135"/>
                    <a:gd name="T40" fmla="*/ 8 w 86"/>
                    <a:gd name="T41" fmla="*/ 54 h 135"/>
                    <a:gd name="T42" fmla="*/ 10 w 86"/>
                    <a:gd name="T43" fmla="*/ 50 h 135"/>
                    <a:gd name="T44" fmla="*/ 12 w 86"/>
                    <a:gd name="T45" fmla="*/ 45 h 135"/>
                    <a:gd name="T46" fmla="*/ 14 w 86"/>
                    <a:gd name="T47" fmla="*/ 41 h 135"/>
                    <a:gd name="T48" fmla="*/ 16 w 86"/>
                    <a:gd name="T49" fmla="*/ 36 h 135"/>
                    <a:gd name="T50" fmla="*/ 19 w 86"/>
                    <a:gd name="T51" fmla="*/ 31 h 135"/>
                    <a:gd name="T52" fmla="*/ 22 w 86"/>
                    <a:gd name="T53" fmla="*/ 27 h 135"/>
                    <a:gd name="T54" fmla="*/ 25 w 86"/>
                    <a:gd name="T55" fmla="*/ 22 h 135"/>
                    <a:gd name="T56" fmla="*/ 27 w 86"/>
                    <a:gd name="T57" fmla="*/ 18 h 135"/>
                    <a:gd name="T58" fmla="*/ 30 w 86"/>
                    <a:gd name="T59" fmla="*/ 14 h 135"/>
                    <a:gd name="T60" fmla="*/ 33 w 86"/>
                    <a:gd name="T61" fmla="*/ 10 h 135"/>
                    <a:gd name="T62" fmla="*/ 36 w 86"/>
                    <a:gd name="T63" fmla="*/ 6 h 135"/>
                    <a:gd name="T64" fmla="*/ 38 w 86"/>
                    <a:gd name="T65" fmla="*/ 4 h 135"/>
                    <a:gd name="T66" fmla="*/ 40 w 86"/>
                    <a:gd name="T67" fmla="*/ 1 h 135"/>
                    <a:gd name="T68" fmla="*/ 40 w 86"/>
                    <a:gd name="T69" fmla="*/ 1 h 135"/>
                    <a:gd name="T70" fmla="*/ 40 w 86"/>
                    <a:gd name="T71" fmla="*/ 1 h 135"/>
                    <a:gd name="T72" fmla="*/ 40 w 86"/>
                    <a:gd name="T73" fmla="*/ 1 h 135"/>
                    <a:gd name="T74" fmla="*/ 40 w 86"/>
                    <a:gd name="T75" fmla="*/ 1 h 135"/>
                    <a:gd name="T76" fmla="*/ 40 w 86"/>
                    <a:gd name="T77" fmla="*/ 0 h 135"/>
                    <a:gd name="T78" fmla="*/ 40 w 86"/>
                    <a:gd name="T79" fmla="*/ 0 h 135"/>
                    <a:gd name="T80" fmla="*/ 40 w 86"/>
                    <a:gd name="T81" fmla="*/ 0 h 135"/>
                    <a:gd name="T82" fmla="*/ 40 w 86"/>
                    <a:gd name="T83" fmla="*/ 0 h 135"/>
                    <a:gd name="T84" fmla="*/ 39 w 86"/>
                    <a:gd name="T85" fmla="*/ 0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6" h="135">
                      <a:moveTo>
                        <a:pt x="83" y="0"/>
                      </a:moveTo>
                      <a:lnTo>
                        <a:pt x="83" y="0"/>
                      </a:lnTo>
                      <a:lnTo>
                        <a:pt x="80" y="3"/>
                      </a:lnTo>
                      <a:lnTo>
                        <a:pt x="78" y="6"/>
                      </a:lnTo>
                      <a:lnTo>
                        <a:pt x="74" y="9"/>
                      </a:lnTo>
                      <a:lnTo>
                        <a:pt x="72" y="13"/>
                      </a:lnTo>
                      <a:lnTo>
                        <a:pt x="68" y="17"/>
                      </a:lnTo>
                      <a:lnTo>
                        <a:pt x="65" y="21"/>
                      </a:lnTo>
                      <a:lnTo>
                        <a:pt x="62" y="25"/>
                      </a:lnTo>
                      <a:lnTo>
                        <a:pt x="59" y="29"/>
                      </a:lnTo>
                      <a:lnTo>
                        <a:pt x="56" y="33"/>
                      </a:lnTo>
                      <a:lnTo>
                        <a:pt x="53" y="37"/>
                      </a:lnTo>
                      <a:lnTo>
                        <a:pt x="50" y="41"/>
                      </a:lnTo>
                      <a:lnTo>
                        <a:pt x="47" y="46"/>
                      </a:lnTo>
                      <a:lnTo>
                        <a:pt x="44" y="50"/>
                      </a:lnTo>
                      <a:lnTo>
                        <a:pt x="41" y="54"/>
                      </a:lnTo>
                      <a:lnTo>
                        <a:pt x="38" y="59"/>
                      </a:lnTo>
                      <a:lnTo>
                        <a:pt x="35" y="64"/>
                      </a:lnTo>
                      <a:lnTo>
                        <a:pt x="33" y="68"/>
                      </a:lnTo>
                      <a:lnTo>
                        <a:pt x="30" y="73"/>
                      </a:lnTo>
                      <a:lnTo>
                        <a:pt x="27" y="78"/>
                      </a:lnTo>
                      <a:lnTo>
                        <a:pt x="25" y="82"/>
                      </a:lnTo>
                      <a:lnTo>
                        <a:pt x="22" y="87"/>
                      </a:lnTo>
                      <a:lnTo>
                        <a:pt x="20" y="92"/>
                      </a:lnTo>
                      <a:lnTo>
                        <a:pt x="17" y="96"/>
                      </a:lnTo>
                      <a:lnTo>
                        <a:pt x="15" y="101"/>
                      </a:lnTo>
                      <a:lnTo>
                        <a:pt x="13" y="105"/>
                      </a:lnTo>
                      <a:lnTo>
                        <a:pt x="11" y="110"/>
                      </a:lnTo>
                      <a:lnTo>
                        <a:pt x="9" y="114"/>
                      </a:lnTo>
                      <a:lnTo>
                        <a:pt x="7" y="118"/>
                      </a:lnTo>
                      <a:lnTo>
                        <a:pt x="5" y="122"/>
                      </a:lnTo>
                      <a:lnTo>
                        <a:pt x="3" y="126"/>
                      </a:lnTo>
                      <a:lnTo>
                        <a:pt x="2" y="130"/>
                      </a:lnTo>
                      <a:lnTo>
                        <a:pt x="0" y="134"/>
                      </a:lnTo>
                      <a:lnTo>
                        <a:pt x="3" y="135"/>
                      </a:lnTo>
                      <a:lnTo>
                        <a:pt x="5" y="132"/>
                      </a:lnTo>
                      <a:lnTo>
                        <a:pt x="6" y="128"/>
                      </a:lnTo>
                      <a:lnTo>
                        <a:pt x="8" y="124"/>
                      </a:lnTo>
                      <a:lnTo>
                        <a:pt x="10" y="120"/>
                      </a:lnTo>
                      <a:lnTo>
                        <a:pt x="11" y="116"/>
                      </a:lnTo>
                      <a:lnTo>
                        <a:pt x="14" y="112"/>
                      </a:lnTo>
                      <a:lnTo>
                        <a:pt x="16" y="107"/>
                      </a:lnTo>
                      <a:lnTo>
                        <a:pt x="18" y="103"/>
                      </a:lnTo>
                      <a:lnTo>
                        <a:pt x="20" y="99"/>
                      </a:lnTo>
                      <a:lnTo>
                        <a:pt x="22" y="94"/>
                      </a:lnTo>
                      <a:lnTo>
                        <a:pt x="25" y="89"/>
                      </a:lnTo>
                      <a:lnTo>
                        <a:pt x="27" y="85"/>
                      </a:lnTo>
                      <a:lnTo>
                        <a:pt x="30" y="80"/>
                      </a:lnTo>
                      <a:lnTo>
                        <a:pt x="33" y="76"/>
                      </a:lnTo>
                      <a:lnTo>
                        <a:pt x="35" y="71"/>
                      </a:lnTo>
                      <a:lnTo>
                        <a:pt x="38" y="66"/>
                      </a:lnTo>
                      <a:lnTo>
                        <a:pt x="41" y="62"/>
                      </a:lnTo>
                      <a:lnTo>
                        <a:pt x="43" y="57"/>
                      </a:lnTo>
                      <a:lnTo>
                        <a:pt x="46" y="53"/>
                      </a:lnTo>
                      <a:lnTo>
                        <a:pt x="49" y="48"/>
                      </a:lnTo>
                      <a:lnTo>
                        <a:pt x="52" y="44"/>
                      </a:lnTo>
                      <a:lnTo>
                        <a:pt x="55" y="40"/>
                      </a:lnTo>
                      <a:lnTo>
                        <a:pt x="58" y="35"/>
                      </a:lnTo>
                      <a:lnTo>
                        <a:pt x="62" y="31"/>
                      </a:lnTo>
                      <a:lnTo>
                        <a:pt x="64" y="27"/>
                      </a:lnTo>
                      <a:lnTo>
                        <a:pt x="67" y="23"/>
                      </a:lnTo>
                      <a:lnTo>
                        <a:pt x="70" y="20"/>
                      </a:lnTo>
                      <a:lnTo>
                        <a:pt x="73" y="16"/>
                      </a:lnTo>
                      <a:lnTo>
                        <a:pt x="77" y="13"/>
                      </a:lnTo>
                      <a:lnTo>
                        <a:pt x="79" y="9"/>
                      </a:lnTo>
                      <a:lnTo>
                        <a:pt x="82" y="7"/>
                      </a:lnTo>
                      <a:lnTo>
                        <a:pt x="85" y="4"/>
                      </a:lnTo>
                      <a:lnTo>
                        <a:pt x="85" y="3"/>
                      </a:lnTo>
                      <a:lnTo>
                        <a:pt x="85" y="4"/>
                      </a:lnTo>
                      <a:lnTo>
                        <a:pt x="85" y="3"/>
                      </a:lnTo>
                      <a:lnTo>
                        <a:pt x="86" y="3"/>
                      </a:lnTo>
                      <a:lnTo>
                        <a:pt x="86" y="2"/>
                      </a:lnTo>
                      <a:lnTo>
                        <a:pt x="86" y="1"/>
                      </a:lnTo>
                      <a:lnTo>
                        <a:pt x="85" y="0"/>
                      </a:lnTo>
                      <a:lnTo>
                        <a:pt x="84" y="0"/>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4" name="Freeform 916">
                  <a:extLst>
                    <a:ext uri="{FF2B5EF4-FFF2-40B4-BE49-F238E27FC236}">
                      <a16:creationId xmlns:a16="http://schemas.microsoft.com/office/drawing/2014/main" id="{E9C7C8CE-B92B-072D-CF58-8025D37A6DE4}"/>
                    </a:ext>
                  </a:extLst>
                </p:cNvPr>
                <p:cNvSpPr>
                  <a:spLocks/>
                </p:cNvSpPr>
                <p:nvPr/>
              </p:nvSpPr>
              <p:spPr bwMode="auto">
                <a:xfrm>
                  <a:off x="305" y="1133"/>
                  <a:ext cx="21" cy="13"/>
                </a:xfrm>
                <a:custGeom>
                  <a:avLst/>
                  <a:gdLst>
                    <a:gd name="T0" fmla="*/ 13 w 30"/>
                    <a:gd name="T1" fmla="*/ 7 h 19"/>
                    <a:gd name="T2" fmla="*/ 13 w 30"/>
                    <a:gd name="T3" fmla="*/ 7 h 19"/>
                    <a:gd name="T4" fmla="*/ 13 w 30"/>
                    <a:gd name="T5" fmla="*/ 7 h 19"/>
                    <a:gd name="T6" fmla="*/ 12 w 30"/>
                    <a:gd name="T7" fmla="*/ 7 h 19"/>
                    <a:gd name="T8" fmla="*/ 11 w 30"/>
                    <a:gd name="T9" fmla="*/ 7 h 19"/>
                    <a:gd name="T10" fmla="*/ 11 w 30"/>
                    <a:gd name="T11" fmla="*/ 5 h 19"/>
                    <a:gd name="T12" fmla="*/ 9 w 30"/>
                    <a:gd name="T13" fmla="*/ 5 h 19"/>
                    <a:gd name="T14" fmla="*/ 8 w 30"/>
                    <a:gd name="T15" fmla="*/ 4 h 19"/>
                    <a:gd name="T16" fmla="*/ 8 w 30"/>
                    <a:gd name="T17" fmla="*/ 3 h 19"/>
                    <a:gd name="T18" fmla="*/ 6 w 30"/>
                    <a:gd name="T19" fmla="*/ 2 h 19"/>
                    <a:gd name="T20" fmla="*/ 6 w 30"/>
                    <a:gd name="T21" fmla="*/ 2 h 19"/>
                    <a:gd name="T22" fmla="*/ 4 w 30"/>
                    <a:gd name="T23" fmla="*/ 1 h 19"/>
                    <a:gd name="T24" fmla="*/ 4 w 30"/>
                    <a:gd name="T25" fmla="*/ 0 h 19"/>
                    <a:gd name="T26" fmla="*/ 3 w 30"/>
                    <a:gd name="T27" fmla="*/ 0 h 19"/>
                    <a:gd name="T28" fmla="*/ 1 w 30"/>
                    <a:gd name="T29" fmla="*/ 0 h 19"/>
                    <a:gd name="T30" fmla="*/ 1 w 30"/>
                    <a:gd name="T31" fmla="*/ 1 h 19"/>
                    <a:gd name="T32" fmla="*/ 1 w 30"/>
                    <a:gd name="T33" fmla="*/ 2 h 19"/>
                    <a:gd name="T34" fmla="*/ 1 w 30"/>
                    <a:gd name="T35" fmla="*/ 2 h 19"/>
                    <a:gd name="T36" fmla="*/ 2 w 30"/>
                    <a:gd name="T37" fmla="*/ 2 h 19"/>
                    <a:gd name="T38" fmla="*/ 3 w 30"/>
                    <a:gd name="T39" fmla="*/ 2 h 19"/>
                    <a:gd name="T40" fmla="*/ 4 w 30"/>
                    <a:gd name="T41" fmla="*/ 2 h 19"/>
                    <a:gd name="T42" fmla="*/ 4 w 30"/>
                    <a:gd name="T43" fmla="*/ 3 h 19"/>
                    <a:gd name="T44" fmla="*/ 5 w 30"/>
                    <a:gd name="T45" fmla="*/ 3 h 19"/>
                    <a:gd name="T46" fmla="*/ 6 w 30"/>
                    <a:gd name="T47" fmla="*/ 4 h 19"/>
                    <a:gd name="T48" fmla="*/ 7 w 30"/>
                    <a:gd name="T49" fmla="*/ 5 h 19"/>
                    <a:gd name="T50" fmla="*/ 8 w 30"/>
                    <a:gd name="T51" fmla="*/ 6 h 19"/>
                    <a:gd name="T52" fmla="*/ 9 w 30"/>
                    <a:gd name="T53" fmla="*/ 7 h 19"/>
                    <a:gd name="T54" fmla="*/ 10 w 30"/>
                    <a:gd name="T55" fmla="*/ 8 h 19"/>
                    <a:gd name="T56" fmla="*/ 11 w 30"/>
                    <a:gd name="T57" fmla="*/ 8 h 19"/>
                    <a:gd name="T58" fmla="*/ 12 w 30"/>
                    <a:gd name="T59" fmla="*/ 9 h 19"/>
                    <a:gd name="T60" fmla="*/ 13 w 30"/>
                    <a:gd name="T61" fmla="*/ 9 h 19"/>
                    <a:gd name="T62" fmla="*/ 14 w 30"/>
                    <a:gd name="T63" fmla="*/ 9 h 19"/>
                    <a:gd name="T64" fmla="*/ 15 w 30"/>
                    <a:gd name="T65" fmla="*/ 8 h 19"/>
                    <a:gd name="T66" fmla="*/ 15 w 30"/>
                    <a:gd name="T67" fmla="*/ 8 h 19"/>
                    <a:gd name="T68" fmla="*/ 15 w 30"/>
                    <a:gd name="T69" fmla="*/ 8 h 19"/>
                    <a:gd name="T70" fmla="*/ 15 w 30"/>
                    <a:gd name="T71" fmla="*/ 8 h 19"/>
                    <a:gd name="T72" fmla="*/ 15 w 30"/>
                    <a:gd name="T73" fmla="*/ 7 h 19"/>
                    <a:gd name="T74" fmla="*/ 14 w 30"/>
                    <a:gd name="T75" fmla="*/ 7 h 19"/>
                    <a:gd name="T76" fmla="*/ 14 w 30"/>
                    <a:gd name="T77" fmla="*/ 7 h 19"/>
                    <a:gd name="T78" fmla="*/ 14 w 30"/>
                    <a:gd name="T79" fmla="*/ 7 h 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0" h="19">
                      <a:moveTo>
                        <a:pt x="27" y="15"/>
                      </a:moveTo>
                      <a:lnTo>
                        <a:pt x="27" y="15"/>
                      </a:lnTo>
                      <a:lnTo>
                        <a:pt x="26" y="15"/>
                      </a:lnTo>
                      <a:lnTo>
                        <a:pt x="25" y="15"/>
                      </a:lnTo>
                      <a:lnTo>
                        <a:pt x="24" y="15"/>
                      </a:lnTo>
                      <a:lnTo>
                        <a:pt x="24" y="14"/>
                      </a:lnTo>
                      <a:lnTo>
                        <a:pt x="22" y="14"/>
                      </a:lnTo>
                      <a:lnTo>
                        <a:pt x="22" y="13"/>
                      </a:lnTo>
                      <a:lnTo>
                        <a:pt x="21" y="12"/>
                      </a:lnTo>
                      <a:lnTo>
                        <a:pt x="20" y="12"/>
                      </a:lnTo>
                      <a:lnTo>
                        <a:pt x="19" y="10"/>
                      </a:lnTo>
                      <a:lnTo>
                        <a:pt x="18" y="10"/>
                      </a:lnTo>
                      <a:lnTo>
                        <a:pt x="17" y="9"/>
                      </a:lnTo>
                      <a:lnTo>
                        <a:pt x="16" y="8"/>
                      </a:lnTo>
                      <a:lnTo>
                        <a:pt x="15" y="7"/>
                      </a:lnTo>
                      <a:lnTo>
                        <a:pt x="14" y="6"/>
                      </a:lnTo>
                      <a:lnTo>
                        <a:pt x="13" y="5"/>
                      </a:lnTo>
                      <a:lnTo>
                        <a:pt x="12" y="4"/>
                      </a:lnTo>
                      <a:lnTo>
                        <a:pt x="11" y="4"/>
                      </a:lnTo>
                      <a:lnTo>
                        <a:pt x="10" y="3"/>
                      </a:lnTo>
                      <a:lnTo>
                        <a:pt x="9" y="2"/>
                      </a:lnTo>
                      <a:lnTo>
                        <a:pt x="8" y="2"/>
                      </a:lnTo>
                      <a:lnTo>
                        <a:pt x="7" y="0"/>
                      </a:lnTo>
                      <a:lnTo>
                        <a:pt x="6" y="0"/>
                      </a:lnTo>
                      <a:lnTo>
                        <a:pt x="5" y="0"/>
                      </a:lnTo>
                      <a:lnTo>
                        <a:pt x="4" y="0"/>
                      </a:lnTo>
                      <a:lnTo>
                        <a:pt x="2" y="0"/>
                      </a:lnTo>
                      <a:lnTo>
                        <a:pt x="1" y="1"/>
                      </a:lnTo>
                      <a:lnTo>
                        <a:pt x="0" y="2"/>
                      </a:lnTo>
                      <a:lnTo>
                        <a:pt x="1" y="5"/>
                      </a:lnTo>
                      <a:lnTo>
                        <a:pt x="2" y="4"/>
                      </a:lnTo>
                      <a:lnTo>
                        <a:pt x="3" y="4"/>
                      </a:lnTo>
                      <a:lnTo>
                        <a:pt x="4" y="4"/>
                      </a:lnTo>
                      <a:lnTo>
                        <a:pt x="5" y="4"/>
                      </a:lnTo>
                      <a:lnTo>
                        <a:pt x="6" y="5"/>
                      </a:lnTo>
                      <a:lnTo>
                        <a:pt x="7" y="5"/>
                      </a:lnTo>
                      <a:lnTo>
                        <a:pt x="7" y="6"/>
                      </a:lnTo>
                      <a:lnTo>
                        <a:pt x="9" y="6"/>
                      </a:lnTo>
                      <a:lnTo>
                        <a:pt x="9" y="7"/>
                      </a:lnTo>
                      <a:lnTo>
                        <a:pt x="10" y="8"/>
                      </a:lnTo>
                      <a:lnTo>
                        <a:pt x="12" y="9"/>
                      </a:lnTo>
                      <a:lnTo>
                        <a:pt x="13" y="10"/>
                      </a:lnTo>
                      <a:lnTo>
                        <a:pt x="14" y="12"/>
                      </a:lnTo>
                      <a:lnTo>
                        <a:pt x="15" y="12"/>
                      </a:lnTo>
                      <a:lnTo>
                        <a:pt x="16" y="13"/>
                      </a:lnTo>
                      <a:lnTo>
                        <a:pt x="17" y="14"/>
                      </a:lnTo>
                      <a:lnTo>
                        <a:pt x="18" y="15"/>
                      </a:lnTo>
                      <a:lnTo>
                        <a:pt x="19" y="16"/>
                      </a:lnTo>
                      <a:lnTo>
                        <a:pt x="20" y="16"/>
                      </a:lnTo>
                      <a:lnTo>
                        <a:pt x="21" y="17"/>
                      </a:lnTo>
                      <a:lnTo>
                        <a:pt x="22" y="18"/>
                      </a:lnTo>
                      <a:lnTo>
                        <a:pt x="23" y="18"/>
                      </a:lnTo>
                      <a:lnTo>
                        <a:pt x="24" y="19"/>
                      </a:lnTo>
                      <a:lnTo>
                        <a:pt x="25" y="19"/>
                      </a:lnTo>
                      <a:lnTo>
                        <a:pt x="26" y="19"/>
                      </a:lnTo>
                      <a:lnTo>
                        <a:pt x="27" y="19"/>
                      </a:lnTo>
                      <a:lnTo>
                        <a:pt x="28" y="19"/>
                      </a:lnTo>
                      <a:lnTo>
                        <a:pt x="29" y="18"/>
                      </a:lnTo>
                      <a:lnTo>
                        <a:pt x="30" y="18"/>
                      </a:lnTo>
                      <a:lnTo>
                        <a:pt x="30" y="17"/>
                      </a:lnTo>
                      <a:lnTo>
                        <a:pt x="30" y="16"/>
                      </a:lnTo>
                      <a:lnTo>
                        <a:pt x="30" y="15"/>
                      </a:lnTo>
                      <a:lnTo>
                        <a:pt x="29" y="14"/>
                      </a:lnTo>
                      <a:lnTo>
                        <a:pt x="28" y="14"/>
                      </a:lnTo>
                      <a:lnTo>
                        <a:pt x="2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5" name="Freeform 917">
                  <a:extLst>
                    <a:ext uri="{FF2B5EF4-FFF2-40B4-BE49-F238E27FC236}">
                      <a16:creationId xmlns:a16="http://schemas.microsoft.com/office/drawing/2014/main" id="{B61B914F-450C-A5FD-B683-C562C50110EB}"/>
                    </a:ext>
                  </a:extLst>
                </p:cNvPr>
                <p:cNvSpPr>
                  <a:spLocks/>
                </p:cNvSpPr>
                <p:nvPr/>
              </p:nvSpPr>
              <p:spPr bwMode="auto">
                <a:xfrm>
                  <a:off x="324" y="1031"/>
                  <a:ext cx="139" cy="114"/>
                </a:xfrm>
                <a:custGeom>
                  <a:avLst/>
                  <a:gdLst>
                    <a:gd name="T0" fmla="*/ 92 w 200"/>
                    <a:gd name="T1" fmla="*/ 4 h 159"/>
                    <a:gd name="T2" fmla="*/ 86 w 200"/>
                    <a:gd name="T3" fmla="*/ 11 h 159"/>
                    <a:gd name="T4" fmla="*/ 81 w 200"/>
                    <a:gd name="T5" fmla="*/ 17 h 159"/>
                    <a:gd name="T6" fmla="*/ 74 w 200"/>
                    <a:gd name="T7" fmla="*/ 23 h 159"/>
                    <a:gd name="T8" fmla="*/ 69 w 200"/>
                    <a:gd name="T9" fmla="*/ 28 h 159"/>
                    <a:gd name="T10" fmla="*/ 63 w 200"/>
                    <a:gd name="T11" fmla="*/ 34 h 159"/>
                    <a:gd name="T12" fmla="*/ 56 w 200"/>
                    <a:gd name="T13" fmla="*/ 38 h 159"/>
                    <a:gd name="T14" fmla="*/ 49 w 200"/>
                    <a:gd name="T15" fmla="*/ 43 h 159"/>
                    <a:gd name="T16" fmla="*/ 43 w 200"/>
                    <a:gd name="T17" fmla="*/ 47 h 159"/>
                    <a:gd name="T18" fmla="*/ 37 w 200"/>
                    <a:gd name="T19" fmla="*/ 51 h 159"/>
                    <a:gd name="T20" fmla="*/ 31 w 200"/>
                    <a:gd name="T21" fmla="*/ 55 h 159"/>
                    <a:gd name="T22" fmla="*/ 24 w 200"/>
                    <a:gd name="T23" fmla="*/ 59 h 159"/>
                    <a:gd name="T24" fmla="*/ 19 w 200"/>
                    <a:gd name="T25" fmla="*/ 64 h 159"/>
                    <a:gd name="T26" fmla="*/ 13 w 200"/>
                    <a:gd name="T27" fmla="*/ 68 h 159"/>
                    <a:gd name="T28" fmla="*/ 8 w 200"/>
                    <a:gd name="T29" fmla="*/ 73 h 159"/>
                    <a:gd name="T30" fmla="*/ 3 w 200"/>
                    <a:gd name="T31" fmla="*/ 77 h 159"/>
                    <a:gd name="T32" fmla="*/ 1 w 200"/>
                    <a:gd name="T33" fmla="*/ 82 h 159"/>
                    <a:gd name="T34" fmla="*/ 6 w 200"/>
                    <a:gd name="T35" fmla="*/ 77 h 159"/>
                    <a:gd name="T36" fmla="*/ 11 w 200"/>
                    <a:gd name="T37" fmla="*/ 72 h 159"/>
                    <a:gd name="T38" fmla="*/ 17 w 200"/>
                    <a:gd name="T39" fmla="*/ 68 h 159"/>
                    <a:gd name="T40" fmla="*/ 22 w 200"/>
                    <a:gd name="T41" fmla="*/ 63 h 159"/>
                    <a:gd name="T42" fmla="*/ 28 w 200"/>
                    <a:gd name="T43" fmla="*/ 59 h 159"/>
                    <a:gd name="T44" fmla="*/ 34 w 200"/>
                    <a:gd name="T45" fmla="*/ 55 h 159"/>
                    <a:gd name="T46" fmla="*/ 40 w 200"/>
                    <a:gd name="T47" fmla="*/ 51 h 159"/>
                    <a:gd name="T48" fmla="*/ 47 w 200"/>
                    <a:gd name="T49" fmla="*/ 47 h 159"/>
                    <a:gd name="T50" fmla="*/ 53 w 200"/>
                    <a:gd name="T51" fmla="*/ 42 h 159"/>
                    <a:gd name="T52" fmla="*/ 60 w 200"/>
                    <a:gd name="T53" fmla="*/ 37 h 159"/>
                    <a:gd name="T54" fmla="*/ 66 w 200"/>
                    <a:gd name="T55" fmla="*/ 33 h 159"/>
                    <a:gd name="T56" fmla="*/ 72 w 200"/>
                    <a:gd name="T57" fmla="*/ 27 h 159"/>
                    <a:gd name="T58" fmla="*/ 79 w 200"/>
                    <a:gd name="T59" fmla="*/ 22 h 159"/>
                    <a:gd name="T60" fmla="*/ 85 w 200"/>
                    <a:gd name="T61" fmla="*/ 16 h 159"/>
                    <a:gd name="T62" fmla="*/ 90 w 200"/>
                    <a:gd name="T63" fmla="*/ 9 h 159"/>
                    <a:gd name="T64" fmla="*/ 96 w 200"/>
                    <a:gd name="T65" fmla="*/ 1 h 159"/>
                    <a:gd name="T66" fmla="*/ 96 w 200"/>
                    <a:gd name="T67" fmla="*/ 1 h 159"/>
                    <a:gd name="T68" fmla="*/ 97 w 200"/>
                    <a:gd name="T69" fmla="*/ 1 h 159"/>
                    <a:gd name="T70" fmla="*/ 96 w 200"/>
                    <a:gd name="T71" fmla="*/ 1 h 159"/>
                    <a:gd name="T72" fmla="*/ 96 w 200"/>
                    <a:gd name="T73" fmla="*/ 0 h 159"/>
                    <a:gd name="T74" fmla="*/ 96 w 200"/>
                    <a:gd name="T75" fmla="*/ 0 h 159"/>
                    <a:gd name="T76" fmla="*/ 96 w 200"/>
                    <a:gd name="T77" fmla="*/ 0 h 159"/>
                    <a:gd name="T78" fmla="*/ 95 w 200"/>
                    <a:gd name="T79" fmla="*/ 0 h 1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00" h="159">
                      <a:moveTo>
                        <a:pt x="197" y="0"/>
                      </a:moveTo>
                      <a:lnTo>
                        <a:pt x="191" y="7"/>
                      </a:lnTo>
                      <a:lnTo>
                        <a:pt x="185" y="14"/>
                      </a:lnTo>
                      <a:lnTo>
                        <a:pt x="179" y="21"/>
                      </a:lnTo>
                      <a:lnTo>
                        <a:pt x="173" y="27"/>
                      </a:lnTo>
                      <a:lnTo>
                        <a:pt x="167" y="33"/>
                      </a:lnTo>
                      <a:lnTo>
                        <a:pt x="161" y="39"/>
                      </a:lnTo>
                      <a:lnTo>
                        <a:pt x="154" y="44"/>
                      </a:lnTo>
                      <a:lnTo>
                        <a:pt x="148" y="49"/>
                      </a:lnTo>
                      <a:lnTo>
                        <a:pt x="142" y="55"/>
                      </a:lnTo>
                      <a:lnTo>
                        <a:pt x="135" y="60"/>
                      </a:lnTo>
                      <a:lnTo>
                        <a:pt x="129" y="65"/>
                      </a:lnTo>
                      <a:lnTo>
                        <a:pt x="122" y="69"/>
                      </a:lnTo>
                      <a:lnTo>
                        <a:pt x="115" y="74"/>
                      </a:lnTo>
                      <a:lnTo>
                        <a:pt x="109" y="78"/>
                      </a:lnTo>
                      <a:lnTo>
                        <a:pt x="102" y="83"/>
                      </a:lnTo>
                      <a:lnTo>
                        <a:pt x="96" y="87"/>
                      </a:lnTo>
                      <a:lnTo>
                        <a:pt x="89" y="91"/>
                      </a:lnTo>
                      <a:lnTo>
                        <a:pt x="82" y="95"/>
                      </a:lnTo>
                      <a:lnTo>
                        <a:pt x="76" y="99"/>
                      </a:lnTo>
                      <a:lnTo>
                        <a:pt x="69" y="103"/>
                      </a:lnTo>
                      <a:lnTo>
                        <a:pt x="63" y="108"/>
                      </a:lnTo>
                      <a:lnTo>
                        <a:pt x="57" y="111"/>
                      </a:lnTo>
                      <a:lnTo>
                        <a:pt x="51" y="115"/>
                      </a:lnTo>
                      <a:lnTo>
                        <a:pt x="45" y="120"/>
                      </a:lnTo>
                      <a:lnTo>
                        <a:pt x="39" y="124"/>
                      </a:lnTo>
                      <a:lnTo>
                        <a:pt x="33" y="128"/>
                      </a:lnTo>
                      <a:lnTo>
                        <a:pt x="27" y="133"/>
                      </a:lnTo>
                      <a:lnTo>
                        <a:pt x="22" y="137"/>
                      </a:lnTo>
                      <a:lnTo>
                        <a:pt x="16" y="142"/>
                      </a:lnTo>
                      <a:lnTo>
                        <a:pt x="11" y="146"/>
                      </a:lnTo>
                      <a:lnTo>
                        <a:pt x="6" y="151"/>
                      </a:lnTo>
                      <a:lnTo>
                        <a:pt x="0" y="156"/>
                      </a:lnTo>
                      <a:lnTo>
                        <a:pt x="3" y="159"/>
                      </a:lnTo>
                      <a:lnTo>
                        <a:pt x="8" y="154"/>
                      </a:lnTo>
                      <a:lnTo>
                        <a:pt x="13" y="150"/>
                      </a:lnTo>
                      <a:lnTo>
                        <a:pt x="18" y="145"/>
                      </a:lnTo>
                      <a:lnTo>
                        <a:pt x="23" y="140"/>
                      </a:lnTo>
                      <a:lnTo>
                        <a:pt x="29" y="136"/>
                      </a:lnTo>
                      <a:lnTo>
                        <a:pt x="35" y="132"/>
                      </a:lnTo>
                      <a:lnTo>
                        <a:pt x="40" y="128"/>
                      </a:lnTo>
                      <a:lnTo>
                        <a:pt x="46" y="123"/>
                      </a:lnTo>
                      <a:lnTo>
                        <a:pt x="52" y="119"/>
                      </a:lnTo>
                      <a:lnTo>
                        <a:pt x="59" y="115"/>
                      </a:lnTo>
                      <a:lnTo>
                        <a:pt x="65" y="111"/>
                      </a:lnTo>
                      <a:lnTo>
                        <a:pt x="71" y="107"/>
                      </a:lnTo>
                      <a:lnTo>
                        <a:pt x="77" y="103"/>
                      </a:lnTo>
                      <a:lnTo>
                        <a:pt x="84" y="99"/>
                      </a:lnTo>
                      <a:lnTo>
                        <a:pt x="91" y="95"/>
                      </a:lnTo>
                      <a:lnTo>
                        <a:pt x="97" y="90"/>
                      </a:lnTo>
                      <a:lnTo>
                        <a:pt x="104" y="87"/>
                      </a:lnTo>
                      <a:lnTo>
                        <a:pt x="110" y="82"/>
                      </a:lnTo>
                      <a:lnTo>
                        <a:pt x="117" y="78"/>
                      </a:lnTo>
                      <a:lnTo>
                        <a:pt x="124" y="73"/>
                      </a:lnTo>
                      <a:lnTo>
                        <a:pt x="130" y="68"/>
                      </a:lnTo>
                      <a:lnTo>
                        <a:pt x="137" y="64"/>
                      </a:lnTo>
                      <a:lnTo>
                        <a:pt x="143" y="58"/>
                      </a:lnTo>
                      <a:lnTo>
                        <a:pt x="150" y="53"/>
                      </a:lnTo>
                      <a:lnTo>
                        <a:pt x="156" y="48"/>
                      </a:lnTo>
                      <a:lnTo>
                        <a:pt x="163" y="42"/>
                      </a:lnTo>
                      <a:lnTo>
                        <a:pt x="169" y="37"/>
                      </a:lnTo>
                      <a:lnTo>
                        <a:pt x="175" y="31"/>
                      </a:lnTo>
                      <a:lnTo>
                        <a:pt x="181" y="24"/>
                      </a:lnTo>
                      <a:lnTo>
                        <a:pt x="187" y="17"/>
                      </a:lnTo>
                      <a:lnTo>
                        <a:pt x="193" y="11"/>
                      </a:lnTo>
                      <a:lnTo>
                        <a:pt x="199" y="3"/>
                      </a:lnTo>
                      <a:lnTo>
                        <a:pt x="199" y="2"/>
                      </a:lnTo>
                      <a:lnTo>
                        <a:pt x="200" y="2"/>
                      </a:lnTo>
                      <a:lnTo>
                        <a:pt x="199" y="1"/>
                      </a:lnTo>
                      <a:lnTo>
                        <a:pt x="199" y="0"/>
                      </a:lnTo>
                      <a:lnTo>
                        <a:pt x="198" y="0"/>
                      </a:lnTo>
                      <a:lnTo>
                        <a:pt x="1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6" name="Freeform 918">
                  <a:extLst>
                    <a:ext uri="{FF2B5EF4-FFF2-40B4-BE49-F238E27FC236}">
                      <a16:creationId xmlns:a16="http://schemas.microsoft.com/office/drawing/2014/main" id="{F490DAF1-308C-B59B-B92C-930A69346060}"/>
                    </a:ext>
                  </a:extLst>
                </p:cNvPr>
                <p:cNvSpPr>
                  <a:spLocks/>
                </p:cNvSpPr>
                <p:nvPr/>
              </p:nvSpPr>
              <p:spPr bwMode="auto">
                <a:xfrm>
                  <a:off x="461" y="1006"/>
                  <a:ext cx="61" cy="30"/>
                </a:xfrm>
                <a:custGeom>
                  <a:avLst/>
                  <a:gdLst>
                    <a:gd name="T0" fmla="*/ 41 w 87"/>
                    <a:gd name="T1" fmla="*/ 1 h 41"/>
                    <a:gd name="T2" fmla="*/ 37 w 87"/>
                    <a:gd name="T3" fmla="*/ 8 h 41"/>
                    <a:gd name="T4" fmla="*/ 34 w 87"/>
                    <a:gd name="T5" fmla="*/ 13 h 41"/>
                    <a:gd name="T6" fmla="*/ 30 w 87"/>
                    <a:gd name="T7" fmla="*/ 17 h 41"/>
                    <a:gd name="T8" fmla="*/ 28 w 87"/>
                    <a:gd name="T9" fmla="*/ 19 h 41"/>
                    <a:gd name="T10" fmla="*/ 26 w 87"/>
                    <a:gd name="T11" fmla="*/ 20 h 41"/>
                    <a:gd name="T12" fmla="*/ 24 w 87"/>
                    <a:gd name="T13" fmla="*/ 20 h 41"/>
                    <a:gd name="T14" fmla="*/ 22 w 87"/>
                    <a:gd name="T15" fmla="*/ 19 h 41"/>
                    <a:gd name="T16" fmla="*/ 20 w 87"/>
                    <a:gd name="T17" fmla="*/ 17 h 41"/>
                    <a:gd name="T18" fmla="*/ 19 w 87"/>
                    <a:gd name="T19" fmla="*/ 16 h 41"/>
                    <a:gd name="T20" fmla="*/ 17 w 87"/>
                    <a:gd name="T21" fmla="*/ 14 h 41"/>
                    <a:gd name="T22" fmla="*/ 15 w 87"/>
                    <a:gd name="T23" fmla="*/ 13 h 41"/>
                    <a:gd name="T24" fmla="*/ 13 w 87"/>
                    <a:gd name="T25" fmla="*/ 12 h 41"/>
                    <a:gd name="T26" fmla="*/ 10 w 87"/>
                    <a:gd name="T27" fmla="*/ 12 h 41"/>
                    <a:gd name="T28" fmla="*/ 7 w 87"/>
                    <a:gd name="T29" fmla="*/ 13 h 41"/>
                    <a:gd name="T30" fmla="*/ 4 w 87"/>
                    <a:gd name="T31" fmla="*/ 15 h 41"/>
                    <a:gd name="T32" fmla="*/ 0 w 87"/>
                    <a:gd name="T33" fmla="*/ 19 h 41"/>
                    <a:gd name="T34" fmla="*/ 3 w 87"/>
                    <a:gd name="T35" fmla="*/ 19 h 41"/>
                    <a:gd name="T36" fmla="*/ 6 w 87"/>
                    <a:gd name="T37" fmla="*/ 16 h 41"/>
                    <a:gd name="T38" fmla="*/ 8 w 87"/>
                    <a:gd name="T39" fmla="*/ 15 h 41"/>
                    <a:gd name="T40" fmla="*/ 11 w 87"/>
                    <a:gd name="T41" fmla="*/ 14 h 41"/>
                    <a:gd name="T42" fmla="*/ 13 w 87"/>
                    <a:gd name="T43" fmla="*/ 15 h 41"/>
                    <a:gd name="T44" fmla="*/ 15 w 87"/>
                    <a:gd name="T45" fmla="*/ 15 h 41"/>
                    <a:gd name="T46" fmla="*/ 17 w 87"/>
                    <a:gd name="T47" fmla="*/ 17 h 41"/>
                    <a:gd name="T48" fmla="*/ 19 w 87"/>
                    <a:gd name="T49" fmla="*/ 18 h 41"/>
                    <a:gd name="T50" fmla="*/ 20 w 87"/>
                    <a:gd name="T51" fmla="*/ 20 h 41"/>
                    <a:gd name="T52" fmla="*/ 22 w 87"/>
                    <a:gd name="T53" fmla="*/ 21 h 41"/>
                    <a:gd name="T54" fmla="*/ 25 w 87"/>
                    <a:gd name="T55" fmla="*/ 22 h 41"/>
                    <a:gd name="T56" fmla="*/ 27 w 87"/>
                    <a:gd name="T57" fmla="*/ 21 h 41"/>
                    <a:gd name="T58" fmla="*/ 30 w 87"/>
                    <a:gd name="T59" fmla="*/ 20 h 41"/>
                    <a:gd name="T60" fmla="*/ 33 w 87"/>
                    <a:gd name="T61" fmla="*/ 17 h 41"/>
                    <a:gd name="T62" fmla="*/ 36 w 87"/>
                    <a:gd name="T63" fmla="*/ 12 h 41"/>
                    <a:gd name="T64" fmla="*/ 40 w 87"/>
                    <a:gd name="T65" fmla="*/ 5 h 41"/>
                    <a:gd name="T66" fmla="*/ 42 w 87"/>
                    <a:gd name="T67" fmla="*/ 1 h 41"/>
                    <a:gd name="T68" fmla="*/ 42 w 87"/>
                    <a:gd name="T69" fmla="*/ 1 h 41"/>
                    <a:gd name="T70" fmla="*/ 43 w 87"/>
                    <a:gd name="T71" fmla="*/ 1 h 41"/>
                    <a:gd name="T72" fmla="*/ 42 w 87"/>
                    <a:gd name="T73" fmla="*/ 1 h 41"/>
                    <a:gd name="T74" fmla="*/ 42 w 87"/>
                    <a:gd name="T75" fmla="*/ 0 h 41"/>
                    <a:gd name="T76" fmla="*/ 42 w 87"/>
                    <a:gd name="T77" fmla="*/ 0 h 41"/>
                    <a:gd name="T78" fmla="*/ 42 w 87"/>
                    <a:gd name="T79" fmla="*/ 0 h 41"/>
                    <a:gd name="T80" fmla="*/ 41 w 87"/>
                    <a:gd name="T81" fmla="*/ 0 h 41"/>
                    <a:gd name="T82" fmla="*/ 41 w 87"/>
                    <a:gd name="T83" fmla="*/ 0 h 41"/>
                    <a:gd name="T84" fmla="*/ 41 w 87"/>
                    <a:gd name="T85" fmla="*/ 0 h 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7" h="41">
                      <a:moveTo>
                        <a:pt x="84" y="0"/>
                      </a:moveTo>
                      <a:lnTo>
                        <a:pt x="84" y="1"/>
                      </a:lnTo>
                      <a:lnTo>
                        <a:pt x="79" y="8"/>
                      </a:lnTo>
                      <a:lnTo>
                        <a:pt x="76" y="15"/>
                      </a:lnTo>
                      <a:lnTo>
                        <a:pt x="72" y="20"/>
                      </a:lnTo>
                      <a:lnTo>
                        <a:pt x="68" y="24"/>
                      </a:lnTo>
                      <a:lnTo>
                        <a:pt x="65" y="29"/>
                      </a:lnTo>
                      <a:lnTo>
                        <a:pt x="62" y="32"/>
                      </a:lnTo>
                      <a:lnTo>
                        <a:pt x="59" y="34"/>
                      </a:lnTo>
                      <a:lnTo>
                        <a:pt x="57" y="36"/>
                      </a:lnTo>
                      <a:lnTo>
                        <a:pt x="55" y="37"/>
                      </a:lnTo>
                      <a:lnTo>
                        <a:pt x="53" y="37"/>
                      </a:lnTo>
                      <a:lnTo>
                        <a:pt x="51" y="37"/>
                      </a:lnTo>
                      <a:lnTo>
                        <a:pt x="49" y="37"/>
                      </a:lnTo>
                      <a:lnTo>
                        <a:pt x="47" y="36"/>
                      </a:lnTo>
                      <a:lnTo>
                        <a:pt x="45" y="35"/>
                      </a:lnTo>
                      <a:lnTo>
                        <a:pt x="43" y="34"/>
                      </a:lnTo>
                      <a:lnTo>
                        <a:pt x="41" y="32"/>
                      </a:lnTo>
                      <a:lnTo>
                        <a:pt x="39" y="32"/>
                      </a:lnTo>
                      <a:lnTo>
                        <a:pt x="38" y="30"/>
                      </a:lnTo>
                      <a:lnTo>
                        <a:pt x="36" y="28"/>
                      </a:lnTo>
                      <a:lnTo>
                        <a:pt x="34" y="26"/>
                      </a:lnTo>
                      <a:lnTo>
                        <a:pt x="32" y="25"/>
                      </a:lnTo>
                      <a:lnTo>
                        <a:pt x="30" y="24"/>
                      </a:lnTo>
                      <a:lnTo>
                        <a:pt x="28" y="22"/>
                      </a:lnTo>
                      <a:lnTo>
                        <a:pt x="25" y="22"/>
                      </a:lnTo>
                      <a:lnTo>
                        <a:pt x="22" y="22"/>
                      </a:lnTo>
                      <a:lnTo>
                        <a:pt x="20" y="22"/>
                      </a:lnTo>
                      <a:lnTo>
                        <a:pt x="17" y="22"/>
                      </a:lnTo>
                      <a:lnTo>
                        <a:pt x="14" y="24"/>
                      </a:lnTo>
                      <a:lnTo>
                        <a:pt x="11" y="26"/>
                      </a:lnTo>
                      <a:lnTo>
                        <a:pt x="7" y="29"/>
                      </a:lnTo>
                      <a:lnTo>
                        <a:pt x="4" y="32"/>
                      </a:lnTo>
                      <a:lnTo>
                        <a:pt x="0" y="36"/>
                      </a:lnTo>
                      <a:lnTo>
                        <a:pt x="2" y="39"/>
                      </a:lnTo>
                      <a:lnTo>
                        <a:pt x="6" y="35"/>
                      </a:lnTo>
                      <a:lnTo>
                        <a:pt x="9" y="32"/>
                      </a:lnTo>
                      <a:lnTo>
                        <a:pt x="12" y="30"/>
                      </a:lnTo>
                      <a:lnTo>
                        <a:pt x="15" y="27"/>
                      </a:lnTo>
                      <a:lnTo>
                        <a:pt x="17" y="27"/>
                      </a:lnTo>
                      <a:lnTo>
                        <a:pt x="20" y="26"/>
                      </a:lnTo>
                      <a:lnTo>
                        <a:pt x="22" y="26"/>
                      </a:lnTo>
                      <a:lnTo>
                        <a:pt x="24" y="26"/>
                      </a:lnTo>
                      <a:lnTo>
                        <a:pt x="26" y="27"/>
                      </a:lnTo>
                      <a:lnTo>
                        <a:pt x="29" y="27"/>
                      </a:lnTo>
                      <a:lnTo>
                        <a:pt x="30" y="29"/>
                      </a:lnTo>
                      <a:lnTo>
                        <a:pt x="33" y="30"/>
                      </a:lnTo>
                      <a:lnTo>
                        <a:pt x="34" y="32"/>
                      </a:lnTo>
                      <a:lnTo>
                        <a:pt x="36" y="33"/>
                      </a:lnTo>
                      <a:lnTo>
                        <a:pt x="38" y="34"/>
                      </a:lnTo>
                      <a:lnTo>
                        <a:pt x="39" y="36"/>
                      </a:lnTo>
                      <a:lnTo>
                        <a:pt x="42" y="37"/>
                      </a:lnTo>
                      <a:lnTo>
                        <a:pt x="44" y="39"/>
                      </a:lnTo>
                      <a:lnTo>
                        <a:pt x="46" y="40"/>
                      </a:lnTo>
                      <a:lnTo>
                        <a:pt x="48" y="41"/>
                      </a:lnTo>
                      <a:lnTo>
                        <a:pt x="51" y="41"/>
                      </a:lnTo>
                      <a:lnTo>
                        <a:pt x="53" y="41"/>
                      </a:lnTo>
                      <a:lnTo>
                        <a:pt x="56" y="40"/>
                      </a:lnTo>
                      <a:lnTo>
                        <a:pt x="58" y="39"/>
                      </a:lnTo>
                      <a:lnTo>
                        <a:pt x="61" y="37"/>
                      </a:lnTo>
                      <a:lnTo>
                        <a:pt x="64" y="35"/>
                      </a:lnTo>
                      <a:lnTo>
                        <a:pt x="67" y="32"/>
                      </a:lnTo>
                      <a:lnTo>
                        <a:pt x="71" y="27"/>
                      </a:lnTo>
                      <a:lnTo>
                        <a:pt x="74" y="22"/>
                      </a:lnTo>
                      <a:lnTo>
                        <a:pt x="78" y="17"/>
                      </a:lnTo>
                      <a:lnTo>
                        <a:pt x="82" y="10"/>
                      </a:lnTo>
                      <a:lnTo>
                        <a:pt x="86" y="3"/>
                      </a:lnTo>
                      <a:lnTo>
                        <a:pt x="86" y="2"/>
                      </a:lnTo>
                      <a:lnTo>
                        <a:pt x="87" y="2"/>
                      </a:lnTo>
                      <a:lnTo>
                        <a:pt x="86" y="1"/>
                      </a:lnTo>
                      <a:lnTo>
                        <a:pt x="86" y="0"/>
                      </a:lnTo>
                      <a:lnTo>
                        <a:pt x="85" y="0"/>
                      </a:lnTo>
                      <a:lnTo>
                        <a:pt x="84" y="0"/>
                      </a:lnTo>
                      <a:lnTo>
                        <a:pt x="84" y="1"/>
                      </a:lnTo>
                      <a:lnTo>
                        <a:pt x="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7" name="Freeform 919">
                  <a:extLst>
                    <a:ext uri="{FF2B5EF4-FFF2-40B4-BE49-F238E27FC236}">
                      <a16:creationId xmlns:a16="http://schemas.microsoft.com/office/drawing/2014/main" id="{98C598D6-07F7-D191-71A9-FF6134B9FF60}"/>
                    </a:ext>
                  </a:extLst>
                </p:cNvPr>
                <p:cNvSpPr>
                  <a:spLocks/>
                </p:cNvSpPr>
                <p:nvPr/>
              </p:nvSpPr>
              <p:spPr bwMode="auto">
                <a:xfrm>
                  <a:off x="520" y="978"/>
                  <a:ext cx="80" cy="30"/>
                </a:xfrm>
                <a:custGeom>
                  <a:avLst/>
                  <a:gdLst>
                    <a:gd name="T0" fmla="*/ 55 w 115"/>
                    <a:gd name="T1" fmla="*/ 2 h 43"/>
                    <a:gd name="T2" fmla="*/ 51 w 115"/>
                    <a:gd name="T3" fmla="*/ 1 h 43"/>
                    <a:gd name="T4" fmla="*/ 48 w 115"/>
                    <a:gd name="T5" fmla="*/ 1 h 43"/>
                    <a:gd name="T6" fmla="*/ 44 w 115"/>
                    <a:gd name="T7" fmla="*/ 0 h 43"/>
                    <a:gd name="T8" fmla="*/ 40 w 115"/>
                    <a:gd name="T9" fmla="*/ 0 h 43"/>
                    <a:gd name="T10" fmla="*/ 37 w 115"/>
                    <a:gd name="T11" fmla="*/ 1 h 43"/>
                    <a:gd name="T12" fmla="*/ 33 w 115"/>
                    <a:gd name="T13" fmla="*/ 1 h 43"/>
                    <a:gd name="T14" fmla="*/ 29 w 115"/>
                    <a:gd name="T15" fmla="*/ 1 h 43"/>
                    <a:gd name="T16" fmla="*/ 25 w 115"/>
                    <a:gd name="T17" fmla="*/ 3 h 43"/>
                    <a:gd name="T18" fmla="*/ 22 w 115"/>
                    <a:gd name="T19" fmla="*/ 4 h 43"/>
                    <a:gd name="T20" fmla="*/ 18 w 115"/>
                    <a:gd name="T21" fmla="*/ 6 h 43"/>
                    <a:gd name="T22" fmla="*/ 14 w 115"/>
                    <a:gd name="T23" fmla="*/ 7 h 43"/>
                    <a:gd name="T24" fmla="*/ 10 w 115"/>
                    <a:gd name="T25" fmla="*/ 10 h 43"/>
                    <a:gd name="T26" fmla="*/ 8 w 115"/>
                    <a:gd name="T27" fmla="*/ 12 h 43"/>
                    <a:gd name="T28" fmla="*/ 5 w 115"/>
                    <a:gd name="T29" fmla="*/ 14 h 43"/>
                    <a:gd name="T30" fmla="*/ 2 w 115"/>
                    <a:gd name="T31" fmla="*/ 17 h 43"/>
                    <a:gd name="T32" fmla="*/ 0 w 115"/>
                    <a:gd name="T33" fmla="*/ 20 h 43"/>
                    <a:gd name="T34" fmla="*/ 2 w 115"/>
                    <a:gd name="T35" fmla="*/ 20 h 43"/>
                    <a:gd name="T36" fmla="*/ 4 w 115"/>
                    <a:gd name="T37" fmla="*/ 17 h 43"/>
                    <a:gd name="T38" fmla="*/ 7 w 115"/>
                    <a:gd name="T39" fmla="*/ 15 h 43"/>
                    <a:gd name="T40" fmla="*/ 10 w 115"/>
                    <a:gd name="T41" fmla="*/ 12 h 43"/>
                    <a:gd name="T42" fmla="*/ 13 w 115"/>
                    <a:gd name="T43" fmla="*/ 10 h 43"/>
                    <a:gd name="T44" fmla="*/ 17 w 115"/>
                    <a:gd name="T45" fmla="*/ 8 h 43"/>
                    <a:gd name="T46" fmla="*/ 20 w 115"/>
                    <a:gd name="T47" fmla="*/ 7 h 43"/>
                    <a:gd name="T48" fmla="*/ 24 w 115"/>
                    <a:gd name="T49" fmla="*/ 6 h 43"/>
                    <a:gd name="T50" fmla="*/ 27 w 115"/>
                    <a:gd name="T51" fmla="*/ 4 h 43"/>
                    <a:gd name="T52" fmla="*/ 31 w 115"/>
                    <a:gd name="T53" fmla="*/ 3 h 43"/>
                    <a:gd name="T54" fmla="*/ 35 w 115"/>
                    <a:gd name="T55" fmla="*/ 2 h 43"/>
                    <a:gd name="T56" fmla="*/ 39 w 115"/>
                    <a:gd name="T57" fmla="*/ 2 h 43"/>
                    <a:gd name="T58" fmla="*/ 42 w 115"/>
                    <a:gd name="T59" fmla="*/ 2 h 43"/>
                    <a:gd name="T60" fmla="*/ 46 w 115"/>
                    <a:gd name="T61" fmla="*/ 2 h 43"/>
                    <a:gd name="T62" fmla="*/ 50 w 115"/>
                    <a:gd name="T63" fmla="*/ 2 h 43"/>
                    <a:gd name="T64" fmla="*/ 53 w 115"/>
                    <a:gd name="T65" fmla="*/ 3 h 43"/>
                    <a:gd name="T66" fmla="*/ 54 w 115"/>
                    <a:gd name="T67" fmla="*/ 3 h 43"/>
                    <a:gd name="T68" fmla="*/ 55 w 115"/>
                    <a:gd name="T69" fmla="*/ 4 h 43"/>
                    <a:gd name="T70" fmla="*/ 55 w 115"/>
                    <a:gd name="T71" fmla="*/ 4 h 43"/>
                    <a:gd name="T72" fmla="*/ 55 w 115"/>
                    <a:gd name="T73" fmla="*/ 4 h 43"/>
                    <a:gd name="T74" fmla="*/ 55 w 115"/>
                    <a:gd name="T75" fmla="*/ 3 h 43"/>
                    <a:gd name="T76" fmla="*/ 56 w 115"/>
                    <a:gd name="T77" fmla="*/ 3 h 43"/>
                    <a:gd name="T78" fmla="*/ 56 w 115"/>
                    <a:gd name="T79" fmla="*/ 3 h 43"/>
                    <a:gd name="T80" fmla="*/ 56 w 115"/>
                    <a:gd name="T81" fmla="*/ 2 h 43"/>
                    <a:gd name="T82" fmla="*/ 55 w 115"/>
                    <a:gd name="T83" fmla="*/ 2 h 43"/>
                    <a:gd name="T84" fmla="*/ 55 w 115"/>
                    <a:gd name="T85" fmla="*/ 2 h 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5" h="43">
                      <a:moveTo>
                        <a:pt x="115" y="4"/>
                      </a:moveTo>
                      <a:lnTo>
                        <a:pt x="114" y="4"/>
                      </a:lnTo>
                      <a:lnTo>
                        <a:pt x="110" y="3"/>
                      </a:lnTo>
                      <a:lnTo>
                        <a:pt x="106" y="2"/>
                      </a:lnTo>
                      <a:lnTo>
                        <a:pt x="103" y="1"/>
                      </a:lnTo>
                      <a:lnTo>
                        <a:pt x="99" y="1"/>
                      </a:lnTo>
                      <a:lnTo>
                        <a:pt x="95" y="0"/>
                      </a:lnTo>
                      <a:lnTo>
                        <a:pt x="91" y="0"/>
                      </a:lnTo>
                      <a:lnTo>
                        <a:pt x="88" y="0"/>
                      </a:lnTo>
                      <a:lnTo>
                        <a:pt x="84" y="0"/>
                      </a:lnTo>
                      <a:lnTo>
                        <a:pt x="80" y="0"/>
                      </a:lnTo>
                      <a:lnTo>
                        <a:pt x="76" y="1"/>
                      </a:lnTo>
                      <a:lnTo>
                        <a:pt x="72" y="1"/>
                      </a:lnTo>
                      <a:lnTo>
                        <a:pt x="67" y="2"/>
                      </a:lnTo>
                      <a:lnTo>
                        <a:pt x="64" y="3"/>
                      </a:lnTo>
                      <a:lnTo>
                        <a:pt x="60" y="3"/>
                      </a:lnTo>
                      <a:lnTo>
                        <a:pt x="56" y="4"/>
                      </a:lnTo>
                      <a:lnTo>
                        <a:pt x="52" y="6"/>
                      </a:lnTo>
                      <a:lnTo>
                        <a:pt x="48" y="7"/>
                      </a:lnTo>
                      <a:lnTo>
                        <a:pt x="44" y="8"/>
                      </a:lnTo>
                      <a:lnTo>
                        <a:pt x="41" y="10"/>
                      </a:lnTo>
                      <a:lnTo>
                        <a:pt x="37" y="12"/>
                      </a:lnTo>
                      <a:lnTo>
                        <a:pt x="33" y="13"/>
                      </a:lnTo>
                      <a:lnTo>
                        <a:pt x="29" y="15"/>
                      </a:lnTo>
                      <a:lnTo>
                        <a:pt x="26" y="17"/>
                      </a:lnTo>
                      <a:lnTo>
                        <a:pt x="22" y="20"/>
                      </a:lnTo>
                      <a:lnTo>
                        <a:pt x="19" y="22"/>
                      </a:lnTo>
                      <a:lnTo>
                        <a:pt x="16" y="24"/>
                      </a:lnTo>
                      <a:lnTo>
                        <a:pt x="13" y="26"/>
                      </a:lnTo>
                      <a:lnTo>
                        <a:pt x="10" y="28"/>
                      </a:lnTo>
                      <a:lnTo>
                        <a:pt x="7" y="31"/>
                      </a:lnTo>
                      <a:lnTo>
                        <a:pt x="5" y="34"/>
                      </a:lnTo>
                      <a:lnTo>
                        <a:pt x="2" y="37"/>
                      </a:lnTo>
                      <a:lnTo>
                        <a:pt x="0" y="40"/>
                      </a:lnTo>
                      <a:lnTo>
                        <a:pt x="2" y="43"/>
                      </a:lnTo>
                      <a:lnTo>
                        <a:pt x="4" y="40"/>
                      </a:lnTo>
                      <a:lnTo>
                        <a:pt x="7" y="37"/>
                      </a:lnTo>
                      <a:lnTo>
                        <a:pt x="9" y="35"/>
                      </a:lnTo>
                      <a:lnTo>
                        <a:pt x="12" y="32"/>
                      </a:lnTo>
                      <a:lnTo>
                        <a:pt x="15" y="30"/>
                      </a:lnTo>
                      <a:lnTo>
                        <a:pt x="17" y="27"/>
                      </a:lnTo>
                      <a:lnTo>
                        <a:pt x="21" y="25"/>
                      </a:lnTo>
                      <a:lnTo>
                        <a:pt x="24" y="23"/>
                      </a:lnTo>
                      <a:lnTo>
                        <a:pt x="27" y="21"/>
                      </a:lnTo>
                      <a:lnTo>
                        <a:pt x="31" y="19"/>
                      </a:lnTo>
                      <a:lnTo>
                        <a:pt x="34" y="17"/>
                      </a:lnTo>
                      <a:lnTo>
                        <a:pt x="38" y="15"/>
                      </a:lnTo>
                      <a:lnTo>
                        <a:pt x="41" y="14"/>
                      </a:lnTo>
                      <a:lnTo>
                        <a:pt x="45" y="12"/>
                      </a:lnTo>
                      <a:lnTo>
                        <a:pt x="49" y="11"/>
                      </a:lnTo>
                      <a:lnTo>
                        <a:pt x="53" y="10"/>
                      </a:lnTo>
                      <a:lnTo>
                        <a:pt x="56" y="8"/>
                      </a:lnTo>
                      <a:lnTo>
                        <a:pt x="60" y="8"/>
                      </a:lnTo>
                      <a:lnTo>
                        <a:pt x="64" y="6"/>
                      </a:lnTo>
                      <a:lnTo>
                        <a:pt x="68" y="6"/>
                      </a:lnTo>
                      <a:lnTo>
                        <a:pt x="72" y="5"/>
                      </a:lnTo>
                      <a:lnTo>
                        <a:pt x="76" y="4"/>
                      </a:lnTo>
                      <a:lnTo>
                        <a:pt x="80" y="4"/>
                      </a:lnTo>
                      <a:lnTo>
                        <a:pt x="84" y="4"/>
                      </a:lnTo>
                      <a:lnTo>
                        <a:pt x="88" y="4"/>
                      </a:lnTo>
                      <a:lnTo>
                        <a:pt x="91" y="4"/>
                      </a:lnTo>
                      <a:lnTo>
                        <a:pt x="95" y="4"/>
                      </a:lnTo>
                      <a:lnTo>
                        <a:pt x="99" y="4"/>
                      </a:lnTo>
                      <a:lnTo>
                        <a:pt x="103" y="5"/>
                      </a:lnTo>
                      <a:lnTo>
                        <a:pt x="106" y="6"/>
                      </a:lnTo>
                      <a:lnTo>
                        <a:pt x="109" y="6"/>
                      </a:lnTo>
                      <a:lnTo>
                        <a:pt x="113" y="8"/>
                      </a:lnTo>
                      <a:lnTo>
                        <a:pt x="112" y="6"/>
                      </a:lnTo>
                      <a:lnTo>
                        <a:pt x="113" y="8"/>
                      </a:lnTo>
                      <a:lnTo>
                        <a:pt x="114" y="8"/>
                      </a:lnTo>
                      <a:lnTo>
                        <a:pt x="114" y="7"/>
                      </a:lnTo>
                      <a:lnTo>
                        <a:pt x="115" y="6"/>
                      </a:lnTo>
                      <a:lnTo>
                        <a:pt x="115" y="5"/>
                      </a:lnTo>
                      <a:lnTo>
                        <a:pt x="115" y="4"/>
                      </a:lnTo>
                      <a:lnTo>
                        <a:pt x="114" y="4"/>
                      </a:lnTo>
                      <a:lnTo>
                        <a:pt x="11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8" name="Freeform 920">
                  <a:extLst>
                    <a:ext uri="{FF2B5EF4-FFF2-40B4-BE49-F238E27FC236}">
                      <a16:creationId xmlns:a16="http://schemas.microsoft.com/office/drawing/2014/main" id="{0CF3E896-E113-7D4C-CEA1-9082DAF1620B}"/>
                    </a:ext>
                  </a:extLst>
                </p:cNvPr>
                <p:cNvSpPr>
                  <a:spLocks/>
                </p:cNvSpPr>
                <p:nvPr/>
              </p:nvSpPr>
              <p:spPr bwMode="auto">
                <a:xfrm>
                  <a:off x="598" y="982"/>
                  <a:ext cx="34" cy="31"/>
                </a:xfrm>
                <a:custGeom>
                  <a:avLst/>
                  <a:gdLst>
                    <a:gd name="T0" fmla="*/ 21 w 49"/>
                    <a:gd name="T1" fmla="*/ 8 h 44"/>
                    <a:gd name="T2" fmla="*/ 18 w 49"/>
                    <a:gd name="T3" fmla="*/ 11 h 44"/>
                    <a:gd name="T4" fmla="*/ 17 w 49"/>
                    <a:gd name="T5" fmla="*/ 13 h 44"/>
                    <a:gd name="T6" fmla="*/ 15 w 49"/>
                    <a:gd name="T7" fmla="*/ 16 h 44"/>
                    <a:gd name="T8" fmla="*/ 14 w 49"/>
                    <a:gd name="T9" fmla="*/ 18 h 44"/>
                    <a:gd name="T10" fmla="*/ 12 w 49"/>
                    <a:gd name="T11" fmla="*/ 19 h 44"/>
                    <a:gd name="T12" fmla="*/ 12 w 49"/>
                    <a:gd name="T13" fmla="*/ 20 h 44"/>
                    <a:gd name="T14" fmla="*/ 12 w 49"/>
                    <a:gd name="T15" fmla="*/ 20 h 44"/>
                    <a:gd name="T16" fmla="*/ 11 w 49"/>
                    <a:gd name="T17" fmla="*/ 20 h 44"/>
                    <a:gd name="T18" fmla="*/ 10 w 49"/>
                    <a:gd name="T19" fmla="*/ 19 h 44"/>
                    <a:gd name="T20" fmla="*/ 10 w 49"/>
                    <a:gd name="T21" fmla="*/ 18 h 44"/>
                    <a:gd name="T22" fmla="*/ 8 w 49"/>
                    <a:gd name="T23" fmla="*/ 16 h 44"/>
                    <a:gd name="T24" fmla="*/ 8 w 49"/>
                    <a:gd name="T25" fmla="*/ 13 h 44"/>
                    <a:gd name="T26" fmla="*/ 6 w 49"/>
                    <a:gd name="T27" fmla="*/ 11 h 44"/>
                    <a:gd name="T28" fmla="*/ 5 w 49"/>
                    <a:gd name="T29" fmla="*/ 7 h 44"/>
                    <a:gd name="T30" fmla="*/ 2 w 49"/>
                    <a:gd name="T31" fmla="*/ 3 h 44"/>
                    <a:gd name="T32" fmla="*/ 0 w 49"/>
                    <a:gd name="T33" fmla="*/ 1 h 44"/>
                    <a:gd name="T34" fmla="*/ 2 w 49"/>
                    <a:gd name="T35" fmla="*/ 6 h 44"/>
                    <a:gd name="T36" fmla="*/ 4 w 49"/>
                    <a:gd name="T37" fmla="*/ 10 h 44"/>
                    <a:gd name="T38" fmla="*/ 6 w 49"/>
                    <a:gd name="T39" fmla="*/ 13 h 44"/>
                    <a:gd name="T40" fmla="*/ 7 w 49"/>
                    <a:gd name="T41" fmla="*/ 16 h 44"/>
                    <a:gd name="T42" fmla="*/ 8 w 49"/>
                    <a:gd name="T43" fmla="*/ 18 h 44"/>
                    <a:gd name="T44" fmla="*/ 9 w 49"/>
                    <a:gd name="T45" fmla="*/ 20 h 44"/>
                    <a:gd name="T46" fmla="*/ 10 w 49"/>
                    <a:gd name="T47" fmla="*/ 21 h 44"/>
                    <a:gd name="T48" fmla="*/ 11 w 49"/>
                    <a:gd name="T49" fmla="*/ 22 h 44"/>
                    <a:gd name="T50" fmla="*/ 12 w 49"/>
                    <a:gd name="T51" fmla="*/ 22 h 44"/>
                    <a:gd name="T52" fmla="*/ 13 w 49"/>
                    <a:gd name="T53" fmla="*/ 21 h 44"/>
                    <a:gd name="T54" fmla="*/ 15 w 49"/>
                    <a:gd name="T55" fmla="*/ 20 h 44"/>
                    <a:gd name="T56" fmla="*/ 15 w 49"/>
                    <a:gd name="T57" fmla="*/ 18 h 44"/>
                    <a:gd name="T58" fmla="*/ 17 w 49"/>
                    <a:gd name="T59" fmla="*/ 16 h 44"/>
                    <a:gd name="T60" fmla="*/ 19 w 49"/>
                    <a:gd name="T61" fmla="*/ 13 h 44"/>
                    <a:gd name="T62" fmla="*/ 21 w 49"/>
                    <a:gd name="T63" fmla="*/ 11 h 44"/>
                    <a:gd name="T64" fmla="*/ 23 w 49"/>
                    <a:gd name="T65" fmla="*/ 8 h 44"/>
                    <a:gd name="T66" fmla="*/ 24 w 49"/>
                    <a:gd name="T67" fmla="*/ 7 h 44"/>
                    <a:gd name="T68" fmla="*/ 24 w 49"/>
                    <a:gd name="T69" fmla="*/ 6 h 44"/>
                    <a:gd name="T70" fmla="*/ 24 w 49"/>
                    <a:gd name="T71" fmla="*/ 6 h 44"/>
                    <a:gd name="T72" fmla="*/ 23 w 49"/>
                    <a:gd name="T73" fmla="*/ 6 h 44"/>
                    <a:gd name="T74" fmla="*/ 23 w 49"/>
                    <a:gd name="T75" fmla="*/ 6 h 44"/>
                    <a:gd name="T76" fmla="*/ 23 w 49"/>
                    <a:gd name="T77" fmla="*/ 6 h 44"/>
                    <a:gd name="T78" fmla="*/ 22 w 49"/>
                    <a:gd name="T79" fmla="*/ 6 h 4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9" h="44">
                      <a:moveTo>
                        <a:pt x="46" y="12"/>
                      </a:moveTo>
                      <a:lnTo>
                        <a:pt x="43" y="16"/>
                      </a:lnTo>
                      <a:lnTo>
                        <a:pt x="41" y="19"/>
                      </a:lnTo>
                      <a:lnTo>
                        <a:pt x="38" y="22"/>
                      </a:lnTo>
                      <a:lnTo>
                        <a:pt x="37" y="25"/>
                      </a:lnTo>
                      <a:lnTo>
                        <a:pt x="34" y="27"/>
                      </a:lnTo>
                      <a:lnTo>
                        <a:pt x="33" y="30"/>
                      </a:lnTo>
                      <a:lnTo>
                        <a:pt x="31" y="32"/>
                      </a:lnTo>
                      <a:lnTo>
                        <a:pt x="30" y="34"/>
                      </a:lnTo>
                      <a:lnTo>
                        <a:pt x="29" y="36"/>
                      </a:lnTo>
                      <a:lnTo>
                        <a:pt x="27" y="37"/>
                      </a:lnTo>
                      <a:lnTo>
                        <a:pt x="26" y="38"/>
                      </a:lnTo>
                      <a:lnTo>
                        <a:pt x="26" y="39"/>
                      </a:lnTo>
                      <a:lnTo>
                        <a:pt x="25" y="40"/>
                      </a:lnTo>
                      <a:lnTo>
                        <a:pt x="24" y="40"/>
                      </a:lnTo>
                      <a:lnTo>
                        <a:pt x="23" y="40"/>
                      </a:lnTo>
                      <a:lnTo>
                        <a:pt x="22" y="39"/>
                      </a:lnTo>
                      <a:lnTo>
                        <a:pt x="22" y="38"/>
                      </a:lnTo>
                      <a:lnTo>
                        <a:pt x="21" y="38"/>
                      </a:lnTo>
                      <a:lnTo>
                        <a:pt x="21" y="36"/>
                      </a:lnTo>
                      <a:lnTo>
                        <a:pt x="19" y="34"/>
                      </a:lnTo>
                      <a:lnTo>
                        <a:pt x="18" y="32"/>
                      </a:lnTo>
                      <a:lnTo>
                        <a:pt x="17" y="30"/>
                      </a:lnTo>
                      <a:lnTo>
                        <a:pt x="16" y="27"/>
                      </a:lnTo>
                      <a:lnTo>
                        <a:pt x="15" y="24"/>
                      </a:lnTo>
                      <a:lnTo>
                        <a:pt x="13" y="21"/>
                      </a:lnTo>
                      <a:lnTo>
                        <a:pt x="11" y="18"/>
                      </a:lnTo>
                      <a:lnTo>
                        <a:pt x="10" y="14"/>
                      </a:lnTo>
                      <a:lnTo>
                        <a:pt x="7" y="10"/>
                      </a:lnTo>
                      <a:lnTo>
                        <a:pt x="5" y="5"/>
                      </a:lnTo>
                      <a:lnTo>
                        <a:pt x="3" y="0"/>
                      </a:lnTo>
                      <a:lnTo>
                        <a:pt x="0" y="2"/>
                      </a:lnTo>
                      <a:lnTo>
                        <a:pt x="2" y="7"/>
                      </a:lnTo>
                      <a:lnTo>
                        <a:pt x="5" y="12"/>
                      </a:lnTo>
                      <a:lnTo>
                        <a:pt x="7" y="16"/>
                      </a:lnTo>
                      <a:lnTo>
                        <a:pt x="9" y="20"/>
                      </a:lnTo>
                      <a:lnTo>
                        <a:pt x="11" y="23"/>
                      </a:lnTo>
                      <a:lnTo>
                        <a:pt x="12" y="26"/>
                      </a:lnTo>
                      <a:lnTo>
                        <a:pt x="13" y="30"/>
                      </a:lnTo>
                      <a:lnTo>
                        <a:pt x="15" y="32"/>
                      </a:lnTo>
                      <a:lnTo>
                        <a:pt x="16" y="35"/>
                      </a:lnTo>
                      <a:lnTo>
                        <a:pt x="17" y="37"/>
                      </a:lnTo>
                      <a:lnTo>
                        <a:pt x="18" y="38"/>
                      </a:lnTo>
                      <a:lnTo>
                        <a:pt x="19" y="40"/>
                      </a:lnTo>
                      <a:lnTo>
                        <a:pt x="20" y="42"/>
                      </a:lnTo>
                      <a:lnTo>
                        <a:pt x="21" y="43"/>
                      </a:lnTo>
                      <a:lnTo>
                        <a:pt x="22" y="43"/>
                      </a:lnTo>
                      <a:lnTo>
                        <a:pt x="23" y="44"/>
                      </a:lnTo>
                      <a:lnTo>
                        <a:pt x="24" y="44"/>
                      </a:lnTo>
                      <a:lnTo>
                        <a:pt x="25" y="44"/>
                      </a:lnTo>
                      <a:lnTo>
                        <a:pt x="26" y="43"/>
                      </a:lnTo>
                      <a:lnTo>
                        <a:pt x="27" y="43"/>
                      </a:lnTo>
                      <a:lnTo>
                        <a:pt x="29" y="41"/>
                      </a:lnTo>
                      <a:lnTo>
                        <a:pt x="30" y="40"/>
                      </a:lnTo>
                      <a:lnTo>
                        <a:pt x="31" y="38"/>
                      </a:lnTo>
                      <a:lnTo>
                        <a:pt x="32" y="37"/>
                      </a:lnTo>
                      <a:lnTo>
                        <a:pt x="34" y="35"/>
                      </a:lnTo>
                      <a:lnTo>
                        <a:pt x="35" y="33"/>
                      </a:lnTo>
                      <a:lnTo>
                        <a:pt x="37" y="30"/>
                      </a:lnTo>
                      <a:lnTo>
                        <a:pt x="39" y="27"/>
                      </a:lnTo>
                      <a:lnTo>
                        <a:pt x="41" y="24"/>
                      </a:lnTo>
                      <a:lnTo>
                        <a:pt x="43" y="22"/>
                      </a:lnTo>
                      <a:lnTo>
                        <a:pt x="46" y="18"/>
                      </a:lnTo>
                      <a:lnTo>
                        <a:pt x="48" y="15"/>
                      </a:lnTo>
                      <a:lnTo>
                        <a:pt x="49" y="14"/>
                      </a:lnTo>
                      <a:lnTo>
                        <a:pt x="49" y="13"/>
                      </a:lnTo>
                      <a:lnTo>
                        <a:pt x="49" y="12"/>
                      </a:lnTo>
                      <a:lnTo>
                        <a:pt x="48" y="12"/>
                      </a:lnTo>
                      <a:lnTo>
                        <a:pt x="47" y="11"/>
                      </a:lnTo>
                      <a:lnTo>
                        <a:pt x="47" y="12"/>
                      </a:lnTo>
                      <a:lnTo>
                        <a:pt x="4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29" name="Freeform 921">
                  <a:extLst>
                    <a:ext uri="{FF2B5EF4-FFF2-40B4-BE49-F238E27FC236}">
                      <a16:creationId xmlns:a16="http://schemas.microsoft.com/office/drawing/2014/main" id="{7614425A-1A75-081B-ED4F-DDD9C6FB4CA1}"/>
                    </a:ext>
                  </a:extLst>
                </p:cNvPr>
                <p:cNvSpPr>
                  <a:spLocks/>
                </p:cNvSpPr>
                <p:nvPr/>
              </p:nvSpPr>
              <p:spPr bwMode="auto">
                <a:xfrm>
                  <a:off x="629" y="979"/>
                  <a:ext cx="87" cy="25"/>
                </a:xfrm>
                <a:custGeom>
                  <a:avLst/>
                  <a:gdLst>
                    <a:gd name="T0" fmla="*/ 56 w 125"/>
                    <a:gd name="T1" fmla="*/ 15 h 35"/>
                    <a:gd name="T2" fmla="*/ 50 w 125"/>
                    <a:gd name="T3" fmla="*/ 14 h 35"/>
                    <a:gd name="T4" fmla="*/ 44 w 125"/>
                    <a:gd name="T5" fmla="*/ 11 h 35"/>
                    <a:gd name="T6" fmla="*/ 39 w 125"/>
                    <a:gd name="T7" fmla="*/ 10 h 35"/>
                    <a:gd name="T8" fmla="*/ 34 w 125"/>
                    <a:gd name="T9" fmla="*/ 8 h 35"/>
                    <a:gd name="T10" fmla="*/ 29 w 125"/>
                    <a:gd name="T11" fmla="*/ 6 h 35"/>
                    <a:gd name="T12" fmla="*/ 26 w 125"/>
                    <a:gd name="T13" fmla="*/ 4 h 35"/>
                    <a:gd name="T14" fmla="*/ 23 w 125"/>
                    <a:gd name="T15" fmla="*/ 3 h 35"/>
                    <a:gd name="T16" fmla="*/ 19 w 125"/>
                    <a:gd name="T17" fmla="*/ 1 h 35"/>
                    <a:gd name="T18" fmla="*/ 17 w 125"/>
                    <a:gd name="T19" fmla="*/ 1 h 35"/>
                    <a:gd name="T20" fmla="*/ 13 w 125"/>
                    <a:gd name="T21" fmla="*/ 0 h 35"/>
                    <a:gd name="T22" fmla="*/ 11 w 125"/>
                    <a:gd name="T23" fmla="*/ 0 h 35"/>
                    <a:gd name="T24" fmla="*/ 9 w 125"/>
                    <a:gd name="T25" fmla="*/ 1 h 35"/>
                    <a:gd name="T26" fmla="*/ 6 w 125"/>
                    <a:gd name="T27" fmla="*/ 1 h 35"/>
                    <a:gd name="T28" fmla="*/ 4 w 125"/>
                    <a:gd name="T29" fmla="*/ 4 h 35"/>
                    <a:gd name="T30" fmla="*/ 1 w 125"/>
                    <a:gd name="T31" fmla="*/ 6 h 35"/>
                    <a:gd name="T32" fmla="*/ 1 w 125"/>
                    <a:gd name="T33" fmla="*/ 9 h 35"/>
                    <a:gd name="T34" fmla="*/ 3 w 125"/>
                    <a:gd name="T35" fmla="*/ 6 h 35"/>
                    <a:gd name="T36" fmla="*/ 6 w 125"/>
                    <a:gd name="T37" fmla="*/ 4 h 35"/>
                    <a:gd name="T38" fmla="*/ 8 w 125"/>
                    <a:gd name="T39" fmla="*/ 3 h 35"/>
                    <a:gd name="T40" fmla="*/ 10 w 125"/>
                    <a:gd name="T41" fmla="*/ 3 h 35"/>
                    <a:gd name="T42" fmla="*/ 13 w 125"/>
                    <a:gd name="T43" fmla="*/ 1 h 35"/>
                    <a:gd name="T44" fmla="*/ 15 w 125"/>
                    <a:gd name="T45" fmla="*/ 3 h 35"/>
                    <a:gd name="T46" fmla="*/ 17 w 125"/>
                    <a:gd name="T47" fmla="*/ 3 h 35"/>
                    <a:gd name="T48" fmla="*/ 20 w 125"/>
                    <a:gd name="T49" fmla="*/ 4 h 35"/>
                    <a:gd name="T50" fmla="*/ 24 w 125"/>
                    <a:gd name="T51" fmla="*/ 5 h 35"/>
                    <a:gd name="T52" fmla="*/ 28 w 125"/>
                    <a:gd name="T53" fmla="*/ 6 h 35"/>
                    <a:gd name="T54" fmla="*/ 31 w 125"/>
                    <a:gd name="T55" fmla="*/ 9 h 35"/>
                    <a:gd name="T56" fmla="*/ 36 w 125"/>
                    <a:gd name="T57" fmla="*/ 10 h 35"/>
                    <a:gd name="T58" fmla="*/ 41 w 125"/>
                    <a:gd name="T59" fmla="*/ 12 h 35"/>
                    <a:gd name="T60" fmla="*/ 47 w 125"/>
                    <a:gd name="T61" fmla="*/ 14 h 35"/>
                    <a:gd name="T62" fmla="*/ 53 w 125"/>
                    <a:gd name="T63" fmla="*/ 16 h 35"/>
                    <a:gd name="T64" fmla="*/ 60 w 125"/>
                    <a:gd name="T65" fmla="*/ 18 h 35"/>
                    <a:gd name="T66" fmla="*/ 60 w 125"/>
                    <a:gd name="T67" fmla="*/ 18 h 35"/>
                    <a:gd name="T68" fmla="*/ 60 w 125"/>
                    <a:gd name="T69" fmla="*/ 18 h 35"/>
                    <a:gd name="T70" fmla="*/ 61 w 125"/>
                    <a:gd name="T71" fmla="*/ 17 h 35"/>
                    <a:gd name="T72" fmla="*/ 61 w 125"/>
                    <a:gd name="T73" fmla="*/ 17 h 35"/>
                    <a:gd name="T74" fmla="*/ 61 w 125"/>
                    <a:gd name="T75" fmla="*/ 16 h 35"/>
                    <a:gd name="T76" fmla="*/ 61 w 125"/>
                    <a:gd name="T77" fmla="*/ 16 h 35"/>
                    <a:gd name="T78" fmla="*/ 60 w 125"/>
                    <a:gd name="T79" fmla="*/ 16 h 3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5" h="35">
                      <a:moveTo>
                        <a:pt x="124" y="31"/>
                      </a:moveTo>
                      <a:lnTo>
                        <a:pt x="116" y="29"/>
                      </a:lnTo>
                      <a:lnTo>
                        <a:pt x="110" y="27"/>
                      </a:lnTo>
                      <a:lnTo>
                        <a:pt x="103" y="26"/>
                      </a:lnTo>
                      <a:lnTo>
                        <a:pt x="97" y="24"/>
                      </a:lnTo>
                      <a:lnTo>
                        <a:pt x="91" y="22"/>
                      </a:lnTo>
                      <a:lnTo>
                        <a:pt x="86" y="20"/>
                      </a:lnTo>
                      <a:lnTo>
                        <a:pt x="80" y="19"/>
                      </a:lnTo>
                      <a:lnTo>
                        <a:pt x="75" y="17"/>
                      </a:lnTo>
                      <a:lnTo>
                        <a:pt x="71" y="15"/>
                      </a:lnTo>
                      <a:lnTo>
                        <a:pt x="66" y="13"/>
                      </a:lnTo>
                      <a:lnTo>
                        <a:pt x="61" y="11"/>
                      </a:lnTo>
                      <a:lnTo>
                        <a:pt x="58" y="9"/>
                      </a:lnTo>
                      <a:lnTo>
                        <a:pt x="54" y="8"/>
                      </a:lnTo>
                      <a:lnTo>
                        <a:pt x="50" y="6"/>
                      </a:lnTo>
                      <a:lnTo>
                        <a:pt x="47" y="5"/>
                      </a:lnTo>
                      <a:lnTo>
                        <a:pt x="43" y="3"/>
                      </a:lnTo>
                      <a:lnTo>
                        <a:pt x="40" y="3"/>
                      </a:lnTo>
                      <a:lnTo>
                        <a:pt x="37" y="1"/>
                      </a:lnTo>
                      <a:lnTo>
                        <a:pt x="34" y="1"/>
                      </a:lnTo>
                      <a:lnTo>
                        <a:pt x="31" y="0"/>
                      </a:lnTo>
                      <a:lnTo>
                        <a:pt x="28" y="0"/>
                      </a:lnTo>
                      <a:lnTo>
                        <a:pt x="26" y="0"/>
                      </a:lnTo>
                      <a:lnTo>
                        <a:pt x="23" y="0"/>
                      </a:lnTo>
                      <a:lnTo>
                        <a:pt x="20" y="0"/>
                      </a:lnTo>
                      <a:lnTo>
                        <a:pt x="18" y="1"/>
                      </a:lnTo>
                      <a:lnTo>
                        <a:pt x="15" y="2"/>
                      </a:lnTo>
                      <a:lnTo>
                        <a:pt x="13" y="3"/>
                      </a:lnTo>
                      <a:lnTo>
                        <a:pt x="10" y="5"/>
                      </a:lnTo>
                      <a:lnTo>
                        <a:pt x="8" y="7"/>
                      </a:lnTo>
                      <a:lnTo>
                        <a:pt x="5" y="10"/>
                      </a:lnTo>
                      <a:lnTo>
                        <a:pt x="3" y="12"/>
                      </a:lnTo>
                      <a:lnTo>
                        <a:pt x="0" y="15"/>
                      </a:lnTo>
                      <a:lnTo>
                        <a:pt x="3" y="18"/>
                      </a:lnTo>
                      <a:lnTo>
                        <a:pt x="5" y="15"/>
                      </a:lnTo>
                      <a:lnTo>
                        <a:pt x="7" y="13"/>
                      </a:lnTo>
                      <a:lnTo>
                        <a:pt x="9" y="10"/>
                      </a:lnTo>
                      <a:lnTo>
                        <a:pt x="12" y="9"/>
                      </a:lnTo>
                      <a:lnTo>
                        <a:pt x="14" y="7"/>
                      </a:lnTo>
                      <a:lnTo>
                        <a:pt x="16" y="6"/>
                      </a:lnTo>
                      <a:lnTo>
                        <a:pt x="19" y="5"/>
                      </a:lnTo>
                      <a:lnTo>
                        <a:pt x="21" y="5"/>
                      </a:lnTo>
                      <a:lnTo>
                        <a:pt x="23" y="3"/>
                      </a:lnTo>
                      <a:lnTo>
                        <a:pt x="26" y="3"/>
                      </a:lnTo>
                      <a:lnTo>
                        <a:pt x="28" y="3"/>
                      </a:lnTo>
                      <a:lnTo>
                        <a:pt x="31" y="5"/>
                      </a:lnTo>
                      <a:lnTo>
                        <a:pt x="33" y="5"/>
                      </a:lnTo>
                      <a:lnTo>
                        <a:pt x="36" y="5"/>
                      </a:lnTo>
                      <a:lnTo>
                        <a:pt x="39" y="6"/>
                      </a:lnTo>
                      <a:lnTo>
                        <a:pt x="42" y="8"/>
                      </a:lnTo>
                      <a:lnTo>
                        <a:pt x="46" y="9"/>
                      </a:lnTo>
                      <a:lnTo>
                        <a:pt x="49" y="10"/>
                      </a:lnTo>
                      <a:lnTo>
                        <a:pt x="53" y="12"/>
                      </a:lnTo>
                      <a:lnTo>
                        <a:pt x="57" y="13"/>
                      </a:lnTo>
                      <a:lnTo>
                        <a:pt x="61" y="15"/>
                      </a:lnTo>
                      <a:lnTo>
                        <a:pt x="65" y="17"/>
                      </a:lnTo>
                      <a:lnTo>
                        <a:pt x="70" y="19"/>
                      </a:lnTo>
                      <a:lnTo>
                        <a:pt x="75" y="20"/>
                      </a:lnTo>
                      <a:lnTo>
                        <a:pt x="80" y="22"/>
                      </a:lnTo>
                      <a:lnTo>
                        <a:pt x="85" y="24"/>
                      </a:lnTo>
                      <a:lnTo>
                        <a:pt x="90" y="26"/>
                      </a:lnTo>
                      <a:lnTo>
                        <a:pt x="96" y="28"/>
                      </a:lnTo>
                      <a:lnTo>
                        <a:pt x="103" y="30"/>
                      </a:lnTo>
                      <a:lnTo>
                        <a:pt x="109" y="32"/>
                      </a:lnTo>
                      <a:lnTo>
                        <a:pt x="116" y="33"/>
                      </a:lnTo>
                      <a:lnTo>
                        <a:pt x="123" y="35"/>
                      </a:lnTo>
                      <a:lnTo>
                        <a:pt x="124" y="35"/>
                      </a:lnTo>
                      <a:lnTo>
                        <a:pt x="125" y="34"/>
                      </a:lnTo>
                      <a:lnTo>
                        <a:pt x="125" y="33"/>
                      </a:lnTo>
                      <a:lnTo>
                        <a:pt x="125" y="32"/>
                      </a:lnTo>
                      <a:lnTo>
                        <a:pt x="1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0" name="Freeform 922">
                  <a:extLst>
                    <a:ext uri="{FF2B5EF4-FFF2-40B4-BE49-F238E27FC236}">
                      <a16:creationId xmlns:a16="http://schemas.microsoft.com/office/drawing/2014/main" id="{47BF5398-0841-20E7-A009-27C3492F3AF8}"/>
                    </a:ext>
                  </a:extLst>
                </p:cNvPr>
                <p:cNvSpPr>
                  <a:spLocks/>
                </p:cNvSpPr>
                <p:nvPr/>
              </p:nvSpPr>
              <p:spPr bwMode="auto">
                <a:xfrm>
                  <a:off x="715" y="1001"/>
                  <a:ext cx="104" cy="59"/>
                </a:xfrm>
                <a:custGeom>
                  <a:avLst/>
                  <a:gdLst>
                    <a:gd name="T0" fmla="*/ 71 w 150"/>
                    <a:gd name="T1" fmla="*/ 40 h 83"/>
                    <a:gd name="T2" fmla="*/ 62 w 150"/>
                    <a:gd name="T3" fmla="*/ 39 h 83"/>
                    <a:gd name="T4" fmla="*/ 54 w 150"/>
                    <a:gd name="T5" fmla="*/ 38 h 83"/>
                    <a:gd name="T6" fmla="*/ 48 w 150"/>
                    <a:gd name="T7" fmla="*/ 35 h 83"/>
                    <a:gd name="T8" fmla="*/ 42 w 150"/>
                    <a:gd name="T9" fmla="*/ 32 h 83"/>
                    <a:gd name="T10" fmla="*/ 37 w 150"/>
                    <a:gd name="T11" fmla="*/ 30 h 83"/>
                    <a:gd name="T12" fmla="*/ 34 w 150"/>
                    <a:gd name="T13" fmla="*/ 27 h 83"/>
                    <a:gd name="T14" fmla="*/ 31 w 150"/>
                    <a:gd name="T15" fmla="*/ 23 h 83"/>
                    <a:gd name="T16" fmla="*/ 28 w 150"/>
                    <a:gd name="T17" fmla="*/ 20 h 83"/>
                    <a:gd name="T18" fmla="*/ 25 w 150"/>
                    <a:gd name="T19" fmla="*/ 16 h 83"/>
                    <a:gd name="T20" fmla="*/ 23 w 150"/>
                    <a:gd name="T21" fmla="*/ 14 h 83"/>
                    <a:gd name="T22" fmla="*/ 19 w 150"/>
                    <a:gd name="T23" fmla="*/ 11 h 83"/>
                    <a:gd name="T24" fmla="*/ 17 w 150"/>
                    <a:gd name="T25" fmla="*/ 8 h 83"/>
                    <a:gd name="T26" fmla="*/ 14 w 150"/>
                    <a:gd name="T27" fmla="*/ 5 h 83"/>
                    <a:gd name="T28" fmla="*/ 10 w 150"/>
                    <a:gd name="T29" fmla="*/ 3 h 83"/>
                    <a:gd name="T30" fmla="*/ 6 w 150"/>
                    <a:gd name="T31" fmla="*/ 1 h 83"/>
                    <a:gd name="T32" fmla="*/ 0 w 150"/>
                    <a:gd name="T33" fmla="*/ 0 h 83"/>
                    <a:gd name="T34" fmla="*/ 2 w 150"/>
                    <a:gd name="T35" fmla="*/ 3 h 83"/>
                    <a:gd name="T36" fmla="*/ 7 w 150"/>
                    <a:gd name="T37" fmla="*/ 4 h 83"/>
                    <a:gd name="T38" fmla="*/ 12 w 150"/>
                    <a:gd name="T39" fmla="*/ 6 h 83"/>
                    <a:gd name="T40" fmla="*/ 15 w 150"/>
                    <a:gd name="T41" fmla="*/ 8 h 83"/>
                    <a:gd name="T42" fmla="*/ 18 w 150"/>
                    <a:gd name="T43" fmla="*/ 11 h 83"/>
                    <a:gd name="T44" fmla="*/ 20 w 150"/>
                    <a:gd name="T45" fmla="*/ 14 h 83"/>
                    <a:gd name="T46" fmla="*/ 23 w 150"/>
                    <a:gd name="T47" fmla="*/ 16 h 83"/>
                    <a:gd name="T48" fmla="*/ 26 w 150"/>
                    <a:gd name="T49" fmla="*/ 20 h 83"/>
                    <a:gd name="T50" fmla="*/ 28 w 150"/>
                    <a:gd name="T51" fmla="*/ 23 h 83"/>
                    <a:gd name="T52" fmla="*/ 31 w 150"/>
                    <a:gd name="T53" fmla="*/ 27 h 83"/>
                    <a:gd name="T54" fmla="*/ 35 w 150"/>
                    <a:gd name="T55" fmla="*/ 31 h 83"/>
                    <a:gd name="T56" fmla="*/ 40 w 150"/>
                    <a:gd name="T57" fmla="*/ 33 h 83"/>
                    <a:gd name="T58" fmla="*/ 44 w 150"/>
                    <a:gd name="T59" fmla="*/ 36 h 83"/>
                    <a:gd name="T60" fmla="*/ 51 w 150"/>
                    <a:gd name="T61" fmla="*/ 38 h 83"/>
                    <a:gd name="T62" fmla="*/ 58 w 150"/>
                    <a:gd name="T63" fmla="*/ 41 h 83"/>
                    <a:gd name="T64" fmla="*/ 67 w 150"/>
                    <a:gd name="T65" fmla="*/ 41 h 83"/>
                    <a:gd name="T66" fmla="*/ 71 w 150"/>
                    <a:gd name="T67" fmla="*/ 42 h 83"/>
                    <a:gd name="T68" fmla="*/ 71 w 150"/>
                    <a:gd name="T69" fmla="*/ 42 h 83"/>
                    <a:gd name="T70" fmla="*/ 71 w 150"/>
                    <a:gd name="T71" fmla="*/ 42 h 83"/>
                    <a:gd name="T72" fmla="*/ 72 w 150"/>
                    <a:gd name="T73" fmla="*/ 41 h 83"/>
                    <a:gd name="T74" fmla="*/ 72 w 150"/>
                    <a:gd name="T75" fmla="*/ 41 h 83"/>
                    <a:gd name="T76" fmla="*/ 72 w 150"/>
                    <a:gd name="T77" fmla="*/ 41 h 83"/>
                    <a:gd name="T78" fmla="*/ 71 w 150"/>
                    <a:gd name="T79" fmla="*/ 41 h 83"/>
                    <a:gd name="T80" fmla="*/ 71 w 150"/>
                    <a:gd name="T81" fmla="*/ 40 h 83"/>
                    <a:gd name="T82" fmla="*/ 71 w 150"/>
                    <a:gd name="T83" fmla="*/ 40 h 8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50" h="83">
                      <a:moveTo>
                        <a:pt x="149" y="79"/>
                      </a:moveTo>
                      <a:lnTo>
                        <a:pt x="148" y="79"/>
                      </a:lnTo>
                      <a:lnTo>
                        <a:pt x="138" y="78"/>
                      </a:lnTo>
                      <a:lnTo>
                        <a:pt x="129" y="77"/>
                      </a:lnTo>
                      <a:lnTo>
                        <a:pt x="120" y="76"/>
                      </a:lnTo>
                      <a:lnTo>
                        <a:pt x="113" y="74"/>
                      </a:lnTo>
                      <a:lnTo>
                        <a:pt x="106" y="72"/>
                      </a:lnTo>
                      <a:lnTo>
                        <a:pt x="99" y="69"/>
                      </a:lnTo>
                      <a:lnTo>
                        <a:pt x="93" y="67"/>
                      </a:lnTo>
                      <a:lnTo>
                        <a:pt x="88" y="64"/>
                      </a:lnTo>
                      <a:lnTo>
                        <a:pt x="83" y="62"/>
                      </a:lnTo>
                      <a:lnTo>
                        <a:pt x="78" y="59"/>
                      </a:lnTo>
                      <a:lnTo>
                        <a:pt x="74" y="56"/>
                      </a:lnTo>
                      <a:lnTo>
                        <a:pt x="70" y="53"/>
                      </a:lnTo>
                      <a:lnTo>
                        <a:pt x="67" y="50"/>
                      </a:lnTo>
                      <a:lnTo>
                        <a:pt x="64" y="47"/>
                      </a:lnTo>
                      <a:lnTo>
                        <a:pt x="61" y="43"/>
                      </a:lnTo>
                      <a:lnTo>
                        <a:pt x="58" y="40"/>
                      </a:lnTo>
                      <a:lnTo>
                        <a:pt x="55" y="37"/>
                      </a:lnTo>
                      <a:lnTo>
                        <a:pt x="52" y="33"/>
                      </a:lnTo>
                      <a:lnTo>
                        <a:pt x="49" y="30"/>
                      </a:lnTo>
                      <a:lnTo>
                        <a:pt x="47" y="27"/>
                      </a:lnTo>
                      <a:lnTo>
                        <a:pt x="44" y="24"/>
                      </a:lnTo>
                      <a:lnTo>
                        <a:pt x="41" y="21"/>
                      </a:lnTo>
                      <a:lnTo>
                        <a:pt x="38" y="18"/>
                      </a:lnTo>
                      <a:lnTo>
                        <a:pt x="36" y="15"/>
                      </a:lnTo>
                      <a:lnTo>
                        <a:pt x="32" y="13"/>
                      </a:lnTo>
                      <a:lnTo>
                        <a:pt x="29" y="10"/>
                      </a:lnTo>
                      <a:lnTo>
                        <a:pt x="25" y="8"/>
                      </a:lnTo>
                      <a:lnTo>
                        <a:pt x="21" y="6"/>
                      </a:lnTo>
                      <a:lnTo>
                        <a:pt x="16" y="4"/>
                      </a:lnTo>
                      <a:lnTo>
                        <a:pt x="11" y="2"/>
                      </a:lnTo>
                      <a:lnTo>
                        <a:pt x="6" y="1"/>
                      </a:lnTo>
                      <a:lnTo>
                        <a:pt x="0" y="0"/>
                      </a:lnTo>
                      <a:lnTo>
                        <a:pt x="0" y="4"/>
                      </a:lnTo>
                      <a:lnTo>
                        <a:pt x="5" y="5"/>
                      </a:lnTo>
                      <a:lnTo>
                        <a:pt x="11" y="6"/>
                      </a:lnTo>
                      <a:lnTo>
                        <a:pt x="15" y="8"/>
                      </a:lnTo>
                      <a:lnTo>
                        <a:pt x="19" y="9"/>
                      </a:lnTo>
                      <a:lnTo>
                        <a:pt x="24" y="11"/>
                      </a:lnTo>
                      <a:lnTo>
                        <a:pt x="27" y="13"/>
                      </a:lnTo>
                      <a:lnTo>
                        <a:pt x="30" y="16"/>
                      </a:lnTo>
                      <a:lnTo>
                        <a:pt x="34" y="19"/>
                      </a:lnTo>
                      <a:lnTo>
                        <a:pt x="37" y="21"/>
                      </a:lnTo>
                      <a:lnTo>
                        <a:pt x="39" y="24"/>
                      </a:lnTo>
                      <a:lnTo>
                        <a:pt x="42" y="27"/>
                      </a:lnTo>
                      <a:lnTo>
                        <a:pt x="45" y="30"/>
                      </a:lnTo>
                      <a:lnTo>
                        <a:pt x="47" y="33"/>
                      </a:lnTo>
                      <a:lnTo>
                        <a:pt x="50" y="37"/>
                      </a:lnTo>
                      <a:lnTo>
                        <a:pt x="53" y="40"/>
                      </a:lnTo>
                      <a:lnTo>
                        <a:pt x="55" y="43"/>
                      </a:lnTo>
                      <a:lnTo>
                        <a:pt x="58" y="47"/>
                      </a:lnTo>
                      <a:lnTo>
                        <a:pt x="61" y="50"/>
                      </a:lnTo>
                      <a:lnTo>
                        <a:pt x="65" y="53"/>
                      </a:lnTo>
                      <a:lnTo>
                        <a:pt x="69" y="57"/>
                      </a:lnTo>
                      <a:lnTo>
                        <a:pt x="73" y="60"/>
                      </a:lnTo>
                      <a:lnTo>
                        <a:pt x="77" y="63"/>
                      </a:lnTo>
                      <a:lnTo>
                        <a:pt x="82" y="66"/>
                      </a:lnTo>
                      <a:lnTo>
                        <a:pt x="87" y="68"/>
                      </a:lnTo>
                      <a:lnTo>
                        <a:pt x="92" y="71"/>
                      </a:lnTo>
                      <a:lnTo>
                        <a:pt x="98" y="74"/>
                      </a:lnTo>
                      <a:lnTo>
                        <a:pt x="105" y="76"/>
                      </a:lnTo>
                      <a:lnTo>
                        <a:pt x="112" y="77"/>
                      </a:lnTo>
                      <a:lnTo>
                        <a:pt x="120" y="80"/>
                      </a:lnTo>
                      <a:lnTo>
                        <a:pt x="128" y="81"/>
                      </a:lnTo>
                      <a:lnTo>
                        <a:pt x="138" y="82"/>
                      </a:lnTo>
                      <a:lnTo>
                        <a:pt x="148" y="83"/>
                      </a:lnTo>
                      <a:lnTo>
                        <a:pt x="147" y="83"/>
                      </a:lnTo>
                      <a:lnTo>
                        <a:pt x="148" y="83"/>
                      </a:lnTo>
                      <a:lnTo>
                        <a:pt x="149" y="83"/>
                      </a:lnTo>
                      <a:lnTo>
                        <a:pt x="149" y="82"/>
                      </a:lnTo>
                      <a:lnTo>
                        <a:pt x="150" y="82"/>
                      </a:lnTo>
                      <a:lnTo>
                        <a:pt x="150" y="81"/>
                      </a:lnTo>
                      <a:lnTo>
                        <a:pt x="150" y="80"/>
                      </a:lnTo>
                      <a:lnTo>
                        <a:pt x="149" y="80"/>
                      </a:lnTo>
                      <a:lnTo>
                        <a:pt x="149" y="79"/>
                      </a:lnTo>
                      <a:lnTo>
                        <a:pt x="148" y="79"/>
                      </a:lnTo>
                      <a:lnTo>
                        <a:pt x="149"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1" name="Freeform 923">
                  <a:extLst>
                    <a:ext uri="{FF2B5EF4-FFF2-40B4-BE49-F238E27FC236}">
                      <a16:creationId xmlns:a16="http://schemas.microsoft.com/office/drawing/2014/main" id="{6E31B8CA-A1DE-322C-A8A6-D36B19E8B722}"/>
                    </a:ext>
                  </a:extLst>
                </p:cNvPr>
                <p:cNvSpPr>
                  <a:spLocks/>
                </p:cNvSpPr>
                <p:nvPr/>
              </p:nvSpPr>
              <p:spPr bwMode="auto">
                <a:xfrm>
                  <a:off x="818" y="1057"/>
                  <a:ext cx="111" cy="72"/>
                </a:xfrm>
                <a:custGeom>
                  <a:avLst/>
                  <a:gdLst>
                    <a:gd name="T0" fmla="*/ 77 w 160"/>
                    <a:gd name="T1" fmla="*/ 50 h 101"/>
                    <a:gd name="T2" fmla="*/ 73 w 160"/>
                    <a:gd name="T3" fmla="*/ 43 h 101"/>
                    <a:gd name="T4" fmla="*/ 69 w 160"/>
                    <a:gd name="T5" fmla="*/ 38 h 101"/>
                    <a:gd name="T6" fmla="*/ 65 w 160"/>
                    <a:gd name="T7" fmla="*/ 33 h 101"/>
                    <a:gd name="T8" fmla="*/ 60 w 160"/>
                    <a:gd name="T9" fmla="*/ 29 h 101"/>
                    <a:gd name="T10" fmla="*/ 56 w 160"/>
                    <a:gd name="T11" fmla="*/ 26 h 101"/>
                    <a:gd name="T12" fmla="*/ 51 w 160"/>
                    <a:gd name="T13" fmla="*/ 22 h 101"/>
                    <a:gd name="T14" fmla="*/ 45 w 160"/>
                    <a:gd name="T15" fmla="*/ 20 h 101"/>
                    <a:gd name="T16" fmla="*/ 40 w 160"/>
                    <a:gd name="T17" fmla="*/ 17 h 101"/>
                    <a:gd name="T18" fmla="*/ 35 w 160"/>
                    <a:gd name="T19" fmla="*/ 15 h 101"/>
                    <a:gd name="T20" fmla="*/ 29 w 160"/>
                    <a:gd name="T21" fmla="*/ 13 h 101"/>
                    <a:gd name="T22" fmla="*/ 24 w 160"/>
                    <a:gd name="T23" fmla="*/ 11 h 101"/>
                    <a:gd name="T24" fmla="*/ 19 w 160"/>
                    <a:gd name="T25" fmla="*/ 9 h 101"/>
                    <a:gd name="T26" fmla="*/ 15 w 160"/>
                    <a:gd name="T27" fmla="*/ 7 h 101"/>
                    <a:gd name="T28" fmla="*/ 10 w 160"/>
                    <a:gd name="T29" fmla="*/ 5 h 101"/>
                    <a:gd name="T30" fmla="*/ 5 w 160"/>
                    <a:gd name="T31" fmla="*/ 3 h 101"/>
                    <a:gd name="T32" fmla="*/ 1 w 160"/>
                    <a:gd name="T33" fmla="*/ 0 h 101"/>
                    <a:gd name="T34" fmla="*/ 2 w 160"/>
                    <a:gd name="T35" fmla="*/ 4 h 101"/>
                    <a:gd name="T36" fmla="*/ 7 w 160"/>
                    <a:gd name="T37" fmla="*/ 6 h 101"/>
                    <a:gd name="T38" fmla="*/ 11 w 160"/>
                    <a:gd name="T39" fmla="*/ 8 h 101"/>
                    <a:gd name="T40" fmla="*/ 17 w 160"/>
                    <a:gd name="T41" fmla="*/ 10 h 101"/>
                    <a:gd name="T42" fmla="*/ 22 w 160"/>
                    <a:gd name="T43" fmla="*/ 12 h 101"/>
                    <a:gd name="T44" fmla="*/ 26 w 160"/>
                    <a:gd name="T45" fmla="*/ 14 h 101"/>
                    <a:gd name="T46" fmla="*/ 32 w 160"/>
                    <a:gd name="T47" fmla="*/ 16 h 101"/>
                    <a:gd name="T48" fmla="*/ 37 w 160"/>
                    <a:gd name="T49" fmla="*/ 18 h 101"/>
                    <a:gd name="T50" fmla="*/ 42 w 160"/>
                    <a:gd name="T51" fmla="*/ 21 h 101"/>
                    <a:gd name="T52" fmla="*/ 47 w 160"/>
                    <a:gd name="T53" fmla="*/ 23 h 101"/>
                    <a:gd name="T54" fmla="*/ 53 w 160"/>
                    <a:gd name="T55" fmla="*/ 26 h 101"/>
                    <a:gd name="T56" fmla="*/ 58 w 160"/>
                    <a:gd name="T57" fmla="*/ 29 h 101"/>
                    <a:gd name="T58" fmla="*/ 62 w 160"/>
                    <a:gd name="T59" fmla="*/ 33 h 101"/>
                    <a:gd name="T60" fmla="*/ 67 w 160"/>
                    <a:gd name="T61" fmla="*/ 37 h 101"/>
                    <a:gd name="T62" fmla="*/ 70 w 160"/>
                    <a:gd name="T63" fmla="*/ 42 h 101"/>
                    <a:gd name="T64" fmla="*/ 74 w 160"/>
                    <a:gd name="T65" fmla="*/ 47 h 101"/>
                    <a:gd name="T66" fmla="*/ 76 w 160"/>
                    <a:gd name="T67" fmla="*/ 50 h 101"/>
                    <a:gd name="T68" fmla="*/ 76 w 160"/>
                    <a:gd name="T69" fmla="*/ 51 h 101"/>
                    <a:gd name="T70" fmla="*/ 76 w 160"/>
                    <a:gd name="T71" fmla="*/ 51 h 101"/>
                    <a:gd name="T72" fmla="*/ 76 w 160"/>
                    <a:gd name="T73" fmla="*/ 51 h 101"/>
                    <a:gd name="T74" fmla="*/ 77 w 160"/>
                    <a:gd name="T75" fmla="*/ 51 h 101"/>
                    <a:gd name="T76" fmla="*/ 77 w 160"/>
                    <a:gd name="T77" fmla="*/ 51 h 101"/>
                    <a:gd name="T78" fmla="*/ 77 w 160"/>
                    <a:gd name="T79" fmla="*/ 51 h 101"/>
                    <a:gd name="T80" fmla="*/ 77 w 160"/>
                    <a:gd name="T81" fmla="*/ 50 h 101"/>
                    <a:gd name="T82" fmla="*/ 77 w 160"/>
                    <a:gd name="T83" fmla="*/ 50 h 101"/>
                    <a:gd name="T84" fmla="*/ 77 w 160"/>
                    <a:gd name="T85" fmla="*/ 51 h 1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0" h="101">
                      <a:moveTo>
                        <a:pt x="160" y="100"/>
                      </a:moveTo>
                      <a:lnTo>
                        <a:pt x="160" y="98"/>
                      </a:lnTo>
                      <a:lnTo>
                        <a:pt x="157" y="91"/>
                      </a:lnTo>
                      <a:lnTo>
                        <a:pt x="152" y="85"/>
                      </a:lnTo>
                      <a:lnTo>
                        <a:pt x="149" y="79"/>
                      </a:lnTo>
                      <a:lnTo>
                        <a:pt x="144" y="74"/>
                      </a:lnTo>
                      <a:lnTo>
                        <a:pt x="140" y="69"/>
                      </a:lnTo>
                      <a:lnTo>
                        <a:pt x="135" y="65"/>
                      </a:lnTo>
                      <a:lnTo>
                        <a:pt x="130" y="61"/>
                      </a:lnTo>
                      <a:lnTo>
                        <a:pt x="125" y="57"/>
                      </a:lnTo>
                      <a:lnTo>
                        <a:pt x="120" y="53"/>
                      </a:lnTo>
                      <a:lnTo>
                        <a:pt x="115" y="50"/>
                      </a:lnTo>
                      <a:lnTo>
                        <a:pt x="110" y="47"/>
                      </a:lnTo>
                      <a:lnTo>
                        <a:pt x="105" y="44"/>
                      </a:lnTo>
                      <a:lnTo>
                        <a:pt x="100" y="40"/>
                      </a:lnTo>
                      <a:lnTo>
                        <a:pt x="94" y="39"/>
                      </a:lnTo>
                      <a:lnTo>
                        <a:pt x="89" y="36"/>
                      </a:lnTo>
                      <a:lnTo>
                        <a:pt x="83" y="34"/>
                      </a:lnTo>
                      <a:lnTo>
                        <a:pt x="78" y="32"/>
                      </a:lnTo>
                      <a:lnTo>
                        <a:pt x="72" y="30"/>
                      </a:lnTo>
                      <a:lnTo>
                        <a:pt x="67" y="28"/>
                      </a:lnTo>
                      <a:lnTo>
                        <a:pt x="61" y="25"/>
                      </a:lnTo>
                      <a:lnTo>
                        <a:pt x="56" y="24"/>
                      </a:lnTo>
                      <a:lnTo>
                        <a:pt x="51" y="22"/>
                      </a:lnTo>
                      <a:lnTo>
                        <a:pt x="45" y="20"/>
                      </a:lnTo>
                      <a:lnTo>
                        <a:pt x="40" y="18"/>
                      </a:lnTo>
                      <a:lnTo>
                        <a:pt x="35" y="16"/>
                      </a:lnTo>
                      <a:lnTo>
                        <a:pt x="30" y="14"/>
                      </a:lnTo>
                      <a:lnTo>
                        <a:pt x="25" y="12"/>
                      </a:lnTo>
                      <a:lnTo>
                        <a:pt x="20" y="10"/>
                      </a:lnTo>
                      <a:lnTo>
                        <a:pt x="15" y="8"/>
                      </a:lnTo>
                      <a:lnTo>
                        <a:pt x="10" y="5"/>
                      </a:lnTo>
                      <a:lnTo>
                        <a:pt x="6" y="3"/>
                      </a:lnTo>
                      <a:lnTo>
                        <a:pt x="1" y="0"/>
                      </a:lnTo>
                      <a:lnTo>
                        <a:pt x="0" y="3"/>
                      </a:lnTo>
                      <a:lnTo>
                        <a:pt x="4" y="7"/>
                      </a:lnTo>
                      <a:lnTo>
                        <a:pt x="9" y="9"/>
                      </a:lnTo>
                      <a:lnTo>
                        <a:pt x="14" y="12"/>
                      </a:lnTo>
                      <a:lnTo>
                        <a:pt x="18" y="14"/>
                      </a:lnTo>
                      <a:lnTo>
                        <a:pt x="23" y="16"/>
                      </a:lnTo>
                      <a:lnTo>
                        <a:pt x="28" y="18"/>
                      </a:lnTo>
                      <a:lnTo>
                        <a:pt x="34" y="20"/>
                      </a:lnTo>
                      <a:lnTo>
                        <a:pt x="39" y="22"/>
                      </a:lnTo>
                      <a:lnTo>
                        <a:pt x="45" y="24"/>
                      </a:lnTo>
                      <a:lnTo>
                        <a:pt x="50" y="25"/>
                      </a:lnTo>
                      <a:lnTo>
                        <a:pt x="55" y="28"/>
                      </a:lnTo>
                      <a:lnTo>
                        <a:pt x="61" y="30"/>
                      </a:lnTo>
                      <a:lnTo>
                        <a:pt x="66" y="32"/>
                      </a:lnTo>
                      <a:lnTo>
                        <a:pt x="72" y="33"/>
                      </a:lnTo>
                      <a:lnTo>
                        <a:pt x="77" y="35"/>
                      </a:lnTo>
                      <a:lnTo>
                        <a:pt x="83" y="38"/>
                      </a:lnTo>
                      <a:lnTo>
                        <a:pt x="88" y="40"/>
                      </a:lnTo>
                      <a:lnTo>
                        <a:pt x="93" y="42"/>
                      </a:lnTo>
                      <a:lnTo>
                        <a:pt x="98" y="45"/>
                      </a:lnTo>
                      <a:lnTo>
                        <a:pt x="104" y="48"/>
                      </a:lnTo>
                      <a:lnTo>
                        <a:pt x="109" y="51"/>
                      </a:lnTo>
                      <a:lnTo>
                        <a:pt x="114" y="53"/>
                      </a:lnTo>
                      <a:lnTo>
                        <a:pt x="119" y="57"/>
                      </a:lnTo>
                      <a:lnTo>
                        <a:pt x="124" y="60"/>
                      </a:lnTo>
                      <a:lnTo>
                        <a:pt x="128" y="64"/>
                      </a:lnTo>
                      <a:lnTo>
                        <a:pt x="134" y="68"/>
                      </a:lnTo>
                      <a:lnTo>
                        <a:pt x="138" y="73"/>
                      </a:lnTo>
                      <a:lnTo>
                        <a:pt x="142" y="77"/>
                      </a:lnTo>
                      <a:lnTo>
                        <a:pt x="146" y="83"/>
                      </a:lnTo>
                      <a:lnTo>
                        <a:pt x="150" y="88"/>
                      </a:lnTo>
                      <a:lnTo>
                        <a:pt x="154" y="93"/>
                      </a:lnTo>
                      <a:lnTo>
                        <a:pt x="157" y="100"/>
                      </a:lnTo>
                      <a:lnTo>
                        <a:pt x="157" y="98"/>
                      </a:lnTo>
                      <a:lnTo>
                        <a:pt x="157" y="100"/>
                      </a:lnTo>
                      <a:lnTo>
                        <a:pt x="158" y="100"/>
                      </a:lnTo>
                      <a:lnTo>
                        <a:pt x="159" y="100"/>
                      </a:lnTo>
                      <a:lnTo>
                        <a:pt x="159" y="101"/>
                      </a:lnTo>
                      <a:lnTo>
                        <a:pt x="159" y="100"/>
                      </a:lnTo>
                      <a:lnTo>
                        <a:pt x="160" y="100"/>
                      </a:lnTo>
                      <a:lnTo>
                        <a:pt x="160" y="99"/>
                      </a:lnTo>
                      <a:lnTo>
                        <a:pt x="160" y="98"/>
                      </a:lnTo>
                      <a:lnTo>
                        <a:pt x="160"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2" name="Freeform 924">
                  <a:extLst>
                    <a:ext uri="{FF2B5EF4-FFF2-40B4-BE49-F238E27FC236}">
                      <a16:creationId xmlns:a16="http://schemas.microsoft.com/office/drawing/2014/main" id="{A90BD5F5-41CD-38CB-5C1B-BE5293314712}"/>
                    </a:ext>
                  </a:extLst>
                </p:cNvPr>
                <p:cNvSpPr>
                  <a:spLocks/>
                </p:cNvSpPr>
                <p:nvPr/>
              </p:nvSpPr>
              <p:spPr bwMode="auto">
                <a:xfrm>
                  <a:off x="903" y="1127"/>
                  <a:ext cx="72" cy="64"/>
                </a:xfrm>
                <a:custGeom>
                  <a:avLst/>
                  <a:gdLst>
                    <a:gd name="T0" fmla="*/ 45 w 103"/>
                    <a:gd name="T1" fmla="*/ 40 h 91"/>
                    <a:gd name="T2" fmla="*/ 36 w 103"/>
                    <a:gd name="T3" fmla="*/ 41 h 91"/>
                    <a:gd name="T4" fmla="*/ 28 w 103"/>
                    <a:gd name="T5" fmla="*/ 41 h 91"/>
                    <a:gd name="T6" fmla="*/ 21 w 103"/>
                    <a:gd name="T7" fmla="*/ 41 h 91"/>
                    <a:gd name="T8" fmla="*/ 15 w 103"/>
                    <a:gd name="T9" fmla="*/ 42 h 91"/>
                    <a:gd name="T10" fmla="*/ 10 w 103"/>
                    <a:gd name="T11" fmla="*/ 43 h 91"/>
                    <a:gd name="T12" fmla="*/ 6 w 103"/>
                    <a:gd name="T13" fmla="*/ 43 h 91"/>
                    <a:gd name="T14" fmla="*/ 4 w 103"/>
                    <a:gd name="T15" fmla="*/ 42 h 91"/>
                    <a:gd name="T16" fmla="*/ 2 w 103"/>
                    <a:gd name="T17" fmla="*/ 41 h 91"/>
                    <a:gd name="T18" fmla="*/ 2 w 103"/>
                    <a:gd name="T19" fmla="*/ 41 h 91"/>
                    <a:gd name="T20" fmla="*/ 2 w 103"/>
                    <a:gd name="T21" fmla="*/ 39 h 91"/>
                    <a:gd name="T22" fmla="*/ 3 w 103"/>
                    <a:gd name="T23" fmla="*/ 34 h 91"/>
                    <a:gd name="T24" fmla="*/ 5 w 103"/>
                    <a:gd name="T25" fmla="*/ 30 h 91"/>
                    <a:gd name="T26" fmla="*/ 8 w 103"/>
                    <a:gd name="T27" fmla="*/ 23 h 91"/>
                    <a:gd name="T28" fmla="*/ 11 w 103"/>
                    <a:gd name="T29" fmla="*/ 16 h 91"/>
                    <a:gd name="T30" fmla="*/ 16 w 103"/>
                    <a:gd name="T31" fmla="*/ 6 h 91"/>
                    <a:gd name="T32" fmla="*/ 17 w 103"/>
                    <a:gd name="T33" fmla="*/ 0 h 91"/>
                    <a:gd name="T34" fmla="*/ 12 w 103"/>
                    <a:gd name="T35" fmla="*/ 10 h 91"/>
                    <a:gd name="T36" fmla="*/ 8 w 103"/>
                    <a:gd name="T37" fmla="*/ 19 h 91"/>
                    <a:gd name="T38" fmla="*/ 4 w 103"/>
                    <a:gd name="T39" fmla="*/ 26 h 91"/>
                    <a:gd name="T40" fmla="*/ 2 w 103"/>
                    <a:gd name="T41" fmla="*/ 32 h 91"/>
                    <a:gd name="T42" fmla="*/ 1 w 103"/>
                    <a:gd name="T43" fmla="*/ 36 h 91"/>
                    <a:gd name="T44" fmla="*/ 0 w 103"/>
                    <a:gd name="T45" fmla="*/ 39 h 91"/>
                    <a:gd name="T46" fmla="*/ 1 w 103"/>
                    <a:gd name="T47" fmla="*/ 42 h 91"/>
                    <a:gd name="T48" fmla="*/ 2 w 103"/>
                    <a:gd name="T49" fmla="*/ 44 h 91"/>
                    <a:gd name="T50" fmla="*/ 5 w 103"/>
                    <a:gd name="T51" fmla="*/ 45 h 91"/>
                    <a:gd name="T52" fmla="*/ 8 w 103"/>
                    <a:gd name="T53" fmla="*/ 45 h 91"/>
                    <a:gd name="T54" fmla="*/ 13 w 103"/>
                    <a:gd name="T55" fmla="*/ 44 h 91"/>
                    <a:gd name="T56" fmla="*/ 18 w 103"/>
                    <a:gd name="T57" fmla="*/ 44 h 91"/>
                    <a:gd name="T58" fmla="*/ 24 w 103"/>
                    <a:gd name="T59" fmla="*/ 44 h 91"/>
                    <a:gd name="T60" fmla="*/ 31 w 103"/>
                    <a:gd name="T61" fmla="*/ 43 h 91"/>
                    <a:gd name="T62" fmla="*/ 40 w 103"/>
                    <a:gd name="T63" fmla="*/ 42 h 91"/>
                    <a:gd name="T64" fmla="*/ 50 w 103"/>
                    <a:gd name="T65" fmla="*/ 42 h 91"/>
                    <a:gd name="T66" fmla="*/ 50 w 103"/>
                    <a:gd name="T67" fmla="*/ 42 h 91"/>
                    <a:gd name="T68" fmla="*/ 50 w 103"/>
                    <a:gd name="T69" fmla="*/ 41 h 91"/>
                    <a:gd name="T70" fmla="*/ 50 w 103"/>
                    <a:gd name="T71" fmla="*/ 41 h 91"/>
                    <a:gd name="T72" fmla="*/ 50 w 103"/>
                    <a:gd name="T73" fmla="*/ 41 h 91"/>
                    <a:gd name="T74" fmla="*/ 50 w 103"/>
                    <a:gd name="T75" fmla="*/ 41 h 91"/>
                    <a:gd name="T76" fmla="*/ 50 w 103"/>
                    <a:gd name="T77" fmla="*/ 41 h 91"/>
                    <a:gd name="T78" fmla="*/ 50 w 103"/>
                    <a:gd name="T79" fmla="*/ 41 h 91"/>
                    <a:gd name="T80" fmla="*/ 50 w 103"/>
                    <a:gd name="T81" fmla="*/ 40 h 91"/>
                    <a:gd name="T82" fmla="*/ 50 w 103"/>
                    <a:gd name="T83" fmla="*/ 40 h 9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3" h="91">
                      <a:moveTo>
                        <a:pt x="102" y="81"/>
                      </a:moveTo>
                      <a:lnTo>
                        <a:pt x="91" y="81"/>
                      </a:lnTo>
                      <a:lnTo>
                        <a:pt x="82" y="81"/>
                      </a:lnTo>
                      <a:lnTo>
                        <a:pt x="73" y="82"/>
                      </a:lnTo>
                      <a:lnTo>
                        <a:pt x="65" y="83"/>
                      </a:lnTo>
                      <a:lnTo>
                        <a:pt x="57" y="83"/>
                      </a:lnTo>
                      <a:lnTo>
                        <a:pt x="49" y="84"/>
                      </a:lnTo>
                      <a:lnTo>
                        <a:pt x="43" y="84"/>
                      </a:lnTo>
                      <a:lnTo>
                        <a:pt x="37" y="85"/>
                      </a:lnTo>
                      <a:lnTo>
                        <a:pt x="31" y="86"/>
                      </a:lnTo>
                      <a:lnTo>
                        <a:pt x="26" y="86"/>
                      </a:lnTo>
                      <a:lnTo>
                        <a:pt x="21" y="87"/>
                      </a:lnTo>
                      <a:lnTo>
                        <a:pt x="17" y="87"/>
                      </a:lnTo>
                      <a:lnTo>
                        <a:pt x="13" y="87"/>
                      </a:lnTo>
                      <a:lnTo>
                        <a:pt x="11" y="87"/>
                      </a:lnTo>
                      <a:lnTo>
                        <a:pt x="8" y="86"/>
                      </a:lnTo>
                      <a:lnTo>
                        <a:pt x="6" y="86"/>
                      </a:lnTo>
                      <a:lnTo>
                        <a:pt x="5" y="84"/>
                      </a:lnTo>
                      <a:lnTo>
                        <a:pt x="4" y="84"/>
                      </a:lnTo>
                      <a:lnTo>
                        <a:pt x="4" y="82"/>
                      </a:lnTo>
                      <a:lnTo>
                        <a:pt x="3" y="80"/>
                      </a:lnTo>
                      <a:lnTo>
                        <a:pt x="4" y="78"/>
                      </a:lnTo>
                      <a:lnTo>
                        <a:pt x="4" y="74"/>
                      </a:lnTo>
                      <a:lnTo>
                        <a:pt x="6" y="70"/>
                      </a:lnTo>
                      <a:lnTo>
                        <a:pt x="7" y="66"/>
                      </a:lnTo>
                      <a:lnTo>
                        <a:pt x="10" y="60"/>
                      </a:lnTo>
                      <a:lnTo>
                        <a:pt x="12" y="55"/>
                      </a:lnTo>
                      <a:lnTo>
                        <a:pt x="16" y="47"/>
                      </a:lnTo>
                      <a:lnTo>
                        <a:pt x="19" y="40"/>
                      </a:lnTo>
                      <a:lnTo>
                        <a:pt x="23" y="32"/>
                      </a:lnTo>
                      <a:lnTo>
                        <a:pt x="28" y="23"/>
                      </a:lnTo>
                      <a:lnTo>
                        <a:pt x="33" y="13"/>
                      </a:lnTo>
                      <a:lnTo>
                        <a:pt x="38" y="2"/>
                      </a:lnTo>
                      <a:lnTo>
                        <a:pt x="36" y="0"/>
                      </a:lnTo>
                      <a:lnTo>
                        <a:pt x="30" y="10"/>
                      </a:lnTo>
                      <a:lnTo>
                        <a:pt x="25" y="20"/>
                      </a:lnTo>
                      <a:lnTo>
                        <a:pt x="21" y="30"/>
                      </a:lnTo>
                      <a:lnTo>
                        <a:pt x="17" y="38"/>
                      </a:lnTo>
                      <a:lnTo>
                        <a:pt x="13" y="46"/>
                      </a:lnTo>
                      <a:lnTo>
                        <a:pt x="9" y="52"/>
                      </a:lnTo>
                      <a:lnTo>
                        <a:pt x="7" y="58"/>
                      </a:lnTo>
                      <a:lnTo>
                        <a:pt x="5" y="64"/>
                      </a:lnTo>
                      <a:lnTo>
                        <a:pt x="3" y="68"/>
                      </a:lnTo>
                      <a:lnTo>
                        <a:pt x="1" y="73"/>
                      </a:lnTo>
                      <a:lnTo>
                        <a:pt x="1" y="76"/>
                      </a:lnTo>
                      <a:lnTo>
                        <a:pt x="0" y="80"/>
                      </a:lnTo>
                      <a:lnTo>
                        <a:pt x="1" y="83"/>
                      </a:lnTo>
                      <a:lnTo>
                        <a:pt x="1" y="86"/>
                      </a:lnTo>
                      <a:lnTo>
                        <a:pt x="3" y="88"/>
                      </a:lnTo>
                      <a:lnTo>
                        <a:pt x="5" y="89"/>
                      </a:lnTo>
                      <a:lnTo>
                        <a:pt x="7" y="90"/>
                      </a:lnTo>
                      <a:lnTo>
                        <a:pt x="10" y="91"/>
                      </a:lnTo>
                      <a:lnTo>
                        <a:pt x="13" y="91"/>
                      </a:lnTo>
                      <a:lnTo>
                        <a:pt x="17" y="91"/>
                      </a:lnTo>
                      <a:lnTo>
                        <a:pt x="21" y="91"/>
                      </a:lnTo>
                      <a:lnTo>
                        <a:pt x="26" y="90"/>
                      </a:lnTo>
                      <a:lnTo>
                        <a:pt x="31" y="90"/>
                      </a:lnTo>
                      <a:lnTo>
                        <a:pt x="37" y="89"/>
                      </a:lnTo>
                      <a:lnTo>
                        <a:pt x="43" y="89"/>
                      </a:lnTo>
                      <a:lnTo>
                        <a:pt x="50" y="88"/>
                      </a:lnTo>
                      <a:lnTo>
                        <a:pt x="57" y="87"/>
                      </a:lnTo>
                      <a:lnTo>
                        <a:pt x="65" y="87"/>
                      </a:lnTo>
                      <a:lnTo>
                        <a:pt x="73" y="86"/>
                      </a:lnTo>
                      <a:lnTo>
                        <a:pt x="82" y="86"/>
                      </a:lnTo>
                      <a:lnTo>
                        <a:pt x="91" y="86"/>
                      </a:lnTo>
                      <a:lnTo>
                        <a:pt x="102" y="85"/>
                      </a:lnTo>
                      <a:lnTo>
                        <a:pt x="103" y="85"/>
                      </a:lnTo>
                      <a:lnTo>
                        <a:pt x="103" y="84"/>
                      </a:lnTo>
                      <a:lnTo>
                        <a:pt x="103" y="83"/>
                      </a:lnTo>
                      <a:lnTo>
                        <a:pt x="103" y="82"/>
                      </a:lnTo>
                      <a:lnTo>
                        <a:pt x="103" y="81"/>
                      </a:lnTo>
                      <a:lnTo>
                        <a:pt x="102"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3" name="Freeform 925">
                  <a:extLst>
                    <a:ext uri="{FF2B5EF4-FFF2-40B4-BE49-F238E27FC236}">
                      <a16:creationId xmlns:a16="http://schemas.microsoft.com/office/drawing/2014/main" id="{2B2B4E3D-1941-34CB-82DE-B1DC98C91C0A}"/>
                    </a:ext>
                  </a:extLst>
                </p:cNvPr>
                <p:cNvSpPr>
                  <a:spLocks/>
                </p:cNvSpPr>
                <p:nvPr/>
              </p:nvSpPr>
              <p:spPr bwMode="auto">
                <a:xfrm>
                  <a:off x="973" y="1184"/>
                  <a:ext cx="60" cy="72"/>
                </a:xfrm>
                <a:custGeom>
                  <a:avLst/>
                  <a:gdLst>
                    <a:gd name="T0" fmla="*/ 41 w 86"/>
                    <a:gd name="T1" fmla="*/ 48 h 101"/>
                    <a:gd name="T2" fmla="*/ 41 w 86"/>
                    <a:gd name="T3" fmla="*/ 43 h 101"/>
                    <a:gd name="T4" fmla="*/ 40 w 86"/>
                    <a:gd name="T5" fmla="*/ 38 h 101"/>
                    <a:gd name="T6" fmla="*/ 39 w 86"/>
                    <a:gd name="T7" fmla="*/ 34 h 101"/>
                    <a:gd name="T8" fmla="*/ 37 w 86"/>
                    <a:gd name="T9" fmla="*/ 29 h 101"/>
                    <a:gd name="T10" fmla="*/ 35 w 86"/>
                    <a:gd name="T11" fmla="*/ 25 h 101"/>
                    <a:gd name="T12" fmla="*/ 33 w 86"/>
                    <a:gd name="T13" fmla="*/ 21 h 101"/>
                    <a:gd name="T14" fmla="*/ 30 w 86"/>
                    <a:gd name="T15" fmla="*/ 17 h 101"/>
                    <a:gd name="T16" fmla="*/ 27 w 86"/>
                    <a:gd name="T17" fmla="*/ 14 h 101"/>
                    <a:gd name="T18" fmla="*/ 24 w 86"/>
                    <a:gd name="T19" fmla="*/ 10 h 101"/>
                    <a:gd name="T20" fmla="*/ 20 w 86"/>
                    <a:gd name="T21" fmla="*/ 8 h 101"/>
                    <a:gd name="T22" fmla="*/ 17 w 86"/>
                    <a:gd name="T23" fmla="*/ 6 h 101"/>
                    <a:gd name="T24" fmla="*/ 13 w 86"/>
                    <a:gd name="T25" fmla="*/ 4 h 101"/>
                    <a:gd name="T26" fmla="*/ 9 w 86"/>
                    <a:gd name="T27" fmla="*/ 1 h 101"/>
                    <a:gd name="T28" fmla="*/ 6 w 86"/>
                    <a:gd name="T29" fmla="*/ 1 h 101"/>
                    <a:gd name="T30" fmla="*/ 2 w 86"/>
                    <a:gd name="T31" fmla="*/ 1 h 101"/>
                    <a:gd name="T32" fmla="*/ 0 w 86"/>
                    <a:gd name="T33" fmla="*/ 3 h 101"/>
                    <a:gd name="T34" fmla="*/ 3 w 86"/>
                    <a:gd name="T35" fmla="*/ 3 h 101"/>
                    <a:gd name="T36" fmla="*/ 7 w 86"/>
                    <a:gd name="T37" fmla="*/ 4 h 101"/>
                    <a:gd name="T38" fmla="*/ 10 w 86"/>
                    <a:gd name="T39" fmla="*/ 4 h 101"/>
                    <a:gd name="T40" fmla="*/ 14 w 86"/>
                    <a:gd name="T41" fmla="*/ 6 h 101"/>
                    <a:gd name="T42" fmla="*/ 17 w 86"/>
                    <a:gd name="T43" fmla="*/ 8 h 101"/>
                    <a:gd name="T44" fmla="*/ 21 w 86"/>
                    <a:gd name="T45" fmla="*/ 11 h 101"/>
                    <a:gd name="T46" fmla="*/ 24 w 86"/>
                    <a:gd name="T47" fmla="*/ 14 h 101"/>
                    <a:gd name="T48" fmla="*/ 27 w 86"/>
                    <a:gd name="T49" fmla="*/ 17 h 101"/>
                    <a:gd name="T50" fmla="*/ 30 w 86"/>
                    <a:gd name="T51" fmla="*/ 21 h 101"/>
                    <a:gd name="T52" fmla="*/ 33 w 86"/>
                    <a:gd name="T53" fmla="*/ 24 h 101"/>
                    <a:gd name="T54" fmla="*/ 35 w 86"/>
                    <a:gd name="T55" fmla="*/ 28 h 101"/>
                    <a:gd name="T56" fmla="*/ 36 w 86"/>
                    <a:gd name="T57" fmla="*/ 32 h 101"/>
                    <a:gd name="T58" fmla="*/ 38 w 86"/>
                    <a:gd name="T59" fmla="*/ 36 h 101"/>
                    <a:gd name="T60" fmla="*/ 39 w 86"/>
                    <a:gd name="T61" fmla="*/ 41 h 101"/>
                    <a:gd name="T62" fmla="*/ 40 w 86"/>
                    <a:gd name="T63" fmla="*/ 46 h 101"/>
                    <a:gd name="T64" fmla="*/ 40 w 86"/>
                    <a:gd name="T65" fmla="*/ 51 h 101"/>
                    <a:gd name="T66" fmla="*/ 40 w 86"/>
                    <a:gd name="T67" fmla="*/ 51 h 101"/>
                    <a:gd name="T68" fmla="*/ 40 w 86"/>
                    <a:gd name="T69" fmla="*/ 51 h 101"/>
                    <a:gd name="T70" fmla="*/ 40 w 86"/>
                    <a:gd name="T71" fmla="*/ 51 h 101"/>
                    <a:gd name="T72" fmla="*/ 41 w 86"/>
                    <a:gd name="T73" fmla="*/ 51 h 101"/>
                    <a:gd name="T74" fmla="*/ 41 w 86"/>
                    <a:gd name="T75" fmla="*/ 51 h 101"/>
                    <a:gd name="T76" fmla="*/ 41 w 86"/>
                    <a:gd name="T77" fmla="*/ 51 h 101"/>
                    <a:gd name="T78" fmla="*/ 41 w 86"/>
                    <a:gd name="T79" fmla="*/ 51 h 101"/>
                    <a:gd name="T80" fmla="*/ 41 w 86"/>
                    <a:gd name="T81" fmla="*/ 51 h 101"/>
                    <a:gd name="T82" fmla="*/ 41 w 86"/>
                    <a:gd name="T83" fmla="*/ 51 h 1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6" h="101">
                      <a:moveTo>
                        <a:pt x="86" y="100"/>
                      </a:moveTo>
                      <a:lnTo>
                        <a:pt x="85" y="95"/>
                      </a:lnTo>
                      <a:lnTo>
                        <a:pt x="85" y="90"/>
                      </a:lnTo>
                      <a:lnTo>
                        <a:pt x="85" y="85"/>
                      </a:lnTo>
                      <a:lnTo>
                        <a:pt x="84" y="79"/>
                      </a:lnTo>
                      <a:lnTo>
                        <a:pt x="82" y="75"/>
                      </a:lnTo>
                      <a:lnTo>
                        <a:pt x="81" y="71"/>
                      </a:lnTo>
                      <a:lnTo>
                        <a:pt x="80" y="66"/>
                      </a:lnTo>
                      <a:lnTo>
                        <a:pt x="78" y="61"/>
                      </a:lnTo>
                      <a:lnTo>
                        <a:pt x="76" y="57"/>
                      </a:lnTo>
                      <a:lnTo>
                        <a:pt x="74" y="53"/>
                      </a:lnTo>
                      <a:lnTo>
                        <a:pt x="72" y="49"/>
                      </a:lnTo>
                      <a:lnTo>
                        <a:pt x="69" y="44"/>
                      </a:lnTo>
                      <a:lnTo>
                        <a:pt x="67" y="41"/>
                      </a:lnTo>
                      <a:lnTo>
                        <a:pt x="64" y="37"/>
                      </a:lnTo>
                      <a:lnTo>
                        <a:pt x="61" y="34"/>
                      </a:lnTo>
                      <a:lnTo>
                        <a:pt x="58" y="30"/>
                      </a:lnTo>
                      <a:lnTo>
                        <a:pt x="55" y="26"/>
                      </a:lnTo>
                      <a:lnTo>
                        <a:pt x="52" y="24"/>
                      </a:lnTo>
                      <a:lnTo>
                        <a:pt x="49" y="20"/>
                      </a:lnTo>
                      <a:lnTo>
                        <a:pt x="45" y="17"/>
                      </a:lnTo>
                      <a:lnTo>
                        <a:pt x="41" y="15"/>
                      </a:lnTo>
                      <a:lnTo>
                        <a:pt x="38" y="13"/>
                      </a:lnTo>
                      <a:lnTo>
                        <a:pt x="34" y="11"/>
                      </a:lnTo>
                      <a:lnTo>
                        <a:pt x="30" y="9"/>
                      </a:lnTo>
                      <a:lnTo>
                        <a:pt x="27" y="7"/>
                      </a:lnTo>
                      <a:lnTo>
                        <a:pt x="23" y="5"/>
                      </a:lnTo>
                      <a:lnTo>
                        <a:pt x="19" y="3"/>
                      </a:lnTo>
                      <a:lnTo>
                        <a:pt x="15" y="3"/>
                      </a:lnTo>
                      <a:lnTo>
                        <a:pt x="12" y="2"/>
                      </a:lnTo>
                      <a:lnTo>
                        <a:pt x="8" y="2"/>
                      </a:lnTo>
                      <a:lnTo>
                        <a:pt x="4" y="1"/>
                      </a:lnTo>
                      <a:lnTo>
                        <a:pt x="0" y="0"/>
                      </a:lnTo>
                      <a:lnTo>
                        <a:pt x="0" y="5"/>
                      </a:lnTo>
                      <a:lnTo>
                        <a:pt x="4" y="5"/>
                      </a:lnTo>
                      <a:lnTo>
                        <a:pt x="7" y="5"/>
                      </a:lnTo>
                      <a:lnTo>
                        <a:pt x="11" y="5"/>
                      </a:lnTo>
                      <a:lnTo>
                        <a:pt x="15" y="7"/>
                      </a:lnTo>
                      <a:lnTo>
                        <a:pt x="18" y="8"/>
                      </a:lnTo>
                      <a:lnTo>
                        <a:pt x="22" y="9"/>
                      </a:lnTo>
                      <a:lnTo>
                        <a:pt x="26" y="11"/>
                      </a:lnTo>
                      <a:lnTo>
                        <a:pt x="29" y="12"/>
                      </a:lnTo>
                      <a:lnTo>
                        <a:pt x="33" y="14"/>
                      </a:lnTo>
                      <a:lnTo>
                        <a:pt x="36" y="16"/>
                      </a:lnTo>
                      <a:lnTo>
                        <a:pt x="40" y="19"/>
                      </a:lnTo>
                      <a:lnTo>
                        <a:pt x="43" y="21"/>
                      </a:lnTo>
                      <a:lnTo>
                        <a:pt x="47" y="24"/>
                      </a:lnTo>
                      <a:lnTo>
                        <a:pt x="50" y="27"/>
                      </a:lnTo>
                      <a:lnTo>
                        <a:pt x="53" y="30"/>
                      </a:lnTo>
                      <a:lnTo>
                        <a:pt x="55" y="34"/>
                      </a:lnTo>
                      <a:lnTo>
                        <a:pt x="59" y="36"/>
                      </a:lnTo>
                      <a:lnTo>
                        <a:pt x="62" y="40"/>
                      </a:lnTo>
                      <a:lnTo>
                        <a:pt x="64" y="44"/>
                      </a:lnTo>
                      <a:lnTo>
                        <a:pt x="67" y="47"/>
                      </a:lnTo>
                      <a:lnTo>
                        <a:pt x="69" y="51"/>
                      </a:lnTo>
                      <a:lnTo>
                        <a:pt x="71" y="55"/>
                      </a:lnTo>
                      <a:lnTo>
                        <a:pt x="73" y="59"/>
                      </a:lnTo>
                      <a:lnTo>
                        <a:pt x="75" y="63"/>
                      </a:lnTo>
                      <a:lnTo>
                        <a:pt x="77" y="68"/>
                      </a:lnTo>
                      <a:lnTo>
                        <a:pt x="78" y="72"/>
                      </a:lnTo>
                      <a:lnTo>
                        <a:pt x="79" y="76"/>
                      </a:lnTo>
                      <a:lnTo>
                        <a:pt x="80" y="81"/>
                      </a:lnTo>
                      <a:lnTo>
                        <a:pt x="81" y="86"/>
                      </a:lnTo>
                      <a:lnTo>
                        <a:pt x="82" y="90"/>
                      </a:lnTo>
                      <a:lnTo>
                        <a:pt x="82" y="95"/>
                      </a:lnTo>
                      <a:lnTo>
                        <a:pt x="82" y="100"/>
                      </a:lnTo>
                      <a:lnTo>
                        <a:pt x="82" y="101"/>
                      </a:lnTo>
                      <a:lnTo>
                        <a:pt x="83" y="101"/>
                      </a:lnTo>
                      <a:lnTo>
                        <a:pt x="84" y="101"/>
                      </a:lnTo>
                      <a:lnTo>
                        <a:pt x="85" y="101"/>
                      </a:lnTo>
                      <a:lnTo>
                        <a:pt x="85" y="100"/>
                      </a:lnTo>
                      <a:lnTo>
                        <a:pt x="86"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4" name="Freeform 926">
                  <a:extLst>
                    <a:ext uri="{FF2B5EF4-FFF2-40B4-BE49-F238E27FC236}">
                      <a16:creationId xmlns:a16="http://schemas.microsoft.com/office/drawing/2014/main" id="{165F614C-F395-491C-BFC3-D30369655700}"/>
                    </a:ext>
                  </a:extLst>
                </p:cNvPr>
                <p:cNvSpPr>
                  <a:spLocks/>
                </p:cNvSpPr>
                <p:nvPr/>
              </p:nvSpPr>
              <p:spPr bwMode="auto">
                <a:xfrm>
                  <a:off x="1030" y="1255"/>
                  <a:ext cx="3" cy="52"/>
                </a:xfrm>
                <a:custGeom>
                  <a:avLst/>
                  <a:gdLst>
                    <a:gd name="T0" fmla="*/ 2 w 4"/>
                    <a:gd name="T1" fmla="*/ 36 h 73"/>
                    <a:gd name="T2" fmla="*/ 2 w 4"/>
                    <a:gd name="T3" fmla="*/ 0 h 73"/>
                    <a:gd name="T4" fmla="*/ 0 w 4"/>
                    <a:gd name="T5" fmla="*/ 0 h 73"/>
                    <a:gd name="T6" fmla="*/ 0 w 4"/>
                    <a:gd name="T7" fmla="*/ 36 h 73"/>
                    <a:gd name="T8" fmla="*/ 0 w 4"/>
                    <a:gd name="T9" fmla="*/ 36 h 73"/>
                    <a:gd name="T10" fmla="*/ 0 w 4"/>
                    <a:gd name="T11" fmla="*/ 36 h 73"/>
                    <a:gd name="T12" fmla="*/ 0 w 4"/>
                    <a:gd name="T13" fmla="*/ 37 h 73"/>
                    <a:gd name="T14" fmla="*/ 0 w 4"/>
                    <a:gd name="T15" fmla="*/ 37 h 73"/>
                    <a:gd name="T16" fmla="*/ 1 w 4"/>
                    <a:gd name="T17" fmla="*/ 37 h 73"/>
                    <a:gd name="T18" fmla="*/ 1 w 4"/>
                    <a:gd name="T19" fmla="*/ 37 h 73"/>
                    <a:gd name="T20" fmla="*/ 1 w 4"/>
                    <a:gd name="T21" fmla="*/ 37 h 73"/>
                    <a:gd name="T22" fmla="*/ 2 w 4"/>
                    <a:gd name="T23" fmla="*/ 37 h 73"/>
                    <a:gd name="T24" fmla="*/ 2 w 4"/>
                    <a:gd name="T25" fmla="*/ 37 h 73"/>
                    <a:gd name="T26" fmla="*/ 2 w 4"/>
                    <a:gd name="T27" fmla="*/ 37 h 73"/>
                    <a:gd name="T28" fmla="*/ 2 w 4"/>
                    <a:gd name="T29" fmla="*/ 37 h 73"/>
                    <a:gd name="T30" fmla="*/ 2 w 4"/>
                    <a:gd name="T31" fmla="*/ 37 h 73"/>
                    <a:gd name="T32" fmla="*/ 2 w 4"/>
                    <a:gd name="T33" fmla="*/ 37 h 73"/>
                    <a:gd name="T34" fmla="*/ 2 w 4"/>
                    <a:gd name="T35" fmla="*/ 37 h 73"/>
                    <a:gd name="T36" fmla="*/ 2 w 4"/>
                    <a:gd name="T37" fmla="*/ 37 h 73"/>
                    <a:gd name="T38" fmla="*/ 2 w 4"/>
                    <a:gd name="T39" fmla="*/ 37 h 73"/>
                    <a:gd name="T40" fmla="*/ 2 w 4"/>
                    <a:gd name="T41" fmla="*/ 36 h 73"/>
                    <a:gd name="T42" fmla="*/ 2 w 4"/>
                    <a:gd name="T43" fmla="*/ 36 h 73"/>
                    <a:gd name="T44" fmla="*/ 2 w 4"/>
                    <a:gd name="T45" fmla="*/ 36 h 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 h="73">
                      <a:moveTo>
                        <a:pt x="4" y="72"/>
                      </a:moveTo>
                      <a:lnTo>
                        <a:pt x="4" y="0"/>
                      </a:lnTo>
                      <a:lnTo>
                        <a:pt x="0" y="0"/>
                      </a:lnTo>
                      <a:lnTo>
                        <a:pt x="0" y="72"/>
                      </a:lnTo>
                      <a:lnTo>
                        <a:pt x="0" y="73"/>
                      </a:lnTo>
                      <a:lnTo>
                        <a:pt x="1" y="73"/>
                      </a:lnTo>
                      <a:lnTo>
                        <a:pt x="2" y="73"/>
                      </a:lnTo>
                      <a:lnTo>
                        <a:pt x="3" y="73"/>
                      </a:lnTo>
                      <a:lnTo>
                        <a:pt x="3" y="72"/>
                      </a:lnTo>
                      <a:lnTo>
                        <a:pt x="4"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5" name="Freeform 927">
                  <a:extLst>
                    <a:ext uri="{FF2B5EF4-FFF2-40B4-BE49-F238E27FC236}">
                      <a16:creationId xmlns:a16="http://schemas.microsoft.com/office/drawing/2014/main" id="{7B69957B-CF1F-E2E5-9B8C-289B78860926}"/>
                    </a:ext>
                  </a:extLst>
                </p:cNvPr>
                <p:cNvSpPr>
                  <a:spLocks/>
                </p:cNvSpPr>
                <p:nvPr/>
              </p:nvSpPr>
              <p:spPr bwMode="auto">
                <a:xfrm>
                  <a:off x="1030" y="1306"/>
                  <a:ext cx="61" cy="35"/>
                </a:xfrm>
                <a:custGeom>
                  <a:avLst/>
                  <a:gdLst>
                    <a:gd name="T0" fmla="*/ 43 w 86"/>
                    <a:gd name="T1" fmla="*/ 21 h 49"/>
                    <a:gd name="T2" fmla="*/ 40 w 86"/>
                    <a:gd name="T3" fmla="*/ 17 h 49"/>
                    <a:gd name="T4" fmla="*/ 38 w 86"/>
                    <a:gd name="T5" fmla="*/ 15 h 49"/>
                    <a:gd name="T6" fmla="*/ 35 w 86"/>
                    <a:gd name="T7" fmla="*/ 14 h 49"/>
                    <a:gd name="T8" fmla="*/ 32 w 86"/>
                    <a:gd name="T9" fmla="*/ 12 h 49"/>
                    <a:gd name="T10" fmla="*/ 28 w 86"/>
                    <a:gd name="T11" fmla="*/ 12 h 49"/>
                    <a:gd name="T12" fmla="*/ 25 w 86"/>
                    <a:gd name="T13" fmla="*/ 12 h 49"/>
                    <a:gd name="T14" fmla="*/ 21 w 86"/>
                    <a:gd name="T15" fmla="*/ 13 h 49"/>
                    <a:gd name="T16" fmla="*/ 17 w 86"/>
                    <a:gd name="T17" fmla="*/ 14 h 49"/>
                    <a:gd name="T18" fmla="*/ 13 w 86"/>
                    <a:gd name="T19" fmla="*/ 14 h 49"/>
                    <a:gd name="T20" fmla="*/ 11 w 86"/>
                    <a:gd name="T21" fmla="*/ 14 h 49"/>
                    <a:gd name="T22" fmla="*/ 8 w 86"/>
                    <a:gd name="T23" fmla="*/ 13 h 49"/>
                    <a:gd name="T24" fmla="*/ 6 w 86"/>
                    <a:gd name="T25" fmla="*/ 11 h 49"/>
                    <a:gd name="T26" fmla="*/ 4 w 86"/>
                    <a:gd name="T27" fmla="*/ 9 h 49"/>
                    <a:gd name="T28" fmla="*/ 3 w 86"/>
                    <a:gd name="T29" fmla="*/ 6 h 49"/>
                    <a:gd name="T30" fmla="*/ 1 w 86"/>
                    <a:gd name="T31" fmla="*/ 3 h 49"/>
                    <a:gd name="T32" fmla="*/ 0 w 86"/>
                    <a:gd name="T33" fmla="*/ 0 h 49"/>
                    <a:gd name="T34" fmla="*/ 1 w 86"/>
                    <a:gd name="T35" fmla="*/ 5 h 49"/>
                    <a:gd name="T36" fmla="*/ 1 w 86"/>
                    <a:gd name="T37" fmla="*/ 9 h 49"/>
                    <a:gd name="T38" fmla="*/ 4 w 86"/>
                    <a:gd name="T39" fmla="*/ 12 h 49"/>
                    <a:gd name="T40" fmla="*/ 6 w 86"/>
                    <a:gd name="T41" fmla="*/ 14 h 49"/>
                    <a:gd name="T42" fmla="*/ 9 w 86"/>
                    <a:gd name="T43" fmla="*/ 15 h 49"/>
                    <a:gd name="T44" fmla="*/ 12 w 86"/>
                    <a:gd name="T45" fmla="*/ 15 h 49"/>
                    <a:gd name="T46" fmla="*/ 16 w 86"/>
                    <a:gd name="T47" fmla="*/ 15 h 49"/>
                    <a:gd name="T48" fmla="*/ 19 w 86"/>
                    <a:gd name="T49" fmla="*/ 15 h 49"/>
                    <a:gd name="T50" fmla="*/ 23 w 86"/>
                    <a:gd name="T51" fmla="*/ 15 h 49"/>
                    <a:gd name="T52" fmla="*/ 26 w 86"/>
                    <a:gd name="T53" fmla="*/ 14 h 49"/>
                    <a:gd name="T54" fmla="*/ 30 w 86"/>
                    <a:gd name="T55" fmla="*/ 14 h 49"/>
                    <a:gd name="T56" fmla="*/ 33 w 86"/>
                    <a:gd name="T57" fmla="*/ 15 h 49"/>
                    <a:gd name="T58" fmla="*/ 35 w 86"/>
                    <a:gd name="T59" fmla="*/ 16 h 49"/>
                    <a:gd name="T60" fmla="*/ 38 w 86"/>
                    <a:gd name="T61" fmla="*/ 17 h 49"/>
                    <a:gd name="T62" fmla="*/ 40 w 86"/>
                    <a:gd name="T63" fmla="*/ 21 h 49"/>
                    <a:gd name="T64" fmla="*/ 42 w 86"/>
                    <a:gd name="T65" fmla="*/ 24 h 49"/>
                    <a:gd name="T66" fmla="*/ 42 w 86"/>
                    <a:gd name="T67" fmla="*/ 24 h 49"/>
                    <a:gd name="T68" fmla="*/ 43 w 86"/>
                    <a:gd name="T69" fmla="*/ 24 h 49"/>
                    <a:gd name="T70" fmla="*/ 43 w 86"/>
                    <a:gd name="T71" fmla="*/ 25 h 49"/>
                    <a:gd name="T72" fmla="*/ 43 w 86"/>
                    <a:gd name="T73" fmla="*/ 24 h 49"/>
                    <a:gd name="T74" fmla="*/ 43 w 86"/>
                    <a:gd name="T75" fmla="*/ 24 h 49"/>
                    <a:gd name="T76" fmla="*/ 43 w 86"/>
                    <a:gd name="T77" fmla="*/ 24 h 49"/>
                    <a:gd name="T78" fmla="*/ 43 w 86"/>
                    <a:gd name="T79" fmla="*/ 24 h 49"/>
                    <a:gd name="T80" fmla="*/ 43 w 86"/>
                    <a:gd name="T81" fmla="*/ 24 h 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6" h="49">
                      <a:moveTo>
                        <a:pt x="86" y="46"/>
                      </a:moveTo>
                      <a:lnTo>
                        <a:pt x="84" y="41"/>
                      </a:lnTo>
                      <a:lnTo>
                        <a:pt x="83" y="38"/>
                      </a:lnTo>
                      <a:lnTo>
                        <a:pt x="80" y="34"/>
                      </a:lnTo>
                      <a:lnTo>
                        <a:pt x="78" y="32"/>
                      </a:lnTo>
                      <a:lnTo>
                        <a:pt x="75" y="29"/>
                      </a:lnTo>
                      <a:lnTo>
                        <a:pt x="72" y="28"/>
                      </a:lnTo>
                      <a:lnTo>
                        <a:pt x="69" y="26"/>
                      </a:lnTo>
                      <a:lnTo>
                        <a:pt x="66" y="25"/>
                      </a:lnTo>
                      <a:lnTo>
                        <a:pt x="63" y="24"/>
                      </a:lnTo>
                      <a:lnTo>
                        <a:pt x="59" y="24"/>
                      </a:lnTo>
                      <a:lnTo>
                        <a:pt x="56" y="24"/>
                      </a:lnTo>
                      <a:lnTo>
                        <a:pt x="52" y="24"/>
                      </a:lnTo>
                      <a:lnTo>
                        <a:pt x="49" y="24"/>
                      </a:lnTo>
                      <a:lnTo>
                        <a:pt x="45" y="25"/>
                      </a:lnTo>
                      <a:lnTo>
                        <a:pt x="42" y="25"/>
                      </a:lnTo>
                      <a:lnTo>
                        <a:pt x="38" y="26"/>
                      </a:lnTo>
                      <a:lnTo>
                        <a:pt x="34" y="26"/>
                      </a:lnTo>
                      <a:lnTo>
                        <a:pt x="31" y="26"/>
                      </a:lnTo>
                      <a:lnTo>
                        <a:pt x="27" y="26"/>
                      </a:lnTo>
                      <a:lnTo>
                        <a:pt x="24" y="26"/>
                      </a:lnTo>
                      <a:lnTo>
                        <a:pt x="21" y="26"/>
                      </a:lnTo>
                      <a:lnTo>
                        <a:pt x="19" y="25"/>
                      </a:lnTo>
                      <a:lnTo>
                        <a:pt x="16" y="25"/>
                      </a:lnTo>
                      <a:lnTo>
                        <a:pt x="13" y="24"/>
                      </a:lnTo>
                      <a:lnTo>
                        <a:pt x="11" y="23"/>
                      </a:lnTo>
                      <a:lnTo>
                        <a:pt x="9" y="20"/>
                      </a:lnTo>
                      <a:lnTo>
                        <a:pt x="8" y="18"/>
                      </a:lnTo>
                      <a:lnTo>
                        <a:pt x="6" y="16"/>
                      </a:lnTo>
                      <a:lnTo>
                        <a:pt x="5" y="13"/>
                      </a:lnTo>
                      <a:lnTo>
                        <a:pt x="4" y="10"/>
                      </a:lnTo>
                      <a:lnTo>
                        <a:pt x="3" y="5"/>
                      </a:lnTo>
                      <a:lnTo>
                        <a:pt x="3" y="0"/>
                      </a:lnTo>
                      <a:lnTo>
                        <a:pt x="0" y="0"/>
                      </a:lnTo>
                      <a:lnTo>
                        <a:pt x="0" y="5"/>
                      </a:lnTo>
                      <a:lnTo>
                        <a:pt x="1" y="10"/>
                      </a:lnTo>
                      <a:lnTo>
                        <a:pt x="2" y="14"/>
                      </a:lnTo>
                      <a:lnTo>
                        <a:pt x="3" y="18"/>
                      </a:lnTo>
                      <a:lnTo>
                        <a:pt x="5" y="22"/>
                      </a:lnTo>
                      <a:lnTo>
                        <a:pt x="7" y="24"/>
                      </a:lnTo>
                      <a:lnTo>
                        <a:pt x="10" y="26"/>
                      </a:lnTo>
                      <a:lnTo>
                        <a:pt x="12" y="28"/>
                      </a:lnTo>
                      <a:lnTo>
                        <a:pt x="15" y="28"/>
                      </a:lnTo>
                      <a:lnTo>
                        <a:pt x="18" y="30"/>
                      </a:lnTo>
                      <a:lnTo>
                        <a:pt x="21" y="30"/>
                      </a:lnTo>
                      <a:lnTo>
                        <a:pt x="24" y="30"/>
                      </a:lnTo>
                      <a:lnTo>
                        <a:pt x="27" y="30"/>
                      </a:lnTo>
                      <a:lnTo>
                        <a:pt x="31" y="30"/>
                      </a:lnTo>
                      <a:lnTo>
                        <a:pt x="35" y="30"/>
                      </a:lnTo>
                      <a:lnTo>
                        <a:pt x="38" y="30"/>
                      </a:lnTo>
                      <a:lnTo>
                        <a:pt x="42" y="30"/>
                      </a:lnTo>
                      <a:lnTo>
                        <a:pt x="45" y="29"/>
                      </a:lnTo>
                      <a:lnTo>
                        <a:pt x="49" y="28"/>
                      </a:lnTo>
                      <a:lnTo>
                        <a:pt x="52" y="28"/>
                      </a:lnTo>
                      <a:lnTo>
                        <a:pt x="56" y="28"/>
                      </a:lnTo>
                      <a:lnTo>
                        <a:pt x="59" y="28"/>
                      </a:lnTo>
                      <a:lnTo>
                        <a:pt x="62" y="28"/>
                      </a:lnTo>
                      <a:lnTo>
                        <a:pt x="65" y="29"/>
                      </a:lnTo>
                      <a:lnTo>
                        <a:pt x="69" y="30"/>
                      </a:lnTo>
                      <a:lnTo>
                        <a:pt x="71" y="32"/>
                      </a:lnTo>
                      <a:lnTo>
                        <a:pt x="74" y="33"/>
                      </a:lnTo>
                      <a:lnTo>
                        <a:pt x="76" y="34"/>
                      </a:lnTo>
                      <a:lnTo>
                        <a:pt x="78" y="37"/>
                      </a:lnTo>
                      <a:lnTo>
                        <a:pt x="80" y="40"/>
                      </a:lnTo>
                      <a:lnTo>
                        <a:pt x="82" y="43"/>
                      </a:lnTo>
                      <a:lnTo>
                        <a:pt x="83" y="47"/>
                      </a:lnTo>
                      <a:lnTo>
                        <a:pt x="83" y="48"/>
                      </a:lnTo>
                      <a:lnTo>
                        <a:pt x="84" y="48"/>
                      </a:lnTo>
                      <a:lnTo>
                        <a:pt x="84" y="49"/>
                      </a:lnTo>
                      <a:lnTo>
                        <a:pt x="85" y="48"/>
                      </a:lnTo>
                      <a:lnTo>
                        <a:pt x="86" y="47"/>
                      </a:lnTo>
                      <a:lnTo>
                        <a:pt x="86"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6" name="Freeform 928">
                  <a:extLst>
                    <a:ext uri="{FF2B5EF4-FFF2-40B4-BE49-F238E27FC236}">
                      <a16:creationId xmlns:a16="http://schemas.microsoft.com/office/drawing/2014/main" id="{3CAD699E-50CC-42A9-42EC-0E9508F1199F}"/>
                    </a:ext>
                  </a:extLst>
                </p:cNvPr>
                <p:cNvSpPr>
                  <a:spLocks/>
                </p:cNvSpPr>
                <p:nvPr/>
              </p:nvSpPr>
              <p:spPr bwMode="auto">
                <a:xfrm>
                  <a:off x="1088" y="1339"/>
                  <a:ext cx="22" cy="53"/>
                </a:xfrm>
                <a:custGeom>
                  <a:avLst/>
                  <a:gdLst>
                    <a:gd name="T0" fmla="*/ 13 w 32"/>
                    <a:gd name="T1" fmla="*/ 34 h 74"/>
                    <a:gd name="T2" fmla="*/ 8 w 32"/>
                    <a:gd name="T3" fmla="*/ 29 h 74"/>
                    <a:gd name="T4" fmla="*/ 6 w 32"/>
                    <a:gd name="T5" fmla="*/ 26 h 74"/>
                    <a:gd name="T6" fmla="*/ 4 w 32"/>
                    <a:gd name="T7" fmla="*/ 23 h 74"/>
                    <a:gd name="T8" fmla="*/ 2 w 32"/>
                    <a:gd name="T9" fmla="*/ 21 h 74"/>
                    <a:gd name="T10" fmla="*/ 2 w 32"/>
                    <a:gd name="T11" fmla="*/ 20 h 74"/>
                    <a:gd name="T12" fmla="*/ 1 w 32"/>
                    <a:gd name="T13" fmla="*/ 19 h 74"/>
                    <a:gd name="T14" fmla="*/ 2 w 32"/>
                    <a:gd name="T15" fmla="*/ 19 h 74"/>
                    <a:gd name="T16" fmla="*/ 2 w 32"/>
                    <a:gd name="T17" fmla="*/ 19 h 74"/>
                    <a:gd name="T18" fmla="*/ 3 w 32"/>
                    <a:gd name="T19" fmla="*/ 17 h 74"/>
                    <a:gd name="T20" fmla="*/ 4 w 32"/>
                    <a:gd name="T21" fmla="*/ 16 h 74"/>
                    <a:gd name="T22" fmla="*/ 4 w 32"/>
                    <a:gd name="T23" fmla="*/ 14 h 74"/>
                    <a:gd name="T24" fmla="*/ 4 w 32"/>
                    <a:gd name="T25" fmla="*/ 11 h 74"/>
                    <a:gd name="T26" fmla="*/ 4 w 32"/>
                    <a:gd name="T27" fmla="*/ 8 h 74"/>
                    <a:gd name="T28" fmla="*/ 2 w 32"/>
                    <a:gd name="T29" fmla="*/ 3 h 74"/>
                    <a:gd name="T30" fmla="*/ 1 w 32"/>
                    <a:gd name="T31" fmla="*/ 1 h 74"/>
                    <a:gd name="T32" fmla="*/ 2 w 32"/>
                    <a:gd name="T33" fmla="*/ 6 h 74"/>
                    <a:gd name="T34" fmla="*/ 2 w 32"/>
                    <a:gd name="T35" fmla="*/ 9 h 74"/>
                    <a:gd name="T36" fmla="*/ 2 w 32"/>
                    <a:gd name="T37" fmla="*/ 13 h 74"/>
                    <a:gd name="T38" fmla="*/ 2 w 32"/>
                    <a:gd name="T39" fmla="*/ 14 h 74"/>
                    <a:gd name="T40" fmla="*/ 2 w 32"/>
                    <a:gd name="T41" fmla="*/ 16 h 74"/>
                    <a:gd name="T42" fmla="*/ 1 w 32"/>
                    <a:gd name="T43" fmla="*/ 17 h 74"/>
                    <a:gd name="T44" fmla="*/ 1 w 32"/>
                    <a:gd name="T45" fmla="*/ 17 h 74"/>
                    <a:gd name="T46" fmla="*/ 1 w 32"/>
                    <a:gd name="T47" fmla="*/ 19 h 74"/>
                    <a:gd name="T48" fmla="*/ 0 w 32"/>
                    <a:gd name="T49" fmla="*/ 19 h 74"/>
                    <a:gd name="T50" fmla="*/ 1 w 32"/>
                    <a:gd name="T51" fmla="*/ 21 h 74"/>
                    <a:gd name="T52" fmla="*/ 1 w 32"/>
                    <a:gd name="T53" fmla="*/ 22 h 74"/>
                    <a:gd name="T54" fmla="*/ 2 w 32"/>
                    <a:gd name="T55" fmla="*/ 24 h 74"/>
                    <a:gd name="T56" fmla="*/ 4 w 32"/>
                    <a:gd name="T57" fmla="*/ 26 h 74"/>
                    <a:gd name="T58" fmla="*/ 6 w 32"/>
                    <a:gd name="T59" fmla="*/ 29 h 74"/>
                    <a:gd name="T60" fmla="*/ 10 w 32"/>
                    <a:gd name="T61" fmla="*/ 33 h 74"/>
                    <a:gd name="T62" fmla="*/ 14 w 32"/>
                    <a:gd name="T63" fmla="*/ 37 h 74"/>
                    <a:gd name="T64" fmla="*/ 14 w 32"/>
                    <a:gd name="T65" fmla="*/ 38 h 74"/>
                    <a:gd name="T66" fmla="*/ 14 w 32"/>
                    <a:gd name="T67" fmla="*/ 38 h 74"/>
                    <a:gd name="T68" fmla="*/ 15 w 32"/>
                    <a:gd name="T69" fmla="*/ 38 h 74"/>
                    <a:gd name="T70" fmla="*/ 15 w 32"/>
                    <a:gd name="T71" fmla="*/ 37 h 74"/>
                    <a:gd name="T72" fmla="*/ 15 w 32"/>
                    <a:gd name="T73" fmla="*/ 37 h 74"/>
                    <a:gd name="T74" fmla="*/ 15 w 32"/>
                    <a:gd name="T75" fmla="*/ 37 h 74"/>
                    <a:gd name="T76" fmla="*/ 15 w 32"/>
                    <a:gd name="T77" fmla="*/ 36 h 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2" h="74">
                      <a:moveTo>
                        <a:pt x="32" y="70"/>
                      </a:moveTo>
                      <a:lnTo>
                        <a:pt x="27" y="65"/>
                      </a:lnTo>
                      <a:lnTo>
                        <a:pt x="22" y="60"/>
                      </a:lnTo>
                      <a:lnTo>
                        <a:pt x="18" y="57"/>
                      </a:lnTo>
                      <a:lnTo>
                        <a:pt x="16" y="53"/>
                      </a:lnTo>
                      <a:lnTo>
                        <a:pt x="13" y="50"/>
                      </a:lnTo>
                      <a:lnTo>
                        <a:pt x="10" y="47"/>
                      </a:lnTo>
                      <a:lnTo>
                        <a:pt x="8" y="45"/>
                      </a:lnTo>
                      <a:lnTo>
                        <a:pt x="7" y="43"/>
                      </a:lnTo>
                      <a:lnTo>
                        <a:pt x="5" y="42"/>
                      </a:lnTo>
                      <a:lnTo>
                        <a:pt x="4" y="40"/>
                      </a:lnTo>
                      <a:lnTo>
                        <a:pt x="4" y="39"/>
                      </a:lnTo>
                      <a:lnTo>
                        <a:pt x="3" y="38"/>
                      </a:lnTo>
                      <a:lnTo>
                        <a:pt x="4" y="38"/>
                      </a:lnTo>
                      <a:lnTo>
                        <a:pt x="4" y="37"/>
                      </a:lnTo>
                      <a:lnTo>
                        <a:pt x="5" y="36"/>
                      </a:lnTo>
                      <a:lnTo>
                        <a:pt x="5" y="35"/>
                      </a:lnTo>
                      <a:lnTo>
                        <a:pt x="6" y="34"/>
                      </a:lnTo>
                      <a:lnTo>
                        <a:pt x="7" y="33"/>
                      </a:lnTo>
                      <a:lnTo>
                        <a:pt x="8" y="31"/>
                      </a:lnTo>
                      <a:lnTo>
                        <a:pt x="8" y="29"/>
                      </a:lnTo>
                      <a:lnTo>
                        <a:pt x="8" y="27"/>
                      </a:lnTo>
                      <a:lnTo>
                        <a:pt x="8" y="25"/>
                      </a:lnTo>
                      <a:lnTo>
                        <a:pt x="8" y="21"/>
                      </a:lnTo>
                      <a:lnTo>
                        <a:pt x="8" y="18"/>
                      </a:lnTo>
                      <a:lnTo>
                        <a:pt x="8" y="15"/>
                      </a:lnTo>
                      <a:lnTo>
                        <a:pt x="7" y="10"/>
                      </a:lnTo>
                      <a:lnTo>
                        <a:pt x="5" y="5"/>
                      </a:lnTo>
                      <a:lnTo>
                        <a:pt x="4" y="0"/>
                      </a:lnTo>
                      <a:lnTo>
                        <a:pt x="2" y="1"/>
                      </a:lnTo>
                      <a:lnTo>
                        <a:pt x="3" y="6"/>
                      </a:lnTo>
                      <a:lnTo>
                        <a:pt x="4" y="11"/>
                      </a:lnTo>
                      <a:lnTo>
                        <a:pt x="4" y="15"/>
                      </a:lnTo>
                      <a:lnTo>
                        <a:pt x="5" y="18"/>
                      </a:lnTo>
                      <a:lnTo>
                        <a:pt x="5" y="21"/>
                      </a:lnTo>
                      <a:lnTo>
                        <a:pt x="5" y="25"/>
                      </a:lnTo>
                      <a:lnTo>
                        <a:pt x="5" y="26"/>
                      </a:lnTo>
                      <a:lnTo>
                        <a:pt x="5" y="28"/>
                      </a:lnTo>
                      <a:lnTo>
                        <a:pt x="4" y="30"/>
                      </a:lnTo>
                      <a:lnTo>
                        <a:pt x="4" y="31"/>
                      </a:lnTo>
                      <a:lnTo>
                        <a:pt x="3" y="32"/>
                      </a:lnTo>
                      <a:lnTo>
                        <a:pt x="3" y="33"/>
                      </a:lnTo>
                      <a:lnTo>
                        <a:pt x="2" y="33"/>
                      </a:lnTo>
                      <a:lnTo>
                        <a:pt x="2" y="34"/>
                      </a:lnTo>
                      <a:lnTo>
                        <a:pt x="2" y="35"/>
                      </a:lnTo>
                      <a:lnTo>
                        <a:pt x="1" y="36"/>
                      </a:lnTo>
                      <a:lnTo>
                        <a:pt x="0" y="36"/>
                      </a:lnTo>
                      <a:lnTo>
                        <a:pt x="0" y="38"/>
                      </a:lnTo>
                      <a:lnTo>
                        <a:pt x="0" y="39"/>
                      </a:lnTo>
                      <a:lnTo>
                        <a:pt x="1" y="41"/>
                      </a:lnTo>
                      <a:lnTo>
                        <a:pt x="1" y="42"/>
                      </a:lnTo>
                      <a:lnTo>
                        <a:pt x="2" y="43"/>
                      </a:lnTo>
                      <a:lnTo>
                        <a:pt x="3" y="44"/>
                      </a:lnTo>
                      <a:lnTo>
                        <a:pt x="4" y="46"/>
                      </a:lnTo>
                      <a:lnTo>
                        <a:pt x="6" y="48"/>
                      </a:lnTo>
                      <a:lnTo>
                        <a:pt x="8" y="50"/>
                      </a:lnTo>
                      <a:lnTo>
                        <a:pt x="11" y="53"/>
                      </a:lnTo>
                      <a:lnTo>
                        <a:pt x="13" y="56"/>
                      </a:lnTo>
                      <a:lnTo>
                        <a:pt x="17" y="59"/>
                      </a:lnTo>
                      <a:lnTo>
                        <a:pt x="20" y="64"/>
                      </a:lnTo>
                      <a:lnTo>
                        <a:pt x="24" y="68"/>
                      </a:lnTo>
                      <a:lnTo>
                        <a:pt x="29" y="73"/>
                      </a:lnTo>
                      <a:lnTo>
                        <a:pt x="30" y="74"/>
                      </a:lnTo>
                      <a:lnTo>
                        <a:pt x="31" y="74"/>
                      </a:lnTo>
                      <a:lnTo>
                        <a:pt x="32" y="74"/>
                      </a:lnTo>
                      <a:lnTo>
                        <a:pt x="32" y="73"/>
                      </a:lnTo>
                      <a:lnTo>
                        <a:pt x="32" y="72"/>
                      </a:lnTo>
                      <a:lnTo>
                        <a:pt x="32" y="71"/>
                      </a:lnTo>
                      <a:lnTo>
                        <a:pt x="32"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7" name="Freeform 929">
                  <a:extLst>
                    <a:ext uri="{FF2B5EF4-FFF2-40B4-BE49-F238E27FC236}">
                      <a16:creationId xmlns:a16="http://schemas.microsoft.com/office/drawing/2014/main" id="{A0DCCEB4-AC09-C0D8-E9BE-746BC41D82EF}"/>
                    </a:ext>
                  </a:extLst>
                </p:cNvPr>
                <p:cNvSpPr>
                  <a:spLocks/>
                </p:cNvSpPr>
                <p:nvPr/>
              </p:nvSpPr>
              <p:spPr bwMode="auto">
                <a:xfrm>
                  <a:off x="1108" y="1388"/>
                  <a:ext cx="15" cy="37"/>
                </a:xfrm>
                <a:custGeom>
                  <a:avLst/>
                  <a:gdLst>
                    <a:gd name="T0" fmla="*/ 11 w 21"/>
                    <a:gd name="T1" fmla="*/ 25 h 51"/>
                    <a:gd name="T2" fmla="*/ 10 w 21"/>
                    <a:gd name="T3" fmla="*/ 22 h 51"/>
                    <a:gd name="T4" fmla="*/ 10 w 21"/>
                    <a:gd name="T5" fmla="*/ 18 h 51"/>
                    <a:gd name="T6" fmla="*/ 9 w 21"/>
                    <a:gd name="T7" fmla="*/ 16 h 51"/>
                    <a:gd name="T8" fmla="*/ 9 w 21"/>
                    <a:gd name="T9" fmla="*/ 14 h 51"/>
                    <a:gd name="T10" fmla="*/ 9 w 21"/>
                    <a:gd name="T11" fmla="*/ 12 h 51"/>
                    <a:gd name="T12" fmla="*/ 8 w 21"/>
                    <a:gd name="T13" fmla="*/ 11 h 51"/>
                    <a:gd name="T14" fmla="*/ 8 w 21"/>
                    <a:gd name="T15" fmla="*/ 9 h 51"/>
                    <a:gd name="T16" fmla="*/ 8 w 21"/>
                    <a:gd name="T17" fmla="*/ 9 h 51"/>
                    <a:gd name="T18" fmla="*/ 8 w 21"/>
                    <a:gd name="T19" fmla="*/ 7 h 51"/>
                    <a:gd name="T20" fmla="*/ 7 w 21"/>
                    <a:gd name="T21" fmla="*/ 7 h 51"/>
                    <a:gd name="T22" fmla="*/ 6 w 21"/>
                    <a:gd name="T23" fmla="*/ 6 h 51"/>
                    <a:gd name="T24" fmla="*/ 6 w 21"/>
                    <a:gd name="T25" fmla="*/ 5 h 51"/>
                    <a:gd name="T26" fmla="*/ 5 w 21"/>
                    <a:gd name="T27" fmla="*/ 4 h 51"/>
                    <a:gd name="T28" fmla="*/ 4 w 21"/>
                    <a:gd name="T29" fmla="*/ 3 h 51"/>
                    <a:gd name="T30" fmla="*/ 3 w 21"/>
                    <a:gd name="T31" fmla="*/ 1 h 51"/>
                    <a:gd name="T32" fmla="*/ 1 w 21"/>
                    <a:gd name="T33" fmla="*/ 0 h 51"/>
                    <a:gd name="T34" fmla="*/ 1 w 21"/>
                    <a:gd name="T35" fmla="*/ 3 h 51"/>
                    <a:gd name="T36" fmla="*/ 3 w 21"/>
                    <a:gd name="T37" fmla="*/ 4 h 51"/>
                    <a:gd name="T38" fmla="*/ 3 w 21"/>
                    <a:gd name="T39" fmla="*/ 5 h 51"/>
                    <a:gd name="T40" fmla="*/ 4 w 21"/>
                    <a:gd name="T41" fmla="*/ 7 h 51"/>
                    <a:gd name="T42" fmla="*/ 5 w 21"/>
                    <a:gd name="T43" fmla="*/ 7 h 51"/>
                    <a:gd name="T44" fmla="*/ 6 w 21"/>
                    <a:gd name="T45" fmla="*/ 7 h 51"/>
                    <a:gd name="T46" fmla="*/ 6 w 21"/>
                    <a:gd name="T47" fmla="*/ 9 h 51"/>
                    <a:gd name="T48" fmla="*/ 6 w 21"/>
                    <a:gd name="T49" fmla="*/ 9 h 51"/>
                    <a:gd name="T50" fmla="*/ 6 w 21"/>
                    <a:gd name="T51" fmla="*/ 9 h 51"/>
                    <a:gd name="T52" fmla="*/ 6 w 21"/>
                    <a:gd name="T53" fmla="*/ 11 h 51"/>
                    <a:gd name="T54" fmla="*/ 7 w 21"/>
                    <a:gd name="T55" fmla="*/ 12 h 51"/>
                    <a:gd name="T56" fmla="*/ 7 w 21"/>
                    <a:gd name="T57" fmla="*/ 13 h 51"/>
                    <a:gd name="T58" fmla="*/ 8 w 21"/>
                    <a:gd name="T59" fmla="*/ 15 h 51"/>
                    <a:gd name="T60" fmla="*/ 8 w 21"/>
                    <a:gd name="T61" fmla="*/ 17 h 51"/>
                    <a:gd name="T62" fmla="*/ 8 w 21"/>
                    <a:gd name="T63" fmla="*/ 20 h 51"/>
                    <a:gd name="T64" fmla="*/ 9 w 21"/>
                    <a:gd name="T65" fmla="*/ 24 h 51"/>
                    <a:gd name="T66" fmla="*/ 9 w 21"/>
                    <a:gd name="T67" fmla="*/ 25 h 51"/>
                    <a:gd name="T68" fmla="*/ 9 w 21"/>
                    <a:gd name="T69" fmla="*/ 26 h 51"/>
                    <a:gd name="T70" fmla="*/ 10 w 21"/>
                    <a:gd name="T71" fmla="*/ 26 h 51"/>
                    <a:gd name="T72" fmla="*/ 10 w 21"/>
                    <a:gd name="T73" fmla="*/ 26 h 51"/>
                    <a:gd name="T74" fmla="*/ 10 w 21"/>
                    <a:gd name="T75" fmla="*/ 26 h 51"/>
                    <a:gd name="T76" fmla="*/ 11 w 21"/>
                    <a:gd name="T77" fmla="*/ 26 h 51"/>
                    <a:gd name="T78" fmla="*/ 11 w 21"/>
                    <a:gd name="T79" fmla="*/ 26 h 51"/>
                    <a:gd name="T80" fmla="*/ 11 w 21"/>
                    <a:gd name="T81" fmla="*/ 25 h 51"/>
                    <a:gd name="T82" fmla="*/ 11 w 21"/>
                    <a:gd name="T83" fmla="*/ 25 h 51"/>
                    <a:gd name="T84" fmla="*/ 11 w 21"/>
                    <a:gd name="T85" fmla="*/ 26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 h="51">
                      <a:moveTo>
                        <a:pt x="21" y="49"/>
                      </a:moveTo>
                      <a:lnTo>
                        <a:pt x="21" y="48"/>
                      </a:lnTo>
                      <a:lnTo>
                        <a:pt x="21" y="44"/>
                      </a:lnTo>
                      <a:lnTo>
                        <a:pt x="20" y="41"/>
                      </a:lnTo>
                      <a:lnTo>
                        <a:pt x="20" y="37"/>
                      </a:lnTo>
                      <a:lnTo>
                        <a:pt x="19" y="35"/>
                      </a:lnTo>
                      <a:lnTo>
                        <a:pt x="18" y="33"/>
                      </a:lnTo>
                      <a:lnTo>
                        <a:pt x="18" y="30"/>
                      </a:lnTo>
                      <a:lnTo>
                        <a:pt x="18" y="28"/>
                      </a:lnTo>
                      <a:lnTo>
                        <a:pt x="17" y="26"/>
                      </a:lnTo>
                      <a:lnTo>
                        <a:pt x="17" y="25"/>
                      </a:lnTo>
                      <a:lnTo>
                        <a:pt x="17" y="23"/>
                      </a:lnTo>
                      <a:lnTo>
                        <a:pt x="16" y="22"/>
                      </a:lnTo>
                      <a:lnTo>
                        <a:pt x="16" y="21"/>
                      </a:lnTo>
                      <a:lnTo>
                        <a:pt x="16" y="19"/>
                      </a:lnTo>
                      <a:lnTo>
                        <a:pt x="16" y="18"/>
                      </a:lnTo>
                      <a:lnTo>
                        <a:pt x="16" y="17"/>
                      </a:lnTo>
                      <a:lnTo>
                        <a:pt x="15" y="16"/>
                      </a:lnTo>
                      <a:lnTo>
                        <a:pt x="15" y="15"/>
                      </a:lnTo>
                      <a:lnTo>
                        <a:pt x="15" y="14"/>
                      </a:lnTo>
                      <a:lnTo>
                        <a:pt x="14" y="13"/>
                      </a:lnTo>
                      <a:lnTo>
                        <a:pt x="14" y="12"/>
                      </a:lnTo>
                      <a:lnTo>
                        <a:pt x="13" y="12"/>
                      </a:lnTo>
                      <a:lnTo>
                        <a:pt x="12" y="11"/>
                      </a:lnTo>
                      <a:lnTo>
                        <a:pt x="12" y="10"/>
                      </a:lnTo>
                      <a:lnTo>
                        <a:pt x="11" y="9"/>
                      </a:lnTo>
                      <a:lnTo>
                        <a:pt x="10" y="8"/>
                      </a:lnTo>
                      <a:lnTo>
                        <a:pt x="9" y="7"/>
                      </a:lnTo>
                      <a:lnTo>
                        <a:pt x="8" y="5"/>
                      </a:lnTo>
                      <a:lnTo>
                        <a:pt x="6" y="4"/>
                      </a:lnTo>
                      <a:lnTo>
                        <a:pt x="6" y="3"/>
                      </a:lnTo>
                      <a:lnTo>
                        <a:pt x="4" y="1"/>
                      </a:lnTo>
                      <a:lnTo>
                        <a:pt x="3" y="0"/>
                      </a:lnTo>
                      <a:lnTo>
                        <a:pt x="0" y="3"/>
                      </a:lnTo>
                      <a:lnTo>
                        <a:pt x="2" y="5"/>
                      </a:lnTo>
                      <a:lnTo>
                        <a:pt x="3" y="6"/>
                      </a:lnTo>
                      <a:lnTo>
                        <a:pt x="5" y="8"/>
                      </a:lnTo>
                      <a:lnTo>
                        <a:pt x="6" y="9"/>
                      </a:lnTo>
                      <a:lnTo>
                        <a:pt x="6" y="10"/>
                      </a:lnTo>
                      <a:lnTo>
                        <a:pt x="8" y="11"/>
                      </a:lnTo>
                      <a:lnTo>
                        <a:pt x="8" y="12"/>
                      </a:lnTo>
                      <a:lnTo>
                        <a:pt x="9" y="12"/>
                      </a:lnTo>
                      <a:lnTo>
                        <a:pt x="10" y="13"/>
                      </a:lnTo>
                      <a:lnTo>
                        <a:pt x="10" y="14"/>
                      </a:lnTo>
                      <a:lnTo>
                        <a:pt x="11" y="14"/>
                      </a:lnTo>
                      <a:lnTo>
                        <a:pt x="11" y="15"/>
                      </a:lnTo>
                      <a:lnTo>
                        <a:pt x="11" y="16"/>
                      </a:lnTo>
                      <a:lnTo>
                        <a:pt x="12" y="16"/>
                      </a:lnTo>
                      <a:lnTo>
                        <a:pt x="12" y="17"/>
                      </a:lnTo>
                      <a:lnTo>
                        <a:pt x="12" y="18"/>
                      </a:lnTo>
                      <a:lnTo>
                        <a:pt x="13" y="18"/>
                      </a:lnTo>
                      <a:lnTo>
                        <a:pt x="13" y="19"/>
                      </a:lnTo>
                      <a:lnTo>
                        <a:pt x="13" y="21"/>
                      </a:lnTo>
                      <a:lnTo>
                        <a:pt x="14" y="22"/>
                      </a:lnTo>
                      <a:lnTo>
                        <a:pt x="14" y="24"/>
                      </a:lnTo>
                      <a:lnTo>
                        <a:pt x="14" y="25"/>
                      </a:lnTo>
                      <a:lnTo>
                        <a:pt x="14" y="27"/>
                      </a:lnTo>
                      <a:lnTo>
                        <a:pt x="15" y="29"/>
                      </a:lnTo>
                      <a:lnTo>
                        <a:pt x="15" y="31"/>
                      </a:lnTo>
                      <a:lnTo>
                        <a:pt x="15" y="33"/>
                      </a:lnTo>
                      <a:lnTo>
                        <a:pt x="16" y="36"/>
                      </a:lnTo>
                      <a:lnTo>
                        <a:pt x="16" y="39"/>
                      </a:lnTo>
                      <a:lnTo>
                        <a:pt x="17" y="42"/>
                      </a:lnTo>
                      <a:lnTo>
                        <a:pt x="17" y="45"/>
                      </a:lnTo>
                      <a:lnTo>
                        <a:pt x="18" y="49"/>
                      </a:lnTo>
                      <a:lnTo>
                        <a:pt x="18" y="48"/>
                      </a:lnTo>
                      <a:lnTo>
                        <a:pt x="18" y="49"/>
                      </a:lnTo>
                      <a:lnTo>
                        <a:pt x="19" y="50"/>
                      </a:lnTo>
                      <a:lnTo>
                        <a:pt x="20" y="50"/>
                      </a:lnTo>
                      <a:lnTo>
                        <a:pt x="20" y="51"/>
                      </a:lnTo>
                      <a:lnTo>
                        <a:pt x="20" y="50"/>
                      </a:lnTo>
                      <a:lnTo>
                        <a:pt x="21" y="50"/>
                      </a:lnTo>
                      <a:lnTo>
                        <a:pt x="21" y="49"/>
                      </a:lnTo>
                      <a:lnTo>
                        <a:pt x="21" y="48"/>
                      </a:lnTo>
                      <a:lnTo>
                        <a:pt x="21"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8" name="Freeform 930">
                  <a:extLst>
                    <a:ext uri="{FF2B5EF4-FFF2-40B4-BE49-F238E27FC236}">
                      <a16:creationId xmlns:a16="http://schemas.microsoft.com/office/drawing/2014/main" id="{B3E77BCA-9277-364D-DEEB-0F5395DC741B}"/>
                    </a:ext>
                  </a:extLst>
                </p:cNvPr>
                <p:cNvSpPr>
                  <a:spLocks/>
                </p:cNvSpPr>
                <p:nvPr/>
              </p:nvSpPr>
              <p:spPr bwMode="auto">
                <a:xfrm>
                  <a:off x="1118" y="1422"/>
                  <a:ext cx="11" cy="104"/>
                </a:xfrm>
                <a:custGeom>
                  <a:avLst/>
                  <a:gdLst>
                    <a:gd name="T0" fmla="*/ 4 w 16"/>
                    <a:gd name="T1" fmla="*/ 72 h 146"/>
                    <a:gd name="T2" fmla="*/ 6 w 16"/>
                    <a:gd name="T3" fmla="*/ 68 h 146"/>
                    <a:gd name="T4" fmla="*/ 7 w 16"/>
                    <a:gd name="T5" fmla="*/ 63 h 146"/>
                    <a:gd name="T6" fmla="*/ 8 w 16"/>
                    <a:gd name="T7" fmla="*/ 59 h 146"/>
                    <a:gd name="T8" fmla="*/ 8 w 16"/>
                    <a:gd name="T9" fmla="*/ 55 h 146"/>
                    <a:gd name="T10" fmla="*/ 7 w 16"/>
                    <a:gd name="T11" fmla="*/ 51 h 146"/>
                    <a:gd name="T12" fmla="*/ 6 w 16"/>
                    <a:gd name="T13" fmla="*/ 46 h 146"/>
                    <a:gd name="T14" fmla="*/ 6 w 16"/>
                    <a:gd name="T15" fmla="*/ 41 h 146"/>
                    <a:gd name="T16" fmla="*/ 5 w 16"/>
                    <a:gd name="T17" fmla="*/ 36 h 146"/>
                    <a:gd name="T18" fmla="*/ 4 w 16"/>
                    <a:gd name="T19" fmla="*/ 31 h 146"/>
                    <a:gd name="T20" fmla="*/ 3 w 16"/>
                    <a:gd name="T21" fmla="*/ 27 h 146"/>
                    <a:gd name="T22" fmla="*/ 2 w 16"/>
                    <a:gd name="T23" fmla="*/ 22 h 146"/>
                    <a:gd name="T24" fmla="*/ 2 w 16"/>
                    <a:gd name="T25" fmla="*/ 17 h 146"/>
                    <a:gd name="T26" fmla="*/ 1 w 16"/>
                    <a:gd name="T27" fmla="*/ 12 h 146"/>
                    <a:gd name="T28" fmla="*/ 2 w 16"/>
                    <a:gd name="T29" fmla="*/ 8 h 146"/>
                    <a:gd name="T30" fmla="*/ 2 w 16"/>
                    <a:gd name="T31" fmla="*/ 3 h 146"/>
                    <a:gd name="T32" fmla="*/ 2 w 16"/>
                    <a:gd name="T33" fmla="*/ 0 h 146"/>
                    <a:gd name="T34" fmla="*/ 1 w 16"/>
                    <a:gd name="T35" fmla="*/ 4 h 146"/>
                    <a:gd name="T36" fmla="*/ 0 w 16"/>
                    <a:gd name="T37" fmla="*/ 10 h 146"/>
                    <a:gd name="T38" fmla="*/ 0 w 16"/>
                    <a:gd name="T39" fmla="*/ 15 h 146"/>
                    <a:gd name="T40" fmla="*/ 1 w 16"/>
                    <a:gd name="T41" fmla="*/ 20 h 146"/>
                    <a:gd name="T42" fmla="*/ 1 w 16"/>
                    <a:gd name="T43" fmla="*/ 25 h 146"/>
                    <a:gd name="T44" fmla="*/ 2 w 16"/>
                    <a:gd name="T45" fmla="*/ 29 h 146"/>
                    <a:gd name="T46" fmla="*/ 3 w 16"/>
                    <a:gd name="T47" fmla="*/ 34 h 146"/>
                    <a:gd name="T48" fmla="*/ 4 w 16"/>
                    <a:gd name="T49" fmla="*/ 39 h 146"/>
                    <a:gd name="T50" fmla="*/ 5 w 16"/>
                    <a:gd name="T51" fmla="*/ 44 h 146"/>
                    <a:gd name="T52" fmla="*/ 6 w 16"/>
                    <a:gd name="T53" fmla="*/ 48 h 146"/>
                    <a:gd name="T54" fmla="*/ 6 w 16"/>
                    <a:gd name="T55" fmla="*/ 53 h 146"/>
                    <a:gd name="T56" fmla="*/ 6 w 16"/>
                    <a:gd name="T57" fmla="*/ 57 h 146"/>
                    <a:gd name="T58" fmla="*/ 6 w 16"/>
                    <a:gd name="T59" fmla="*/ 61 h 146"/>
                    <a:gd name="T60" fmla="*/ 6 w 16"/>
                    <a:gd name="T61" fmla="*/ 65 h 146"/>
                    <a:gd name="T62" fmla="*/ 4 w 16"/>
                    <a:gd name="T63" fmla="*/ 69 h 146"/>
                    <a:gd name="T64" fmla="*/ 2 w 16"/>
                    <a:gd name="T65" fmla="*/ 73 h 146"/>
                    <a:gd name="T66" fmla="*/ 2 w 16"/>
                    <a:gd name="T67" fmla="*/ 73 h 146"/>
                    <a:gd name="T68" fmla="*/ 1 w 16"/>
                    <a:gd name="T69" fmla="*/ 73 h 146"/>
                    <a:gd name="T70" fmla="*/ 2 w 16"/>
                    <a:gd name="T71" fmla="*/ 73 h 146"/>
                    <a:gd name="T72" fmla="*/ 2 w 16"/>
                    <a:gd name="T73" fmla="*/ 73 h 146"/>
                    <a:gd name="T74" fmla="*/ 2 w 16"/>
                    <a:gd name="T75" fmla="*/ 74 h 146"/>
                    <a:gd name="T76" fmla="*/ 2 w 16"/>
                    <a:gd name="T77" fmla="*/ 74 h 146"/>
                    <a:gd name="T78" fmla="*/ 2 w 16"/>
                    <a:gd name="T79" fmla="*/ 74 h 146"/>
                    <a:gd name="T80" fmla="*/ 3 w 16"/>
                    <a:gd name="T81" fmla="*/ 74 h 1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 h="146">
                      <a:moveTo>
                        <a:pt x="6" y="145"/>
                      </a:moveTo>
                      <a:lnTo>
                        <a:pt x="8" y="142"/>
                      </a:lnTo>
                      <a:lnTo>
                        <a:pt x="10" y="137"/>
                      </a:lnTo>
                      <a:lnTo>
                        <a:pt x="12" y="134"/>
                      </a:lnTo>
                      <a:lnTo>
                        <a:pt x="13" y="129"/>
                      </a:lnTo>
                      <a:lnTo>
                        <a:pt x="15" y="125"/>
                      </a:lnTo>
                      <a:lnTo>
                        <a:pt x="15" y="121"/>
                      </a:lnTo>
                      <a:lnTo>
                        <a:pt x="16" y="117"/>
                      </a:lnTo>
                      <a:lnTo>
                        <a:pt x="16" y="113"/>
                      </a:lnTo>
                      <a:lnTo>
                        <a:pt x="16" y="108"/>
                      </a:lnTo>
                      <a:lnTo>
                        <a:pt x="15" y="104"/>
                      </a:lnTo>
                      <a:lnTo>
                        <a:pt x="15" y="99"/>
                      </a:lnTo>
                      <a:lnTo>
                        <a:pt x="15" y="95"/>
                      </a:lnTo>
                      <a:lnTo>
                        <a:pt x="13" y="90"/>
                      </a:lnTo>
                      <a:lnTo>
                        <a:pt x="13" y="85"/>
                      </a:lnTo>
                      <a:lnTo>
                        <a:pt x="12" y="81"/>
                      </a:lnTo>
                      <a:lnTo>
                        <a:pt x="11" y="76"/>
                      </a:lnTo>
                      <a:lnTo>
                        <a:pt x="10" y="72"/>
                      </a:lnTo>
                      <a:lnTo>
                        <a:pt x="9" y="67"/>
                      </a:lnTo>
                      <a:lnTo>
                        <a:pt x="8" y="61"/>
                      </a:lnTo>
                      <a:lnTo>
                        <a:pt x="7" y="57"/>
                      </a:lnTo>
                      <a:lnTo>
                        <a:pt x="6" y="53"/>
                      </a:lnTo>
                      <a:lnTo>
                        <a:pt x="5" y="48"/>
                      </a:lnTo>
                      <a:lnTo>
                        <a:pt x="4" y="43"/>
                      </a:lnTo>
                      <a:lnTo>
                        <a:pt x="4" y="38"/>
                      </a:lnTo>
                      <a:lnTo>
                        <a:pt x="4" y="34"/>
                      </a:lnTo>
                      <a:lnTo>
                        <a:pt x="3" y="29"/>
                      </a:lnTo>
                      <a:lnTo>
                        <a:pt x="3" y="24"/>
                      </a:lnTo>
                      <a:lnTo>
                        <a:pt x="3" y="20"/>
                      </a:lnTo>
                      <a:lnTo>
                        <a:pt x="4" y="16"/>
                      </a:lnTo>
                      <a:lnTo>
                        <a:pt x="4" y="10"/>
                      </a:lnTo>
                      <a:lnTo>
                        <a:pt x="5" y="6"/>
                      </a:lnTo>
                      <a:lnTo>
                        <a:pt x="6" y="1"/>
                      </a:lnTo>
                      <a:lnTo>
                        <a:pt x="4" y="0"/>
                      </a:lnTo>
                      <a:lnTo>
                        <a:pt x="2" y="4"/>
                      </a:lnTo>
                      <a:lnTo>
                        <a:pt x="1" y="9"/>
                      </a:lnTo>
                      <a:lnTo>
                        <a:pt x="1" y="14"/>
                      </a:lnTo>
                      <a:lnTo>
                        <a:pt x="0" y="19"/>
                      </a:lnTo>
                      <a:lnTo>
                        <a:pt x="0" y="24"/>
                      </a:lnTo>
                      <a:lnTo>
                        <a:pt x="0" y="29"/>
                      </a:lnTo>
                      <a:lnTo>
                        <a:pt x="0" y="34"/>
                      </a:lnTo>
                      <a:lnTo>
                        <a:pt x="1" y="39"/>
                      </a:lnTo>
                      <a:lnTo>
                        <a:pt x="1" y="44"/>
                      </a:lnTo>
                      <a:lnTo>
                        <a:pt x="2" y="49"/>
                      </a:lnTo>
                      <a:lnTo>
                        <a:pt x="3" y="53"/>
                      </a:lnTo>
                      <a:lnTo>
                        <a:pt x="4" y="58"/>
                      </a:lnTo>
                      <a:lnTo>
                        <a:pt x="5" y="63"/>
                      </a:lnTo>
                      <a:lnTo>
                        <a:pt x="6" y="68"/>
                      </a:lnTo>
                      <a:lnTo>
                        <a:pt x="7" y="73"/>
                      </a:lnTo>
                      <a:lnTo>
                        <a:pt x="8" y="77"/>
                      </a:lnTo>
                      <a:lnTo>
                        <a:pt x="9" y="82"/>
                      </a:lnTo>
                      <a:lnTo>
                        <a:pt x="10" y="87"/>
                      </a:lnTo>
                      <a:lnTo>
                        <a:pt x="10" y="91"/>
                      </a:lnTo>
                      <a:lnTo>
                        <a:pt x="11" y="95"/>
                      </a:lnTo>
                      <a:lnTo>
                        <a:pt x="12" y="100"/>
                      </a:lnTo>
                      <a:lnTo>
                        <a:pt x="12" y="104"/>
                      </a:lnTo>
                      <a:lnTo>
                        <a:pt x="12" y="108"/>
                      </a:lnTo>
                      <a:lnTo>
                        <a:pt x="12" y="113"/>
                      </a:lnTo>
                      <a:lnTo>
                        <a:pt x="12" y="116"/>
                      </a:lnTo>
                      <a:lnTo>
                        <a:pt x="12" y="121"/>
                      </a:lnTo>
                      <a:lnTo>
                        <a:pt x="11" y="125"/>
                      </a:lnTo>
                      <a:lnTo>
                        <a:pt x="11" y="128"/>
                      </a:lnTo>
                      <a:lnTo>
                        <a:pt x="10" y="132"/>
                      </a:lnTo>
                      <a:lnTo>
                        <a:pt x="8" y="136"/>
                      </a:lnTo>
                      <a:lnTo>
                        <a:pt x="6" y="139"/>
                      </a:lnTo>
                      <a:lnTo>
                        <a:pt x="4" y="143"/>
                      </a:lnTo>
                      <a:lnTo>
                        <a:pt x="3" y="144"/>
                      </a:lnTo>
                      <a:lnTo>
                        <a:pt x="4" y="144"/>
                      </a:lnTo>
                      <a:lnTo>
                        <a:pt x="4" y="145"/>
                      </a:lnTo>
                      <a:lnTo>
                        <a:pt x="4" y="146"/>
                      </a:lnTo>
                      <a:lnTo>
                        <a:pt x="5" y="146"/>
                      </a:lnTo>
                      <a:lnTo>
                        <a:pt x="6" y="146"/>
                      </a:lnTo>
                      <a:lnTo>
                        <a:pt x="6"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39" name="Freeform 931">
                  <a:extLst>
                    <a:ext uri="{FF2B5EF4-FFF2-40B4-BE49-F238E27FC236}">
                      <a16:creationId xmlns:a16="http://schemas.microsoft.com/office/drawing/2014/main" id="{DBBC1846-63C7-BA7D-EC79-C102AD35CEFB}"/>
                    </a:ext>
                  </a:extLst>
                </p:cNvPr>
                <p:cNvSpPr>
                  <a:spLocks/>
                </p:cNvSpPr>
                <p:nvPr/>
              </p:nvSpPr>
              <p:spPr bwMode="auto">
                <a:xfrm>
                  <a:off x="1106" y="1524"/>
                  <a:ext cx="17" cy="46"/>
                </a:xfrm>
                <a:custGeom>
                  <a:avLst/>
                  <a:gdLst>
                    <a:gd name="T0" fmla="*/ 8 w 24"/>
                    <a:gd name="T1" fmla="*/ 32 h 64"/>
                    <a:gd name="T2" fmla="*/ 8 w 24"/>
                    <a:gd name="T3" fmla="*/ 29 h 64"/>
                    <a:gd name="T4" fmla="*/ 7 w 24"/>
                    <a:gd name="T5" fmla="*/ 26 h 64"/>
                    <a:gd name="T6" fmla="*/ 6 w 24"/>
                    <a:gd name="T7" fmla="*/ 24 h 64"/>
                    <a:gd name="T8" fmla="*/ 6 w 24"/>
                    <a:gd name="T9" fmla="*/ 22 h 64"/>
                    <a:gd name="T10" fmla="*/ 4 w 24"/>
                    <a:gd name="T11" fmla="*/ 21 h 64"/>
                    <a:gd name="T12" fmla="*/ 3 w 24"/>
                    <a:gd name="T13" fmla="*/ 20 h 64"/>
                    <a:gd name="T14" fmla="*/ 2 w 24"/>
                    <a:gd name="T15" fmla="*/ 19 h 64"/>
                    <a:gd name="T16" fmla="*/ 1 w 24"/>
                    <a:gd name="T17" fmla="*/ 19 h 64"/>
                    <a:gd name="T18" fmla="*/ 1 w 24"/>
                    <a:gd name="T19" fmla="*/ 19 h 64"/>
                    <a:gd name="T20" fmla="*/ 1 w 24"/>
                    <a:gd name="T21" fmla="*/ 18 h 64"/>
                    <a:gd name="T22" fmla="*/ 3 w 24"/>
                    <a:gd name="T23" fmla="*/ 17 h 64"/>
                    <a:gd name="T24" fmla="*/ 4 w 24"/>
                    <a:gd name="T25" fmla="*/ 14 h 64"/>
                    <a:gd name="T26" fmla="*/ 6 w 24"/>
                    <a:gd name="T27" fmla="*/ 11 h 64"/>
                    <a:gd name="T28" fmla="*/ 9 w 24"/>
                    <a:gd name="T29" fmla="*/ 6 h 64"/>
                    <a:gd name="T30" fmla="*/ 12 w 24"/>
                    <a:gd name="T31" fmla="*/ 1 h 64"/>
                    <a:gd name="T32" fmla="*/ 9 w 24"/>
                    <a:gd name="T33" fmla="*/ 3 h 64"/>
                    <a:gd name="T34" fmla="*/ 6 w 24"/>
                    <a:gd name="T35" fmla="*/ 8 h 64"/>
                    <a:gd name="T36" fmla="*/ 4 w 24"/>
                    <a:gd name="T37" fmla="*/ 12 h 64"/>
                    <a:gd name="T38" fmla="*/ 1 w 24"/>
                    <a:gd name="T39" fmla="*/ 14 h 64"/>
                    <a:gd name="T40" fmla="*/ 1 w 24"/>
                    <a:gd name="T41" fmla="*/ 16 h 64"/>
                    <a:gd name="T42" fmla="*/ 0 w 24"/>
                    <a:gd name="T43" fmla="*/ 18 h 64"/>
                    <a:gd name="T44" fmla="*/ 0 w 24"/>
                    <a:gd name="T45" fmla="*/ 19 h 64"/>
                    <a:gd name="T46" fmla="*/ 1 w 24"/>
                    <a:gd name="T47" fmla="*/ 21 h 64"/>
                    <a:gd name="T48" fmla="*/ 1 w 24"/>
                    <a:gd name="T49" fmla="*/ 22 h 64"/>
                    <a:gd name="T50" fmla="*/ 2 w 24"/>
                    <a:gd name="T51" fmla="*/ 22 h 64"/>
                    <a:gd name="T52" fmla="*/ 3 w 24"/>
                    <a:gd name="T53" fmla="*/ 22 h 64"/>
                    <a:gd name="T54" fmla="*/ 4 w 24"/>
                    <a:gd name="T55" fmla="*/ 23 h 64"/>
                    <a:gd name="T56" fmla="*/ 5 w 24"/>
                    <a:gd name="T57" fmla="*/ 24 h 64"/>
                    <a:gd name="T58" fmla="*/ 6 w 24"/>
                    <a:gd name="T59" fmla="*/ 25 h 64"/>
                    <a:gd name="T60" fmla="*/ 6 w 24"/>
                    <a:gd name="T61" fmla="*/ 28 h 64"/>
                    <a:gd name="T62" fmla="*/ 6 w 24"/>
                    <a:gd name="T63" fmla="*/ 30 h 64"/>
                    <a:gd name="T64" fmla="*/ 8 w 24"/>
                    <a:gd name="T65" fmla="*/ 32 h 64"/>
                    <a:gd name="T66" fmla="*/ 6 w 24"/>
                    <a:gd name="T67" fmla="*/ 32 h 64"/>
                    <a:gd name="T68" fmla="*/ 6 w 24"/>
                    <a:gd name="T69" fmla="*/ 33 h 64"/>
                    <a:gd name="T70" fmla="*/ 6 w 24"/>
                    <a:gd name="T71" fmla="*/ 33 h 64"/>
                    <a:gd name="T72" fmla="*/ 7 w 24"/>
                    <a:gd name="T73" fmla="*/ 33 h 64"/>
                    <a:gd name="T74" fmla="*/ 7 w 24"/>
                    <a:gd name="T75" fmla="*/ 33 h 64"/>
                    <a:gd name="T76" fmla="*/ 8 w 24"/>
                    <a:gd name="T77" fmla="*/ 33 h 64"/>
                    <a:gd name="T78" fmla="*/ 8 w 24"/>
                    <a:gd name="T79" fmla="*/ 33 h 64"/>
                    <a:gd name="T80" fmla="*/ 8 w 24"/>
                    <a:gd name="T81" fmla="*/ 33 h 64"/>
                    <a:gd name="T82" fmla="*/ 8 w 24"/>
                    <a:gd name="T83" fmla="*/ 32 h 64"/>
                    <a:gd name="T84" fmla="*/ 8 w 24"/>
                    <a:gd name="T85" fmla="*/ 32 h 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4" h="64">
                      <a:moveTo>
                        <a:pt x="13" y="62"/>
                      </a:moveTo>
                      <a:lnTo>
                        <a:pt x="16" y="62"/>
                      </a:lnTo>
                      <a:lnTo>
                        <a:pt x="16" y="59"/>
                      </a:lnTo>
                      <a:lnTo>
                        <a:pt x="16" y="55"/>
                      </a:lnTo>
                      <a:lnTo>
                        <a:pt x="16" y="52"/>
                      </a:lnTo>
                      <a:lnTo>
                        <a:pt x="14" y="50"/>
                      </a:lnTo>
                      <a:lnTo>
                        <a:pt x="14" y="48"/>
                      </a:lnTo>
                      <a:lnTo>
                        <a:pt x="13" y="46"/>
                      </a:lnTo>
                      <a:lnTo>
                        <a:pt x="12" y="44"/>
                      </a:lnTo>
                      <a:lnTo>
                        <a:pt x="11" y="42"/>
                      </a:lnTo>
                      <a:lnTo>
                        <a:pt x="10" y="41"/>
                      </a:lnTo>
                      <a:lnTo>
                        <a:pt x="9" y="40"/>
                      </a:lnTo>
                      <a:lnTo>
                        <a:pt x="8" y="39"/>
                      </a:lnTo>
                      <a:lnTo>
                        <a:pt x="6" y="39"/>
                      </a:lnTo>
                      <a:lnTo>
                        <a:pt x="6" y="38"/>
                      </a:lnTo>
                      <a:lnTo>
                        <a:pt x="4" y="38"/>
                      </a:lnTo>
                      <a:lnTo>
                        <a:pt x="4" y="37"/>
                      </a:lnTo>
                      <a:lnTo>
                        <a:pt x="3" y="37"/>
                      </a:lnTo>
                      <a:lnTo>
                        <a:pt x="3" y="36"/>
                      </a:lnTo>
                      <a:lnTo>
                        <a:pt x="3" y="35"/>
                      </a:lnTo>
                      <a:lnTo>
                        <a:pt x="4" y="33"/>
                      </a:lnTo>
                      <a:lnTo>
                        <a:pt x="5" y="32"/>
                      </a:lnTo>
                      <a:lnTo>
                        <a:pt x="6" y="30"/>
                      </a:lnTo>
                      <a:lnTo>
                        <a:pt x="8" y="27"/>
                      </a:lnTo>
                      <a:lnTo>
                        <a:pt x="9" y="25"/>
                      </a:lnTo>
                      <a:lnTo>
                        <a:pt x="11" y="21"/>
                      </a:lnTo>
                      <a:lnTo>
                        <a:pt x="14" y="17"/>
                      </a:lnTo>
                      <a:lnTo>
                        <a:pt x="17" y="13"/>
                      </a:lnTo>
                      <a:lnTo>
                        <a:pt x="20" y="8"/>
                      </a:lnTo>
                      <a:lnTo>
                        <a:pt x="24" y="3"/>
                      </a:lnTo>
                      <a:lnTo>
                        <a:pt x="22" y="0"/>
                      </a:lnTo>
                      <a:lnTo>
                        <a:pt x="18" y="5"/>
                      </a:lnTo>
                      <a:lnTo>
                        <a:pt x="14" y="10"/>
                      </a:lnTo>
                      <a:lnTo>
                        <a:pt x="11" y="15"/>
                      </a:lnTo>
                      <a:lnTo>
                        <a:pt x="9" y="19"/>
                      </a:lnTo>
                      <a:lnTo>
                        <a:pt x="7" y="22"/>
                      </a:lnTo>
                      <a:lnTo>
                        <a:pt x="5" y="25"/>
                      </a:lnTo>
                      <a:lnTo>
                        <a:pt x="3" y="27"/>
                      </a:lnTo>
                      <a:lnTo>
                        <a:pt x="2" y="30"/>
                      </a:lnTo>
                      <a:lnTo>
                        <a:pt x="1" y="31"/>
                      </a:lnTo>
                      <a:lnTo>
                        <a:pt x="0" y="33"/>
                      </a:lnTo>
                      <a:lnTo>
                        <a:pt x="0" y="35"/>
                      </a:lnTo>
                      <a:lnTo>
                        <a:pt x="0" y="36"/>
                      </a:lnTo>
                      <a:lnTo>
                        <a:pt x="0" y="38"/>
                      </a:lnTo>
                      <a:lnTo>
                        <a:pt x="0" y="39"/>
                      </a:lnTo>
                      <a:lnTo>
                        <a:pt x="1" y="40"/>
                      </a:lnTo>
                      <a:lnTo>
                        <a:pt x="2" y="41"/>
                      </a:lnTo>
                      <a:lnTo>
                        <a:pt x="3" y="42"/>
                      </a:lnTo>
                      <a:lnTo>
                        <a:pt x="4" y="42"/>
                      </a:lnTo>
                      <a:lnTo>
                        <a:pt x="5" y="43"/>
                      </a:lnTo>
                      <a:lnTo>
                        <a:pt x="6" y="43"/>
                      </a:lnTo>
                      <a:lnTo>
                        <a:pt x="8" y="44"/>
                      </a:lnTo>
                      <a:lnTo>
                        <a:pt x="9" y="46"/>
                      </a:lnTo>
                      <a:lnTo>
                        <a:pt x="10" y="46"/>
                      </a:lnTo>
                      <a:lnTo>
                        <a:pt x="11" y="48"/>
                      </a:lnTo>
                      <a:lnTo>
                        <a:pt x="11" y="49"/>
                      </a:lnTo>
                      <a:lnTo>
                        <a:pt x="11" y="51"/>
                      </a:lnTo>
                      <a:lnTo>
                        <a:pt x="12" y="54"/>
                      </a:lnTo>
                      <a:lnTo>
                        <a:pt x="13" y="56"/>
                      </a:lnTo>
                      <a:lnTo>
                        <a:pt x="13" y="59"/>
                      </a:lnTo>
                      <a:lnTo>
                        <a:pt x="13" y="62"/>
                      </a:lnTo>
                      <a:lnTo>
                        <a:pt x="16" y="62"/>
                      </a:lnTo>
                      <a:lnTo>
                        <a:pt x="13" y="62"/>
                      </a:lnTo>
                      <a:lnTo>
                        <a:pt x="13" y="63"/>
                      </a:lnTo>
                      <a:lnTo>
                        <a:pt x="13" y="64"/>
                      </a:lnTo>
                      <a:lnTo>
                        <a:pt x="14" y="64"/>
                      </a:lnTo>
                      <a:lnTo>
                        <a:pt x="15" y="64"/>
                      </a:lnTo>
                      <a:lnTo>
                        <a:pt x="16" y="64"/>
                      </a:lnTo>
                      <a:lnTo>
                        <a:pt x="16" y="63"/>
                      </a:lnTo>
                      <a:lnTo>
                        <a:pt x="16" y="62"/>
                      </a:lnTo>
                      <a:lnTo>
                        <a:pt x="1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0" name="Freeform 932">
                  <a:extLst>
                    <a:ext uri="{FF2B5EF4-FFF2-40B4-BE49-F238E27FC236}">
                      <a16:creationId xmlns:a16="http://schemas.microsoft.com/office/drawing/2014/main" id="{CD137AA0-0541-71A1-4E45-2181B7AF43D1}"/>
                    </a:ext>
                  </a:extLst>
                </p:cNvPr>
                <p:cNvSpPr>
                  <a:spLocks/>
                </p:cNvSpPr>
                <p:nvPr/>
              </p:nvSpPr>
              <p:spPr bwMode="auto">
                <a:xfrm>
                  <a:off x="1115" y="1550"/>
                  <a:ext cx="21" cy="20"/>
                </a:xfrm>
                <a:custGeom>
                  <a:avLst/>
                  <a:gdLst>
                    <a:gd name="T0" fmla="*/ 14 w 31"/>
                    <a:gd name="T1" fmla="*/ 14 h 27"/>
                    <a:gd name="T2" fmla="*/ 14 w 31"/>
                    <a:gd name="T3" fmla="*/ 12 h 27"/>
                    <a:gd name="T4" fmla="*/ 14 w 31"/>
                    <a:gd name="T5" fmla="*/ 9 h 27"/>
                    <a:gd name="T6" fmla="*/ 13 w 31"/>
                    <a:gd name="T7" fmla="*/ 7 h 27"/>
                    <a:gd name="T8" fmla="*/ 12 w 31"/>
                    <a:gd name="T9" fmla="*/ 4 h 27"/>
                    <a:gd name="T10" fmla="*/ 11 w 31"/>
                    <a:gd name="T11" fmla="*/ 3 h 27"/>
                    <a:gd name="T12" fmla="*/ 9 w 31"/>
                    <a:gd name="T13" fmla="*/ 1 h 27"/>
                    <a:gd name="T14" fmla="*/ 9 w 31"/>
                    <a:gd name="T15" fmla="*/ 1 h 27"/>
                    <a:gd name="T16" fmla="*/ 7 w 31"/>
                    <a:gd name="T17" fmla="*/ 0 h 27"/>
                    <a:gd name="T18" fmla="*/ 6 w 31"/>
                    <a:gd name="T19" fmla="*/ 0 h 27"/>
                    <a:gd name="T20" fmla="*/ 5 w 31"/>
                    <a:gd name="T21" fmla="*/ 0 h 27"/>
                    <a:gd name="T22" fmla="*/ 3 w 31"/>
                    <a:gd name="T23" fmla="*/ 1 h 27"/>
                    <a:gd name="T24" fmla="*/ 2 w 31"/>
                    <a:gd name="T25" fmla="*/ 3 h 27"/>
                    <a:gd name="T26" fmla="*/ 1 w 31"/>
                    <a:gd name="T27" fmla="*/ 4 h 27"/>
                    <a:gd name="T28" fmla="*/ 1 w 31"/>
                    <a:gd name="T29" fmla="*/ 7 h 27"/>
                    <a:gd name="T30" fmla="*/ 1 w 31"/>
                    <a:gd name="T31" fmla="*/ 10 h 27"/>
                    <a:gd name="T32" fmla="*/ 0 w 31"/>
                    <a:gd name="T33" fmla="*/ 14 h 27"/>
                    <a:gd name="T34" fmla="*/ 1 w 31"/>
                    <a:gd name="T35" fmla="*/ 12 h 27"/>
                    <a:gd name="T36" fmla="*/ 2 w 31"/>
                    <a:gd name="T37" fmla="*/ 10 h 27"/>
                    <a:gd name="T38" fmla="*/ 2 w 31"/>
                    <a:gd name="T39" fmla="*/ 7 h 27"/>
                    <a:gd name="T40" fmla="*/ 3 w 31"/>
                    <a:gd name="T41" fmla="*/ 5 h 27"/>
                    <a:gd name="T42" fmla="*/ 3 w 31"/>
                    <a:gd name="T43" fmla="*/ 3 h 27"/>
                    <a:gd name="T44" fmla="*/ 5 w 31"/>
                    <a:gd name="T45" fmla="*/ 3 h 27"/>
                    <a:gd name="T46" fmla="*/ 5 w 31"/>
                    <a:gd name="T47" fmla="*/ 2 h 27"/>
                    <a:gd name="T48" fmla="*/ 6 w 31"/>
                    <a:gd name="T49" fmla="*/ 2 h 27"/>
                    <a:gd name="T50" fmla="*/ 7 w 31"/>
                    <a:gd name="T51" fmla="*/ 3 h 27"/>
                    <a:gd name="T52" fmla="*/ 9 w 31"/>
                    <a:gd name="T53" fmla="*/ 3 h 27"/>
                    <a:gd name="T54" fmla="*/ 9 w 31"/>
                    <a:gd name="T55" fmla="*/ 4 h 27"/>
                    <a:gd name="T56" fmla="*/ 11 w 31"/>
                    <a:gd name="T57" fmla="*/ 5 h 27"/>
                    <a:gd name="T58" fmla="*/ 12 w 31"/>
                    <a:gd name="T59" fmla="*/ 7 h 27"/>
                    <a:gd name="T60" fmla="*/ 12 w 31"/>
                    <a:gd name="T61" fmla="*/ 9 h 27"/>
                    <a:gd name="T62" fmla="*/ 13 w 31"/>
                    <a:gd name="T63" fmla="*/ 10 h 27"/>
                    <a:gd name="T64" fmla="*/ 13 w 31"/>
                    <a:gd name="T65" fmla="*/ 13 h 27"/>
                    <a:gd name="T66" fmla="*/ 13 w 31"/>
                    <a:gd name="T67" fmla="*/ 13 h 27"/>
                    <a:gd name="T68" fmla="*/ 13 w 31"/>
                    <a:gd name="T69" fmla="*/ 14 h 27"/>
                    <a:gd name="T70" fmla="*/ 13 w 31"/>
                    <a:gd name="T71" fmla="*/ 14 h 27"/>
                    <a:gd name="T72" fmla="*/ 13 w 31"/>
                    <a:gd name="T73" fmla="*/ 15 h 27"/>
                    <a:gd name="T74" fmla="*/ 14 w 31"/>
                    <a:gd name="T75" fmla="*/ 15 h 27"/>
                    <a:gd name="T76" fmla="*/ 14 w 31"/>
                    <a:gd name="T77" fmla="*/ 15 h 27"/>
                    <a:gd name="T78" fmla="*/ 14 w 31"/>
                    <a:gd name="T79" fmla="*/ 15 h 27"/>
                    <a:gd name="T80" fmla="*/ 14 w 31"/>
                    <a:gd name="T81" fmla="*/ 15 h 27"/>
                    <a:gd name="T82" fmla="*/ 14 w 31"/>
                    <a:gd name="T83" fmla="*/ 15 h 27"/>
                    <a:gd name="T84" fmla="*/ 14 w 31"/>
                    <a:gd name="T85" fmla="*/ 14 h 27"/>
                    <a:gd name="T86" fmla="*/ 14 w 31"/>
                    <a:gd name="T87" fmla="*/ 14 h 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1" h="27">
                      <a:moveTo>
                        <a:pt x="31" y="26"/>
                      </a:moveTo>
                      <a:lnTo>
                        <a:pt x="31" y="25"/>
                      </a:lnTo>
                      <a:lnTo>
                        <a:pt x="31" y="23"/>
                      </a:lnTo>
                      <a:lnTo>
                        <a:pt x="31" y="21"/>
                      </a:lnTo>
                      <a:lnTo>
                        <a:pt x="30" y="18"/>
                      </a:lnTo>
                      <a:lnTo>
                        <a:pt x="30" y="16"/>
                      </a:lnTo>
                      <a:lnTo>
                        <a:pt x="29" y="14"/>
                      </a:lnTo>
                      <a:lnTo>
                        <a:pt x="28" y="12"/>
                      </a:lnTo>
                      <a:lnTo>
                        <a:pt x="28" y="10"/>
                      </a:lnTo>
                      <a:lnTo>
                        <a:pt x="26" y="8"/>
                      </a:lnTo>
                      <a:lnTo>
                        <a:pt x="25" y="6"/>
                      </a:lnTo>
                      <a:lnTo>
                        <a:pt x="24" y="5"/>
                      </a:lnTo>
                      <a:lnTo>
                        <a:pt x="23" y="4"/>
                      </a:lnTo>
                      <a:lnTo>
                        <a:pt x="21" y="3"/>
                      </a:lnTo>
                      <a:lnTo>
                        <a:pt x="20" y="2"/>
                      </a:lnTo>
                      <a:lnTo>
                        <a:pt x="19" y="1"/>
                      </a:lnTo>
                      <a:lnTo>
                        <a:pt x="17" y="0"/>
                      </a:lnTo>
                      <a:lnTo>
                        <a:pt x="16" y="0"/>
                      </a:lnTo>
                      <a:lnTo>
                        <a:pt x="15" y="0"/>
                      </a:lnTo>
                      <a:lnTo>
                        <a:pt x="13" y="0"/>
                      </a:lnTo>
                      <a:lnTo>
                        <a:pt x="11" y="0"/>
                      </a:lnTo>
                      <a:lnTo>
                        <a:pt x="10" y="0"/>
                      </a:lnTo>
                      <a:lnTo>
                        <a:pt x="9" y="1"/>
                      </a:lnTo>
                      <a:lnTo>
                        <a:pt x="7" y="2"/>
                      </a:lnTo>
                      <a:lnTo>
                        <a:pt x="6" y="3"/>
                      </a:lnTo>
                      <a:lnTo>
                        <a:pt x="5" y="5"/>
                      </a:lnTo>
                      <a:lnTo>
                        <a:pt x="4" y="6"/>
                      </a:lnTo>
                      <a:lnTo>
                        <a:pt x="3" y="8"/>
                      </a:lnTo>
                      <a:lnTo>
                        <a:pt x="2" y="11"/>
                      </a:lnTo>
                      <a:lnTo>
                        <a:pt x="1" y="13"/>
                      </a:lnTo>
                      <a:lnTo>
                        <a:pt x="1" y="16"/>
                      </a:lnTo>
                      <a:lnTo>
                        <a:pt x="1" y="18"/>
                      </a:lnTo>
                      <a:lnTo>
                        <a:pt x="0" y="22"/>
                      </a:lnTo>
                      <a:lnTo>
                        <a:pt x="0" y="25"/>
                      </a:lnTo>
                      <a:lnTo>
                        <a:pt x="3" y="25"/>
                      </a:lnTo>
                      <a:lnTo>
                        <a:pt x="3" y="22"/>
                      </a:lnTo>
                      <a:lnTo>
                        <a:pt x="3" y="19"/>
                      </a:lnTo>
                      <a:lnTo>
                        <a:pt x="4" y="17"/>
                      </a:lnTo>
                      <a:lnTo>
                        <a:pt x="4" y="14"/>
                      </a:lnTo>
                      <a:lnTo>
                        <a:pt x="5" y="12"/>
                      </a:lnTo>
                      <a:lnTo>
                        <a:pt x="6" y="10"/>
                      </a:lnTo>
                      <a:lnTo>
                        <a:pt x="6" y="9"/>
                      </a:lnTo>
                      <a:lnTo>
                        <a:pt x="7" y="7"/>
                      </a:lnTo>
                      <a:lnTo>
                        <a:pt x="8" y="6"/>
                      </a:lnTo>
                      <a:lnTo>
                        <a:pt x="9" y="6"/>
                      </a:lnTo>
                      <a:lnTo>
                        <a:pt x="10" y="5"/>
                      </a:lnTo>
                      <a:lnTo>
                        <a:pt x="11" y="5"/>
                      </a:lnTo>
                      <a:lnTo>
                        <a:pt x="12" y="4"/>
                      </a:lnTo>
                      <a:lnTo>
                        <a:pt x="13" y="4"/>
                      </a:lnTo>
                      <a:lnTo>
                        <a:pt x="14" y="4"/>
                      </a:lnTo>
                      <a:lnTo>
                        <a:pt x="16" y="4"/>
                      </a:lnTo>
                      <a:lnTo>
                        <a:pt x="16" y="5"/>
                      </a:lnTo>
                      <a:lnTo>
                        <a:pt x="17" y="5"/>
                      </a:lnTo>
                      <a:lnTo>
                        <a:pt x="19" y="6"/>
                      </a:lnTo>
                      <a:lnTo>
                        <a:pt x="20" y="6"/>
                      </a:lnTo>
                      <a:lnTo>
                        <a:pt x="21" y="7"/>
                      </a:lnTo>
                      <a:lnTo>
                        <a:pt x="22" y="8"/>
                      </a:lnTo>
                      <a:lnTo>
                        <a:pt x="23" y="10"/>
                      </a:lnTo>
                      <a:lnTo>
                        <a:pt x="24" y="11"/>
                      </a:lnTo>
                      <a:lnTo>
                        <a:pt x="25" y="13"/>
                      </a:lnTo>
                      <a:lnTo>
                        <a:pt x="26" y="14"/>
                      </a:lnTo>
                      <a:lnTo>
                        <a:pt x="26" y="16"/>
                      </a:lnTo>
                      <a:lnTo>
                        <a:pt x="27" y="17"/>
                      </a:lnTo>
                      <a:lnTo>
                        <a:pt x="28" y="19"/>
                      </a:lnTo>
                      <a:lnTo>
                        <a:pt x="28" y="21"/>
                      </a:lnTo>
                      <a:lnTo>
                        <a:pt x="28" y="23"/>
                      </a:lnTo>
                      <a:lnTo>
                        <a:pt x="28" y="25"/>
                      </a:lnTo>
                      <a:lnTo>
                        <a:pt x="28" y="24"/>
                      </a:lnTo>
                      <a:lnTo>
                        <a:pt x="28" y="25"/>
                      </a:lnTo>
                      <a:lnTo>
                        <a:pt x="28" y="26"/>
                      </a:lnTo>
                      <a:lnTo>
                        <a:pt x="28" y="27"/>
                      </a:lnTo>
                      <a:lnTo>
                        <a:pt x="29" y="27"/>
                      </a:lnTo>
                      <a:lnTo>
                        <a:pt x="30" y="27"/>
                      </a:lnTo>
                      <a:lnTo>
                        <a:pt x="31" y="27"/>
                      </a:lnTo>
                      <a:lnTo>
                        <a:pt x="31" y="26"/>
                      </a:lnTo>
                      <a:lnTo>
                        <a:pt x="31" y="25"/>
                      </a:lnTo>
                      <a:lnTo>
                        <a:pt x="31"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1" name="Freeform 933">
                  <a:extLst>
                    <a:ext uri="{FF2B5EF4-FFF2-40B4-BE49-F238E27FC236}">
                      <a16:creationId xmlns:a16="http://schemas.microsoft.com/office/drawing/2014/main" id="{09F4243C-2890-5163-607F-9477845F9305}"/>
                    </a:ext>
                  </a:extLst>
                </p:cNvPr>
                <p:cNvSpPr>
                  <a:spLocks/>
                </p:cNvSpPr>
                <p:nvPr/>
              </p:nvSpPr>
              <p:spPr bwMode="auto">
                <a:xfrm>
                  <a:off x="1120" y="1568"/>
                  <a:ext cx="16" cy="35"/>
                </a:xfrm>
                <a:custGeom>
                  <a:avLst/>
                  <a:gdLst>
                    <a:gd name="T0" fmla="*/ 1 w 23"/>
                    <a:gd name="T1" fmla="*/ 25 h 49"/>
                    <a:gd name="T2" fmla="*/ 1 w 23"/>
                    <a:gd name="T3" fmla="*/ 24 h 49"/>
                    <a:gd name="T4" fmla="*/ 11 w 23"/>
                    <a:gd name="T5" fmla="*/ 1 h 49"/>
                    <a:gd name="T6" fmla="*/ 10 w 23"/>
                    <a:gd name="T7" fmla="*/ 0 h 49"/>
                    <a:gd name="T8" fmla="*/ 1 w 23"/>
                    <a:gd name="T9" fmla="*/ 24 h 49"/>
                    <a:gd name="T10" fmla="*/ 1 w 23"/>
                    <a:gd name="T11" fmla="*/ 24 h 49"/>
                    <a:gd name="T12" fmla="*/ 1 w 23"/>
                    <a:gd name="T13" fmla="*/ 24 h 49"/>
                    <a:gd name="T14" fmla="*/ 1 w 23"/>
                    <a:gd name="T15" fmla="*/ 24 h 49"/>
                    <a:gd name="T16" fmla="*/ 1 w 23"/>
                    <a:gd name="T17" fmla="*/ 24 h 49"/>
                    <a:gd name="T18" fmla="*/ 0 w 23"/>
                    <a:gd name="T19" fmla="*/ 24 h 49"/>
                    <a:gd name="T20" fmla="*/ 0 w 23"/>
                    <a:gd name="T21" fmla="*/ 24 h 49"/>
                    <a:gd name="T22" fmla="*/ 1 w 23"/>
                    <a:gd name="T23" fmla="*/ 24 h 49"/>
                    <a:gd name="T24" fmla="*/ 1 w 23"/>
                    <a:gd name="T25" fmla="*/ 24 h 49"/>
                    <a:gd name="T26" fmla="*/ 1 w 23"/>
                    <a:gd name="T27" fmla="*/ 25 h 49"/>
                    <a:gd name="T28" fmla="*/ 1 w 23"/>
                    <a:gd name="T29" fmla="*/ 25 h 49"/>
                    <a:gd name="T30" fmla="*/ 1 w 23"/>
                    <a:gd name="T31" fmla="*/ 25 h 49"/>
                    <a:gd name="T32" fmla="*/ 1 w 23"/>
                    <a:gd name="T33" fmla="*/ 25 h 49"/>
                    <a:gd name="T34" fmla="*/ 1 w 23"/>
                    <a:gd name="T35" fmla="*/ 25 h 49"/>
                    <a:gd name="T36" fmla="*/ 1 w 23"/>
                    <a:gd name="T37" fmla="*/ 25 h 49"/>
                    <a:gd name="T38" fmla="*/ 1 w 23"/>
                    <a:gd name="T39" fmla="*/ 25 h 49"/>
                    <a:gd name="T40" fmla="*/ 1 w 23"/>
                    <a:gd name="T41" fmla="*/ 25 h 49"/>
                    <a:gd name="T42" fmla="*/ 1 w 23"/>
                    <a:gd name="T43" fmla="*/ 25 h 49"/>
                    <a:gd name="T44" fmla="*/ 1 w 23"/>
                    <a:gd name="T45" fmla="*/ 25 h 49"/>
                    <a:gd name="T46" fmla="*/ 1 w 23"/>
                    <a:gd name="T47" fmla="*/ 24 h 49"/>
                    <a:gd name="T48" fmla="*/ 1 w 23"/>
                    <a:gd name="T49" fmla="*/ 25 h 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3" h="49">
                      <a:moveTo>
                        <a:pt x="3" y="49"/>
                      </a:moveTo>
                      <a:lnTo>
                        <a:pt x="3" y="48"/>
                      </a:lnTo>
                      <a:lnTo>
                        <a:pt x="23" y="2"/>
                      </a:lnTo>
                      <a:lnTo>
                        <a:pt x="20" y="0"/>
                      </a:lnTo>
                      <a:lnTo>
                        <a:pt x="1" y="46"/>
                      </a:lnTo>
                      <a:lnTo>
                        <a:pt x="1" y="47"/>
                      </a:lnTo>
                      <a:lnTo>
                        <a:pt x="0" y="47"/>
                      </a:lnTo>
                      <a:lnTo>
                        <a:pt x="1" y="47"/>
                      </a:lnTo>
                      <a:lnTo>
                        <a:pt x="1" y="48"/>
                      </a:lnTo>
                      <a:lnTo>
                        <a:pt x="1" y="49"/>
                      </a:lnTo>
                      <a:lnTo>
                        <a:pt x="2" y="49"/>
                      </a:lnTo>
                      <a:lnTo>
                        <a:pt x="3" y="49"/>
                      </a:lnTo>
                      <a:lnTo>
                        <a:pt x="3" y="48"/>
                      </a:lnTo>
                      <a:lnTo>
                        <a:pt x="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2" name="Freeform 934">
                  <a:extLst>
                    <a:ext uri="{FF2B5EF4-FFF2-40B4-BE49-F238E27FC236}">
                      <a16:creationId xmlns:a16="http://schemas.microsoft.com/office/drawing/2014/main" id="{6E16278B-86F1-DFA5-40D4-1D1F633A5C60}"/>
                    </a:ext>
                  </a:extLst>
                </p:cNvPr>
                <p:cNvSpPr>
                  <a:spLocks/>
                </p:cNvSpPr>
                <p:nvPr/>
              </p:nvSpPr>
              <p:spPr bwMode="auto">
                <a:xfrm>
                  <a:off x="1119" y="1601"/>
                  <a:ext cx="37" cy="28"/>
                </a:xfrm>
                <a:custGeom>
                  <a:avLst/>
                  <a:gdLst>
                    <a:gd name="T0" fmla="*/ 26 w 53"/>
                    <a:gd name="T1" fmla="*/ 18 h 40"/>
                    <a:gd name="T2" fmla="*/ 25 w 53"/>
                    <a:gd name="T3" fmla="*/ 15 h 40"/>
                    <a:gd name="T4" fmla="*/ 24 w 53"/>
                    <a:gd name="T5" fmla="*/ 14 h 40"/>
                    <a:gd name="T6" fmla="*/ 22 w 53"/>
                    <a:gd name="T7" fmla="*/ 13 h 40"/>
                    <a:gd name="T8" fmla="*/ 20 w 53"/>
                    <a:gd name="T9" fmla="*/ 12 h 40"/>
                    <a:gd name="T10" fmla="*/ 18 w 53"/>
                    <a:gd name="T11" fmla="*/ 11 h 40"/>
                    <a:gd name="T12" fmla="*/ 15 w 53"/>
                    <a:gd name="T13" fmla="*/ 11 h 40"/>
                    <a:gd name="T14" fmla="*/ 13 w 53"/>
                    <a:gd name="T15" fmla="*/ 9 h 40"/>
                    <a:gd name="T16" fmla="*/ 10 w 53"/>
                    <a:gd name="T17" fmla="*/ 8 h 40"/>
                    <a:gd name="T18" fmla="*/ 8 w 53"/>
                    <a:gd name="T19" fmla="*/ 8 h 40"/>
                    <a:gd name="T20" fmla="*/ 6 w 53"/>
                    <a:gd name="T21" fmla="*/ 6 h 40"/>
                    <a:gd name="T22" fmla="*/ 4 w 53"/>
                    <a:gd name="T23" fmla="*/ 6 h 40"/>
                    <a:gd name="T24" fmla="*/ 2 w 53"/>
                    <a:gd name="T25" fmla="*/ 4 h 40"/>
                    <a:gd name="T26" fmla="*/ 2 w 53"/>
                    <a:gd name="T27" fmla="*/ 4 h 40"/>
                    <a:gd name="T28" fmla="*/ 1 w 53"/>
                    <a:gd name="T29" fmla="*/ 3 h 40"/>
                    <a:gd name="T30" fmla="*/ 2 w 53"/>
                    <a:gd name="T31" fmla="*/ 2 h 40"/>
                    <a:gd name="T32" fmla="*/ 1 w 53"/>
                    <a:gd name="T33" fmla="*/ 0 h 40"/>
                    <a:gd name="T34" fmla="*/ 0 w 53"/>
                    <a:gd name="T35" fmla="*/ 1 h 40"/>
                    <a:gd name="T36" fmla="*/ 0 w 53"/>
                    <a:gd name="T37" fmla="*/ 4 h 40"/>
                    <a:gd name="T38" fmla="*/ 1 w 53"/>
                    <a:gd name="T39" fmla="*/ 6 h 40"/>
                    <a:gd name="T40" fmla="*/ 2 w 53"/>
                    <a:gd name="T41" fmla="*/ 7 h 40"/>
                    <a:gd name="T42" fmla="*/ 4 w 53"/>
                    <a:gd name="T43" fmla="*/ 8 h 40"/>
                    <a:gd name="T44" fmla="*/ 6 w 53"/>
                    <a:gd name="T45" fmla="*/ 9 h 40"/>
                    <a:gd name="T46" fmla="*/ 9 w 53"/>
                    <a:gd name="T47" fmla="*/ 10 h 40"/>
                    <a:gd name="T48" fmla="*/ 12 w 53"/>
                    <a:gd name="T49" fmla="*/ 11 h 40"/>
                    <a:gd name="T50" fmla="*/ 14 w 53"/>
                    <a:gd name="T51" fmla="*/ 11 h 40"/>
                    <a:gd name="T52" fmla="*/ 17 w 53"/>
                    <a:gd name="T53" fmla="*/ 13 h 40"/>
                    <a:gd name="T54" fmla="*/ 19 w 53"/>
                    <a:gd name="T55" fmla="*/ 13 h 40"/>
                    <a:gd name="T56" fmla="*/ 21 w 53"/>
                    <a:gd name="T57" fmla="*/ 14 h 40"/>
                    <a:gd name="T58" fmla="*/ 22 w 53"/>
                    <a:gd name="T59" fmla="*/ 15 h 40"/>
                    <a:gd name="T60" fmla="*/ 24 w 53"/>
                    <a:gd name="T61" fmla="*/ 16 h 40"/>
                    <a:gd name="T62" fmla="*/ 24 w 53"/>
                    <a:gd name="T63" fmla="*/ 18 h 40"/>
                    <a:gd name="T64" fmla="*/ 24 w 53"/>
                    <a:gd name="T65" fmla="*/ 18 h 40"/>
                    <a:gd name="T66" fmla="*/ 24 w 53"/>
                    <a:gd name="T67" fmla="*/ 18 h 40"/>
                    <a:gd name="T68" fmla="*/ 24 w 53"/>
                    <a:gd name="T69" fmla="*/ 19 h 40"/>
                    <a:gd name="T70" fmla="*/ 25 w 53"/>
                    <a:gd name="T71" fmla="*/ 19 h 40"/>
                    <a:gd name="T72" fmla="*/ 25 w 53"/>
                    <a:gd name="T73" fmla="*/ 19 h 40"/>
                    <a:gd name="T74" fmla="*/ 25 w 53"/>
                    <a:gd name="T75" fmla="*/ 20 h 40"/>
                    <a:gd name="T76" fmla="*/ 25 w 53"/>
                    <a:gd name="T77" fmla="*/ 19 h 40"/>
                    <a:gd name="T78" fmla="*/ 25 w 53"/>
                    <a:gd name="T79" fmla="*/ 19 h 40"/>
                    <a:gd name="T80" fmla="*/ 25 w 53"/>
                    <a:gd name="T81" fmla="*/ 19 h 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3" h="40">
                      <a:moveTo>
                        <a:pt x="52" y="38"/>
                      </a:moveTo>
                      <a:lnTo>
                        <a:pt x="53" y="36"/>
                      </a:lnTo>
                      <a:lnTo>
                        <a:pt x="52" y="34"/>
                      </a:lnTo>
                      <a:lnTo>
                        <a:pt x="52" y="32"/>
                      </a:lnTo>
                      <a:lnTo>
                        <a:pt x="51" y="30"/>
                      </a:lnTo>
                      <a:lnTo>
                        <a:pt x="50" y="29"/>
                      </a:lnTo>
                      <a:lnTo>
                        <a:pt x="48" y="28"/>
                      </a:lnTo>
                      <a:lnTo>
                        <a:pt x="46" y="27"/>
                      </a:lnTo>
                      <a:lnTo>
                        <a:pt x="44" y="25"/>
                      </a:lnTo>
                      <a:lnTo>
                        <a:pt x="42" y="24"/>
                      </a:lnTo>
                      <a:lnTo>
                        <a:pt x="40" y="23"/>
                      </a:lnTo>
                      <a:lnTo>
                        <a:pt x="37" y="22"/>
                      </a:lnTo>
                      <a:lnTo>
                        <a:pt x="35" y="22"/>
                      </a:lnTo>
                      <a:lnTo>
                        <a:pt x="32" y="21"/>
                      </a:lnTo>
                      <a:lnTo>
                        <a:pt x="29" y="20"/>
                      </a:lnTo>
                      <a:lnTo>
                        <a:pt x="27" y="19"/>
                      </a:lnTo>
                      <a:lnTo>
                        <a:pt x="24" y="18"/>
                      </a:lnTo>
                      <a:lnTo>
                        <a:pt x="22" y="17"/>
                      </a:lnTo>
                      <a:lnTo>
                        <a:pt x="19" y="16"/>
                      </a:lnTo>
                      <a:lnTo>
                        <a:pt x="16" y="15"/>
                      </a:lnTo>
                      <a:lnTo>
                        <a:pt x="14" y="14"/>
                      </a:lnTo>
                      <a:lnTo>
                        <a:pt x="12" y="13"/>
                      </a:lnTo>
                      <a:lnTo>
                        <a:pt x="10" y="12"/>
                      </a:lnTo>
                      <a:lnTo>
                        <a:pt x="8" y="11"/>
                      </a:lnTo>
                      <a:lnTo>
                        <a:pt x="6" y="10"/>
                      </a:lnTo>
                      <a:lnTo>
                        <a:pt x="5" y="9"/>
                      </a:lnTo>
                      <a:lnTo>
                        <a:pt x="4" y="8"/>
                      </a:lnTo>
                      <a:lnTo>
                        <a:pt x="4" y="7"/>
                      </a:lnTo>
                      <a:lnTo>
                        <a:pt x="3" y="7"/>
                      </a:lnTo>
                      <a:lnTo>
                        <a:pt x="3" y="6"/>
                      </a:lnTo>
                      <a:lnTo>
                        <a:pt x="4" y="5"/>
                      </a:lnTo>
                      <a:lnTo>
                        <a:pt x="4" y="4"/>
                      </a:lnTo>
                      <a:lnTo>
                        <a:pt x="5" y="3"/>
                      </a:lnTo>
                      <a:lnTo>
                        <a:pt x="2" y="0"/>
                      </a:lnTo>
                      <a:lnTo>
                        <a:pt x="1" y="2"/>
                      </a:lnTo>
                      <a:lnTo>
                        <a:pt x="0" y="3"/>
                      </a:lnTo>
                      <a:lnTo>
                        <a:pt x="0" y="6"/>
                      </a:lnTo>
                      <a:lnTo>
                        <a:pt x="0" y="8"/>
                      </a:lnTo>
                      <a:lnTo>
                        <a:pt x="1" y="10"/>
                      </a:lnTo>
                      <a:lnTo>
                        <a:pt x="2" y="11"/>
                      </a:lnTo>
                      <a:lnTo>
                        <a:pt x="3" y="13"/>
                      </a:lnTo>
                      <a:lnTo>
                        <a:pt x="5" y="14"/>
                      </a:lnTo>
                      <a:lnTo>
                        <a:pt x="7" y="15"/>
                      </a:lnTo>
                      <a:lnTo>
                        <a:pt x="9" y="16"/>
                      </a:lnTo>
                      <a:lnTo>
                        <a:pt x="11" y="17"/>
                      </a:lnTo>
                      <a:lnTo>
                        <a:pt x="13" y="18"/>
                      </a:lnTo>
                      <a:lnTo>
                        <a:pt x="15" y="19"/>
                      </a:lnTo>
                      <a:lnTo>
                        <a:pt x="18" y="20"/>
                      </a:lnTo>
                      <a:lnTo>
                        <a:pt x="20" y="21"/>
                      </a:lnTo>
                      <a:lnTo>
                        <a:pt x="24" y="22"/>
                      </a:lnTo>
                      <a:lnTo>
                        <a:pt x="26" y="23"/>
                      </a:lnTo>
                      <a:lnTo>
                        <a:pt x="29" y="23"/>
                      </a:lnTo>
                      <a:lnTo>
                        <a:pt x="31" y="24"/>
                      </a:lnTo>
                      <a:lnTo>
                        <a:pt x="34" y="25"/>
                      </a:lnTo>
                      <a:lnTo>
                        <a:pt x="37" y="26"/>
                      </a:lnTo>
                      <a:lnTo>
                        <a:pt x="39" y="27"/>
                      </a:lnTo>
                      <a:lnTo>
                        <a:pt x="41" y="28"/>
                      </a:lnTo>
                      <a:lnTo>
                        <a:pt x="43" y="29"/>
                      </a:lnTo>
                      <a:lnTo>
                        <a:pt x="45" y="30"/>
                      </a:lnTo>
                      <a:lnTo>
                        <a:pt x="46" y="31"/>
                      </a:lnTo>
                      <a:lnTo>
                        <a:pt x="47" y="32"/>
                      </a:lnTo>
                      <a:lnTo>
                        <a:pt x="49" y="33"/>
                      </a:lnTo>
                      <a:lnTo>
                        <a:pt x="50" y="34"/>
                      </a:lnTo>
                      <a:lnTo>
                        <a:pt x="50" y="35"/>
                      </a:lnTo>
                      <a:lnTo>
                        <a:pt x="50" y="36"/>
                      </a:lnTo>
                      <a:lnTo>
                        <a:pt x="50" y="37"/>
                      </a:lnTo>
                      <a:lnTo>
                        <a:pt x="50" y="38"/>
                      </a:lnTo>
                      <a:lnTo>
                        <a:pt x="50" y="39"/>
                      </a:lnTo>
                      <a:lnTo>
                        <a:pt x="51" y="39"/>
                      </a:lnTo>
                      <a:lnTo>
                        <a:pt x="51" y="40"/>
                      </a:lnTo>
                      <a:lnTo>
                        <a:pt x="51" y="39"/>
                      </a:lnTo>
                      <a:lnTo>
                        <a:pt x="52" y="39"/>
                      </a:lnTo>
                      <a:lnTo>
                        <a:pt x="52"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3" name="Freeform 935">
                  <a:extLst>
                    <a:ext uri="{FF2B5EF4-FFF2-40B4-BE49-F238E27FC236}">
                      <a16:creationId xmlns:a16="http://schemas.microsoft.com/office/drawing/2014/main" id="{63582FA2-845B-A1FF-5E03-E9D6C957FA18}"/>
                    </a:ext>
                  </a:extLst>
                </p:cNvPr>
                <p:cNvSpPr>
                  <a:spLocks/>
                </p:cNvSpPr>
                <p:nvPr/>
              </p:nvSpPr>
              <p:spPr bwMode="auto">
                <a:xfrm>
                  <a:off x="1120" y="1628"/>
                  <a:ext cx="36" cy="18"/>
                </a:xfrm>
                <a:custGeom>
                  <a:avLst/>
                  <a:gdLst>
                    <a:gd name="T0" fmla="*/ 1 w 50"/>
                    <a:gd name="T1" fmla="*/ 11 h 27"/>
                    <a:gd name="T2" fmla="*/ 3 w 50"/>
                    <a:gd name="T3" fmla="*/ 10 h 27"/>
                    <a:gd name="T4" fmla="*/ 4 w 50"/>
                    <a:gd name="T5" fmla="*/ 9 h 27"/>
                    <a:gd name="T6" fmla="*/ 5 w 50"/>
                    <a:gd name="T7" fmla="*/ 8 h 27"/>
                    <a:gd name="T8" fmla="*/ 6 w 50"/>
                    <a:gd name="T9" fmla="*/ 8 h 27"/>
                    <a:gd name="T10" fmla="*/ 9 w 50"/>
                    <a:gd name="T11" fmla="*/ 7 h 27"/>
                    <a:gd name="T12" fmla="*/ 10 w 50"/>
                    <a:gd name="T13" fmla="*/ 7 h 27"/>
                    <a:gd name="T14" fmla="*/ 12 w 50"/>
                    <a:gd name="T15" fmla="*/ 8 h 27"/>
                    <a:gd name="T16" fmla="*/ 14 w 50"/>
                    <a:gd name="T17" fmla="*/ 8 h 27"/>
                    <a:gd name="T18" fmla="*/ 16 w 50"/>
                    <a:gd name="T19" fmla="*/ 8 h 27"/>
                    <a:gd name="T20" fmla="*/ 17 w 50"/>
                    <a:gd name="T21" fmla="*/ 8 h 27"/>
                    <a:gd name="T22" fmla="*/ 19 w 50"/>
                    <a:gd name="T23" fmla="*/ 8 h 27"/>
                    <a:gd name="T24" fmla="*/ 21 w 50"/>
                    <a:gd name="T25" fmla="*/ 7 h 27"/>
                    <a:gd name="T26" fmla="*/ 23 w 50"/>
                    <a:gd name="T27" fmla="*/ 7 h 27"/>
                    <a:gd name="T28" fmla="*/ 24 w 50"/>
                    <a:gd name="T29" fmla="*/ 5 h 27"/>
                    <a:gd name="T30" fmla="*/ 25 w 50"/>
                    <a:gd name="T31" fmla="*/ 3 h 27"/>
                    <a:gd name="T32" fmla="*/ 26 w 50"/>
                    <a:gd name="T33" fmla="*/ 1 h 27"/>
                    <a:gd name="T34" fmla="*/ 24 w 50"/>
                    <a:gd name="T35" fmla="*/ 1 h 27"/>
                    <a:gd name="T36" fmla="*/ 23 w 50"/>
                    <a:gd name="T37" fmla="*/ 3 h 27"/>
                    <a:gd name="T38" fmla="*/ 22 w 50"/>
                    <a:gd name="T39" fmla="*/ 5 h 27"/>
                    <a:gd name="T40" fmla="*/ 21 w 50"/>
                    <a:gd name="T41" fmla="*/ 5 h 27"/>
                    <a:gd name="T42" fmla="*/ 19 w 50"/>
                    <a:gd name="T43" fmla="*/ 6 h 27"/>
                    <a:gd name="T44" fmla="*/ 18 w 50"/>
                    <a:gd name="T45" fmla="*/ 6 h 27"/>
                    <a:gd name="T46" fmla="*/ 17 w 50"/>
                    <a:gd name="T47" fmla="*/ 7 h 27"/>
                    <a:gd name="T48" fmla="*/ 14 w 50"/>
                    <a:gd name="T49" fmla="*/ 6 h 27"/>
                    <a:gd name="T50" fmla="*/ 13 w 50"/>
                    <a:gd name="T51" fmla="*/ 6 h 27"/>
                    <a:gd name="T52" fmla="*/ 12 w 50"/>
                    <a:gd name="T53" fmla="*/ 6 h 27"/>
                    <a:gd name="T54" fmla="*/ 9 w 50"/>
                    <a:gd name="T55" fmla="*/ 6 h 27"/>
                    <a:gd name="T56" fmla="*/ 8 w 50"/>
                    <a:gd name="T57" fmla="*/ 6 h 27"/>
                    <a:gd name="T58" fmla="*/ 6 w 50"/>
                    <a:gd name="T59" fmla="*/ 6 h 27"/>
                    <a:gd name="T60" fmla="*/ 4 w 50"/>
                    <a:gd name="T61" fmla="*/ 7 h 27"/>
                    <a:gd name="T62" fmla="*/ 2 w 50"/>
                    <a:gd name="T63" fmla="*/ 8 h 27"/>
                    <a:gd name="T64" fmla="*/ 1 w 50"/>
                    <a:gd name="T65" fmla="*/ 10 h 27"/>
                    <a:gd name="T66" fmla="*/ 1 w 50"/>
                    <a:gd name="T67" fmla="*/ 12 h 27"/>
                    <a:gd name="T68" fmla="*/ 0 w 50"/>
                    <a:gd name="T69" fmla="*/ 11 h 27"/>
                    <a:gd name="T70" fmla="*/ 0 w 50"/>
                    <a:gd name="T71" fmla="*/ 11 h 27"/>
                    <a:gd name="T72" fmla="*/ 0 w 50"/>
                    <a:gd name="T73" fmla="*/ 11 h 27"/>
                    <a:gd name="T74" fmla="*/ 1 w 50"/>
                    <a:gd name="T75" fmla="*/ 12 h 27"/>
                    <a:gd name="T76" fmla="*/ 1 w 50"/>
                    <a:gd name="T77" fmla="*/ 12 h 27"/>
                    <a:gd name="T78" fmla="*/ 1 w 50"/>
                    <a:gd name="T79" fmla="*/ 12 h 27"/>
                    <a:gd name="T80" fmla="*/ 1 w 50"/>
                    <a:gd name="T81" fmla="*/ 12 h 27"/>
                    <a:gd name="T82" fmla="*/ 1 w 50"/>
                    <a:gd name="T83" fmla="*/ 12 h 27"/>
                    <a:gd name="T84" fmla="*/ 1 w 50"/>
                    <a:gd name="T85" fmla="*/ 10 h 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 h="27">
                      <a:moveTo>
                        <a:pt x="2" y="23"/>
                      </a:moveTo>
                      <a:lnTo>
                        <a:pt x="3" y="26"/>
                      </a:lnTo>
                      <a:lnTo>
                        <a:pt x="4" y="24"/>
                      </a:lnTo>
                      <a:lnTo>
                        <a:pt x="5" y="23"/>
                      </a:lnTo>
                      <a:lnTo>
                        <a:pt x="6" y="21"/>
                      </a:lnTo>
                      <a:lnTo>
                        <a:pt x="7" y="20"/>
                      </a:lnTo>
                      <a:lnTo>
                        <a:pt x="9" y="19"/>
                      </a:lnTo>
                      <a:lnTo>
                        <a:pt x="10" y="18"/>
                      </a:lnTo>
                      <a:lnTo>
                        <a:pt x="12" y="18"/>
                      </a:lnTo>
                      <a:lnTo>
                        <a:pt x="13" y="18"/>
                      </a:lnTo>
                      <a:lnTo>
                        <a:pt x="15" y="17"/>
                      </a:lnTo>
                      <a:lnTo>
                        <a:pt x="16" y="17"/>
                      </a:lnTo>
                      <a:lnTo>
                        <a:pt x="18" y="17"/>
                      </a:lnTo>
                      <a:lnTo>
                        <a:pt x="20" y="17"/>
                      </a:lnTo>
                      <a:lnTo>
                        <a:pt x="21" y="17"/>
                      </a:lnTo>
                      <a:lnTo>
                        <a:pt x="23" y="18"/>
                      </a:lnTo>
                      <a:lnTo>
                        <a:pt x="25" y="18"/>
                      </a:lnTo>
                      <a:lnTo>
                        <a:pt x="26" y="18"/>
                      </a:lnTo>
                      <a:lnTo>
                        <a:pt x="28" y="18"/>
                      </a:lnTo>
                      <a:lnTo>
                        <a:pt x="30" y="18"/>
                      </a:lnTo>
                      <a:lnTo>
                        <a:pt x="32" y="18"/>
                      </a:lnTo>
                      <a:lnTo>
                        <a:pt x="33" y="18"/>
                      </a:lnTo>
                      <a:lnTo>
                        <a:pt x="35" y="18"/>
                      </a:lnTo>
                      <a:lnTo>
                        <a:pt x="37" y="18"/>
                      </a:lnTo>
                      <a:lnTo>
                        <a:pt x="38" y="17"/>
                      </a:lnTo>
                      <a:lnTo>
                        <a:pt x="40" y="17"/>
                      </a:lnTo>
                      <a:lnTo>
                        <a:pt x="42" y="15"/>
                      </a:lnTo>
                      <a:lnTo>
                        <a:pt x="44" y="15"/>
                      </a:lnTo>
                      <a:lnTo>
                        <a:pt x="45" y="13"/>
                      </a:lnTo>
                      <a:lnTo>
                        <a:pt x="46" y="11"/>
                      </a:lnTo>
                      <a:lnTo>
                        <a:pt x="47" y="9"/>
                      </a:lnTo>
                      <a:lnTo>
                        <a:pt x="49" y="7"/>
                      </a:lnTo>
                      <a:lnTo>
                        <a:pt x="50" y="5"/>
                      </a:lnTo>
                      <a:lnTo>
                        <a:pt x="50" y="1"/>
                      </a:lnTo>
                      <a:lnTo>
                        <a:pt x="48" y="0"/>
                      </a:lnTo>
                      <a:lnTo>
                        <a:pt x="47" y="3"/>
                      </a:lnTo>
                      <a:lnTo>
                        <a:pt x="46" y="5"/>
                      </a:lnTo>
                      <a:lnTo>
                        <a:pt x="45" y="7"/>
                      </a:lnTo>
                      <a:lnTo>
                        <a:pt x="44" y="9"/>
                      </a:lnTo>
                      <a:lnTo>
                        <a:pt x="43" y="10"/>
                      </a:lnTo>
                      <a:lnTo>
                        <a:pt x="42" y="11"/>
                      </a:lnTo>
                      <a:lnTo>
                        <a:pt x="40" y="12"/>
                      </a:lnTo>
                      <a:lnTo>
                        <a:pt x="39" y="13"/>
                      </a:lnTo>
                      <a:lnTo>
                        <a:pt x="38" y="13"/>
                      </a:lnTo>
                      <a:lnTo>
                        <a:pt x="36" y="14"/>
                      </a:lnTo>
                      <a:lnTo>
                        <a:pt x="35" y="14"/>
                      </a:lnTo>
                      <a:lnTo>
                        <a:pt x="33" y="15"/>
                      </a:lnTo>
                      <a:lnTo>
                        <a:pt x="32" y="15"/>
                      </a:lnTo>
                      <a:lnTo>
                        <a:pt x="30" y="15"/>
                      </a:lnTo>
                      <a:lnTo>
                        <a:pt x="28" y="14"/>
                      </a:lnTo>
                      <a:lnTo>
                        <a:pt x="27" y="14"/>
                      </a:lnTo>
                      <a:lnTo>
                        <a:pt x="25" y="13"/>
                      </a:lnTo>
                      <a:lnTo>
                        <a:pt x="23" y="13"/>
                      </a:lnTo>
                      <a:lnTo>
                        <a:pt x="22" y="13"/>
                      </a:lnTo>
                      <a:lnTo>
                        <a:pt x="20" y="13"/>
                      </a:lnTo>
                      <a:lnTo>
                        <a:pt x="18" y="13"/>
                      </a:lnTo>
                      <a:lnTo>
                        <a:pt x="16" y="13"/>
                      </a:lnTo>
                      <a:lnTo>
                        <a:pt x="15" y="13"/>
                      </a:lnTo>
                      <a:lnTo>
                        <a:pt x="12" y="13"/>
                      </a:lnTo>
                      <a:lnTo>
                        <a:pt x="11" y="14"/>
                      </a:lnTo>
                      <a:lnTo>
                        <a:pt x="9" y="15"/>
                      </a:lnTo>
                      <a:lnTo>
                        <a:pt x="7" y="15"/>
                      </a:lnTo>
                      <a:lnTo>
                        <a:pt x="6" y="17"/>
                      </a:lnTo>
                      <a:lnTo>
                        <a:pt x="4" y="18"/>
                      </a:lnTo>
                      <a:lnTo>
                        <a:pt x="3" y="20"/>
                      </a:lnTo>
                      <a:lnTo>
                        <a:pt x="1" y="22"/>
                      </a:lnTo>
                      <a:lnTo>
                        <a:pt x="0" y="24"/>
                      </a:lnTo>
                      <a:lnTo>
                        <a:pt x="1" y="27"/>
                      </a:lnTo>
                      <a:lnTo>
                        <a:pt x="0" y="24"/>
                      </a:lnTo>
                      <a:lnTo>
                        <a:pt x="0" y="25"/>
                      </a:lnTo>
                      <a:lnTo>
                        <a:pt x="0" y="26"/>
                      </a:lnTo>
                      <a:lnTo>
                        <a:pt x="0" y="27"/>
                      </a:lnTo>
                      <a:lnTo>
                        <a:pt x="1" y="27"/>
                      </a:lnTo>
                      <a:lnTo>
                        <a:pt x="2" y="27"/>
                      </a:lnTo>
                      <a:lnTo>
                        <a:pt x="3" y="27"/>
                      </a:lnTo>
                      <a:lnTo>
                        <a:pt x="3" y="26"/>
                      </a:lnTo>
                      <a:lnTo>
                        <a:pt x="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4" name="Freeform 936">
                  <a:extLst>
                    <a:ext uri="{FF2B5EF4-FFF2-40B4-BE49-F238E27FC236}">
                      <a16:creationId xmlns:a16="http://schemas.microsoft.com/office/drawing/2014/main" id="{4D3D41B2-FB93-FFCE-6F83-12A28BEF85A2}"/>
                    </a:ext>
                  </a:extLst>
                </p:cNvPr>
                <p:cNvSpPr>
                  <a:spLocks/>
                </p:cNvSpPr>
                <p:nvPr/>
              </p:nvSpPr>
              <p:spPr bwMode="auto">
                <a:xfrm>
                  <a:off x="1121" y="1643"/>
                  <a:ext cx="15" cy="15"/>
                </a:xfrm>
                <a:custGeom>
                  <a:avLst/>
                  <a:gdLst>
                    <a:gd name="T0" fmla="*/ 10 w 22"/>
                    <a:gd name="T1" fmla="*/ 9 h 20"/>
                    <a:gd name="T2" fmla="*/ 10 w 22"/>
                    <a:gd name="T3" fmla="*/ 9 h 20"/>
                    <a:gd name="T4" fmla="*/ 1 w 22"/>
                    <a:gd name="T5" fmla="*/ 0 h 20"/>
                    <a:gd name="T6" fmla="*/ 0 w 22"/>
                    <a:gd name="T7" fmla="*/ 2 h 20"/>
                    <a:gd name="T8" fmla="*/ 10 w 22"/>
                    <a:gd name="T9" fmla="*/ 11 h 20"/>
                    <a:gd name="T10" fmla="*/ 10 w 22"/>
                    <a:gd name="T11" fmla="*/ 11 h 20"/>
                    <a:gd name="T12" fmla="*/ 10 w 22"/>
                    <a:gd name="T13" fmla="*/ 11 h 20"/>
                    <a:gd name="T14" fmla="*/ 10 w 22"/>
                    <a:gd name="T15" fmla="*/ 11 h 20"/>
                    <a:gd name="T16" fmla="*/ 10 w 22"/>
                    <a:gd name="T17" fmla="*/ 11 h 20"/>
                    <a:gd name="T18" fmla="*/ 10 w 22"/>
                    <a:gd name="T19" fmla="*/ 11 h 20"/>
                    <a:gd name="T20" fmla="*/ 10 w 22"/>
                    <a:gd name="T21" fmla="*/ 11 h 20"/>
                    <a:gd name="T22" fmla="*/ 10 w 22"/>
                    <a:gd name="T23" fmla="*/ 11 h 20"/>
                    <a:gd name="T24" fmla="*/ 10 w 22"/>
                    <a:gd name="T25" fmla="*/ 11 h 20"/>
                    <a:gd name="T26" fmla="*/ 10 w 22"/>
                    <a:gd name="T27" fmla="*/ 11 h 20"/>
                    <a:gd name="T28" fmla="*/ 10 w 22"/>
                    <a:gd name="T29" fmla="*/ 11 h 20"/>
                    <a:gd name="T30" fmla="*/ 10 w 22"/>
                    <a:gd name="T31" fmla="*/ 11 h 20"/>
                    <a:gd name="T32" fmla="*/ 10 w 22"/>
                    <a:gd name="T33" fmla="*/ 11 h 20"/>
                    <a:gd name="T34" fmla="*/ 10 w 22"/>
                    <a:gd name="T35" fmla="*/ 11 h 20"/>
                    <a:gd name="T36" fmla="*/ 10 w 22"/>
                    <a:gd name="T37" fmla="*/ 11 h 20"/>
                    <a:gd name="T38" fmla="*/ 10 w 22"/>
                    <a:gd name="T39" fmla="*/ 10 h 20"/>
                    <a:gd name="T40" fmla="*/ 10 w 22"/>
                    <a:gd name="T41" fmla="*/ 10 h 20"/>
                    <a:gd name="T42" fmla="*/ 10 w 22"/>
                    <a:gd name="T43" fmla="*/ 9 h 20"/>
                    <a:gd name="T44" fmla="*/ 10 w 22"/>
                    <a:gd name="T45" fmla="*/ 9 h 20"/>
                    <a:gd name="T46" fmla="*/ 10 w 22"/>
                    <a:gd name="T47" fmla="*/ 9 h 20"/>
                    <a:gd name="T48" fmla="*/ 10 w 22"/>
                    <a:gd name="T49" fmla="*/ 9 h 2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2" h="20">
                      <a:moveTo>
                        <a:pt x="21" y="16"/>
                      </a:moveTo>
                      <a:lnTo>
                        <a:pt x="22" y="16"/>
                      </a:lnTo>
                      <a:lnTo>
                        <a:pt x="2" y="0"/>
                      </a:lnTo>
                      <a:lnTo>
                        <a:pt x="0" y="4"/>
                      </a:lnTo>
                      <a:lnTo>
                        <a:pt x="20" y="19"/>
                      </a:lnTo>
                      <a:lnTo>
                        <a:pt x="21" y="19"/>
                      </a:lnTo>
                      <a:lnTo>
                        <a:pt x="20" y="19"/>
                      </a:lnTo>
                      <a:lnTo>
                        <a:pt x="21" y="19"/>
                      </a:lnTo>
                      <a:lnTo>
                        <a:pt x="21" y="20"/>
                      </a:lnTo>
                      <a:lnTo>
                        <a:pt x="21" y="19"/>
                      </a:lnTo>
                      <a:lnTo>
                        <a:pt x="22" y="19"/>
                      </a:lnTo>
                      <a:lnTo>
                        <a:pt x="22" y="18"/>
                      </a:lnTo>
                      <a:lnTo>
                        <a:pt x="22" y="17"/>
                      </a:lnTo>
                      <a:lnTo>
                        <a:pt x="22" y="16"/>
                      </a:lnTo>
                      <a:lnTo>
                        <a:pt x="2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5" name="Freeform 937">
                  <a:extLst>
                    <a:ext uri="{FF2B5EF4-FFF2-40B4-BE49-F238E27FC236}">
                      <a16:creationId xmlns:a16="http://schemas.microsoft.com/office/drawing/2014/main" id="{F8507DEE-1D91-E819-A55C-8FEC10257DCF}"/>
                    </a:ext>
                  </a:extLst>
                </p:cNvPr>
                <p:cNvSpPr>
                  <a:spLocks/>
                </p:cNvSpPr>
                <p:nvPr/>
              </p:nvSpPr>
              <p:spPr bwMode="auto">
                <a:xfrm>
                  <a:off x="1115" y="1655"/>
                  <a:ext cx="37" cy="26"/>
                </a:xfrm>
                <a:custGeom>
                  <a:avLst/>
                  <a:gdLst>
                    <a:gd name="T0" fmla="*/ 1 w 53"/>
                    <a:gd name="T1" fmla="*/ 19 h 36"/>
                    <a:gd name="T2" fmla="*/ 2 w 53"/>
                    <a:gd name="T3" fmla="*/ 19 h 36"/>
                    <a:gd name="T4" fmla="*/ 5 w 53"/>
                    <a:gd name="T5" fmla="*/ 19 h 36"/>
                    <a:gd name="T6" fmla="*/ 7 w 53"/>
                    <a:gd name="T7" fmla="*/ 18 h 36"/>
                    <a:gd name="T8" fmla="*/ 10 w 53"/>
                    <a:gd name="T9" fmla="*/ 18 h 36"/>
                    <a:gd name="T10" fmla="*/ 13 w 53"/>
                    <a:gd name="T11" fmla="*/ 18 h 36"/>
                    <a:gd name="T12" fmla="*/ 16 w 53"/>
                    <a:gd name="T13" fmla="*/ 17 h 36"/>
                    <a:gd name="T14" fmla="*/ 19 w 53"/>
                    <a:gd name="T15" fmla="*/ 16 h 36"/>
                    <a:gd name="T16" fmla="*/ 21 w 53"/>
                    <a:gd name="T17" fmla="*/ 15 h 36"/>
                    <a:gd name="T18" fmla="*/ 24 w 53"/>
                    <a:gd name="T19" fmla="*/ 14 h 36"/>
                    <a:gd name="T20" fmla="*/ 25 w 53"/>
                    <a:gd name="T21" fmla="*/ 12 h 36"/>
                    <a:gd name="T22" fmla="*/ 26 w 53"/>
                    <a:gd name="T23" fmla="*/ 10 h 36"/>
                    <a:gd name="T24" fmla="*/ 25 w 53"/>
                    <a:gd name="T25" fmla="*/ 8 h 36"/>
                    <a:gd name="T26" fmla="*/ 24 w 53"/>
                    <a:gd name="T27" fmla="*/ 6 h 36"/>
                    <a:gd name="T28" fmla="*/ 22 w 53"/>
                    <a:gd name="T29" fmla="*/ 4 h 36"/>
                    <a:gd name="T30" fmla="*/ 17 w 53"/>
                    <a:gd name="T31" fmla="*/ 1 h 36"/>
                    <a:gd name="T32" fmla="*/ 15 w 53"/>
                    <a:gd name="T33" fmla="*/ 1 h 36"/>
                    <a:gd name="T34" fmla="*/ 19 w 53"/>
                    <a:gd name="T35" fmla="*/ 4 h 36"/>
                    <a:gd name="T36" fmla="*/ 22 w 53"/>
                    <a:gd name="T37" fmla="*/ 7 h 36"/>
                    <a:gd name="T38" fmla="*/ 24 w 53"/>
                    <a:gd name="T39" fmla="*/ 9 h 36"/>
                    <a:gd name="T40" fmla="*/ 24 w 53"/>
                    <a:gd name="T41" fmla="*/ 9 h 36"/>
                    <a:gd name="T42" fmla="*/ 24 w 53"/>
                    <a:gd name="T43" fmla="*/ 10 h 36"/>
                    <a:gd name="T44" fmla="*/ 24 w 53"/>
                    <a:gd name="T45" fmla="*/ 12 h 36"/>
                    <a:gd name="T46" fmla="*/ 22 w 53"/>
                    <a:gd name="T47" fmla="*/ 12 h 36"/>
                    <a:gd name="T48" fmla="*/ 20 w 53"/>
                    <a:gd name="T49" fmla="*/ 14 h 36"/>
                    <a:gd name="T50" fmla="*/ 17 w 53"/>
                    <a:gd name="T51" fmla="*/ 14 h 36"/>
                    <a:gd name="T52" fmla="*/ 14 w 53"/>
                    <a:gd name="T53" fmla="*/ 15 h 36"/>
                    <a:gd name="T54" fmla="*/ 11 w 53"/>
                    <a:gd name="T55" fmla="*/ 16 h 36"/>
                    <a:gd name="T56" fmla="*/ 8 w 53"/>
                    <a:gd name="T57" fmla="*/ 16 h 36"/>
                    <a:gd name="T58" fmla="*/ 6 w 53"/>
                    <a:gd name="T59" fmla="*/ 16 h 36"/>
                    <a:gd name="T60" fmla="*/ 3 w 53"/>
                    <a:gd name="T61" fmla="*/ 17 h 36"/>
                    <a:gd name="T62" fmla="*/ 2 w 53"/>
                    <a:gd name="T63" fmla="*/ 17 h 36"/>
                    <a:gd name="T64" fmla="*/ 1 w 53"/>
                    <a:gd name="T65" fmla="*/ 17 h 36"/>
                    <a:gd name="T66" fmla="*/ 1 w 53"/>
                    <a:gd name="T67" fmla="*/ 17 h 36"/>
                    <a:gd name="T68" fmla="*/ 1 w 53"/>
                    <a:gd name="T69" fmla="*/ 17 h 36"/>
                    <a:gd name="T70" fmla="*/ 0 w 53"/>
                    <a:gd name="T71" fmla="*/ 18 h 36"/>
                    <a:gd name="T72" fmla="*/ 0 w 53"/>
                    <a:gd name="T73" fmla="*/ 18 h 36"/>
                    <a:gd name="T74" fmla="*/ 0 w 53"/>
                    <a:gd name="T75" fmla="*/ 18 h 36"/>
                    <a:gd name="T76" fmla="*/ 0 w 53"/>
                    <a:gd name="T77" fmla="*/ 19 h 36"/>
                    <a:gd name="T78" fmla="*/ 1 w 53"/>
                    <a:gd name="T79" fmla="*/ 19 h 36"/>
                    <a:gd name="T80" fmla="*/ 1 w 53"/>
                    <a:gd name="T81" fmla="*/ 19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3" h="36">
                      <a:moveTo>
                        <a:pt x="1" y="36"/>
                      </a:moveTo>
                      <a:lnTo>
                        <a:pt x="2" y="36"/>
                      </a:lnTo>
                      <a:lnTo>
                        <a:pt x="4" y="36"/>
                      </a:lnTo>
                      <a:lnTo>
                        <a:pt x="5" y="36"/>
                      </a:lnTo>
                      <a:lnTo>
                        <a:pt x="7" y="36"/>
                      </a:lnTo>
                      <a:lnTo>
                        <a:pt x="10" y="36"/>
                      </a:lnTo>
                      <a:lnTo>
                        <a:pt x="12" y="35"/>
                      </a:lnTo>
                      <a:lnTo>
                        <a:pt x="15" y="35"/>
                      </a:lnTo>
                      <a:lnTo>
                        <a:pt x="17" y="35"/>
                      </a:lnTo>
                      <a:lnTo>
                        <a:pt x="20" y="35"/>
                      </a:lnTo>
                      <a:lnTo>
                        <a:pt x="23" y="34"/>
                      </a:lnTo>
                      <a:lnTo>
                        <a:pt x="26" y="34"/>
                      </a:lnTo>
                      <a:lnTo>
                        <a:pt x="30" y="33"/>
                      </a:lnTo>
                      <a:lnTo>
                        <a:pt x="33" y="32"/>
                      </a:lnTo>
                      <a:lnTo>
                        <a:pt x="36" y="31"/>
                      </a:lnTo>
                      <a:lnTo>
                        <a:pt x="38" y="30"/>
                      </a:lnTo>
                      <a:lnTo>
                        <a:pt x="41" y="30"/>
                      </a:lnTo>
                      <a:lnTo>
                        <a:pt x="43" y="29"/>
                      </a:lnTo>
                      <a:lnTo>
                        <a:pt x="46" y="27"/>
                      </a:lnTo>
                      <a:lnTo>
                        <a:pt x="48" y="27"/>
                      </a:lnTo>
                      <a:lnTo>
                        <a:pt x="50" y="25"/>
                      </a:lnTo>
                      <a:lnTo>
                        <a:pt x="51" y="23"/>
                      </a:lnTo>
                      <a:lnTo>
                        <a:pt x="52" y="22"/>
                      </a:lnTo>
                      <a:lnTo>
                        <a:pt x="53" y="20"/>
                      </a:lnTo>
                      <a:lnTo>
                        <a:pt x="53" y="17"/>
                      </a:lnTo>
                      <a:lnTo>
                        <a:pt x="52" y="15"/>
                      </a:lnTo>
                      <a:lnTo>
                        <a:pt x="51" y="13"/>
                      </a:lnTo>
                      <a:lnTo>
                        <a:pt x="49" y="11"/>
                      </a:lnTo>
                      <a:lnTo>
                        <a:pt x="47" y="9"/>
                      </a:lnTo>
                      <a:lnTo>
                        <a:pt x="44" y="7"/>
                      </a:lnTo>
                      <a:lnTo>
                        <a:pt x="40" y="5"/>
                      </a:lnTo>
                      <a:lnTo>
                        <a:pt x="36" y="2"/>
                      </a:lnTo>
                      <a:lnTo>
                        <a:pt x="30" y="0"/>
                      </a:lnTo>
                      <a:lnTo>
                        <a:pt x="30" y="3"/>
                      </a:lnTo>
                      <a:lnTo>
                        <a:pt x="35" y="6"/>
                      </a:lnTo>
                      <a:lnTo>
                        <a:pt x="39" y="8"/>
                      </a:lnTo>
                      <a:lnTo>
                        <a:pt x="43" y="11"/>
                      </a:lnTo>
                      <a:lnTo>
                        <a:pt x="45" y="13"/>
                      </a:lnTo>
                      <a:lnTo>
                        <a:pt x="47" y="14"/>
                      </a:lnTo>
                      <a:lnTo>
                        <a:pt x="49" y="16"/>
                      </a:lnTo>
                      <a:lnTo>
                        <a:pt x="49" y="17"/>
                      </a:lnTo>
                      <a:lnTo>
                        <a:pt x="50" y="18"/>
                      </a:lnTo>
                      <a:lnTo>
                        <a:pt x="50" y="19"/>
                      </a:lnTo>
                      <a:lnTo>
                        <a:pt x="49" y="20"/>
                      </a:lnTo>
                      <a:lnTo>
                        <a:pt x="49" y="21"/>
                      </a:lnTo>
                      <a:lnTo>
                        <a:pt x="48" y="22"/>
                      </a:lnTo>
                      <a:lnTo>
                        <a:pt x="47" y="23"/>
                      </a:lnTo>
                      <a:lnTo>
                        <a:pt x="45" y="24"/>
                      </a:lnTo>
                      <a:lnTo>
                        <a:pt x="43" y="25"/>
                      </a:lnTo>
                      <a:lnTo>
                        <a:pt x="40" y="26"/>
                      </a:lnTo>
                      <a:lnTo>
                        <a:pt x="38" y="27"/>
                      </a:lnTo>
                      <a:lnTo>
                        <a:pt x="35" y="27"/>
                      </a:lnTo>
                      <a:lnTo>
                        <a:pt x="32" y="28"/>
                      </a:lnTo>
                      <a:lnTo>
                        <a:pt x="29" y="29"/>
                      </a:lnTo>
                      <a:lnTo>
                        <a:pt x="26" y="29"/>
                      </a:lnTo>
                      <a:lnTo>
                        <a:pt x="23" y="30"/>
                      </a:lnTo>
                      <a:lnTo>
                        <a:pt x="20" y="30"/>
                      </a:lnTo>
                      <a:lnTo>
                        <a:pt x="17" y="31"/>
                      </a:lnTo>
                      <a:lnTo>
                        <a:pt x="14" y="31"/>
                      </a:lnTo>
                      <a:lnTo>
                        <a:pt x="11" y="31"/>
                      </a:lnTo>
                      <a:lnTo>
                        <a:pt x="9" y="32"/>
                      </a:lnTo>
                      <a:lnTo>
                        <a:pt x="7" y="32"/>
                      </a:lnTo>
                      <a:lnTo>
                        <a:pt x="5" y="32"/>
                      </a:lnTo>
                      <a:lnTo>
                        <a:pt x="4" y="32"/>
                      </a:lnTo>
                      <a:lnTo>
                        <a:pt x="2" y="32"/>
                      </a:lnTo>
                      <a:lnTo>
                        <a:pt x="1" y="32"/>
                      </a:lnTo>
                      <a:lnTo>
                        <a:pt x="1" y="33"/>
                      </a:lnTo>
                      <a:lnTo>
                        <a:pt x="0" y="33"/>
                      </a:lnTo>
                      <a:lnTo>
                        <a:pt x="0" y="34"/>
                      </a:lnTo>
                      <a:lnTo>
                        <a:pt x="0" y="35"/>
                      </a:lnTo>
                      <a:lnTo>
                        <a:pt x="0" y="36"/>
                      </a:lnTo>
                      <a:lnTo>
                        <a:pt x="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6" name="Freeform 938">
                  <a:extLst>
                    <a:ext uri="{FF2B5EF4-FFF2-40B4-BE49-F238E27FC236}">
                      <a16:creationId xmlns:a16="http://schemas.microsoft.com/office/drawing/2014/main" id="{F32745F7-AB15-E27E-803A-9F8E632DF303}"/>
                    </a:ext>
                  </a:extLst>
                </p:cNvPr>
                <p:cNvSpPr>
                  <a:spLocks/>
                </p:cNvSpPr>
                <p:nvPr/>
              </p:nvSpPr>
              <p:spPr bwMode="auto">
                <a:xfrm>
                  <a:off x="1110" y="1678"/>
                  <a:ext cx="32" cy="29"/>
                </a:xfrm>
                <a:custGeom>
                  <a:avLst/>
                  <a:gdLst>
                    <a:gd name="T0" fmla="*/ 21 w 47"/>
                    <a:gd name="T1" fmla="*/ 20 h 40"/>
                    <a:gd name="T2" fmla="*/ 21 w 47"/>
                    <a:gd name="T3" fmla="*/ 17 h 40"/>
                    <a:gd name="T4" fmla="*/ 20 w 47"/>
                    <a:gd name="T5" fmla="*/ 15 h 40"/>
                    <a:gd name="T6" fmla="*/ 20 w 47"/>
                    <a:gd name="T7" fmla="*/ 12 h 40"/>
                    <a:gd name="T8" fmla="*/ 18 w 47"/>
                    <a:gd name="T9" fmla="*/ 10 h 40"/>
                    <a:gd name="T10" fmla="*/ 15 w 47"/>
                    <a:gd name="T11" fmla="*/ 9 h 40"/>
                    <a:gd name="T12" fmla="*/ 13 w 47"/>
                    <a:gd name="T13" fmla="*/ 7 h 40"/>
                    <a:gd name="T14" fmla="*/ 11 w 47"/>
                    <a:gd name="T15" fmla="*/ 6 h 40"/>
                    <a:gd name="T16" fmla="*/ 8 w 47"/>
                    <a:gd name="T17" fmla="*/ 4 h 40"/>
                    <a:gd name="T18" fmla="*/ 6 w 47"/>
                    <a:gd name="T19" fmla="*/ 3 h 40"/>
                    <a:gd name="T20" fmla="*/ 4 w 47"/>
                    <a:gd name="T21" fmla="*/ 2 h 40"/>
                    <a:gd name="T22" fmla="*/ 3 w 47"/>
                    <a:gd name="T23" fmla="*/ 1 h 40"/>
                    <a:gd name="T24" fmla="*/ 1 w 47"/>
                    <a:gd name="T25" fmla="*/ 1 h 40"/>
                    <a:gd name="T26" fmla="*/ 1 w 47"/>
                    <a:gd name="T27" fmla="*/ 2 h 40"/>
                    <a:gd name="T28" fmla="*/ 1 w 47"/>
                    <a:gd name="T29" fmla="*/ 2 h 40"/>
                    <a:gd name="T30" fmla="*/ 3 w 47"/>
                    <a:gd name="T31" fmla="*/ 2 h 40"/>
                    <a:gd name="T32" fmla="*/ 3 w 47"/>
                    <a:gd name="T33" fmla="*/ 0 h 40"/>
                    <a:gd name="T34" fmla="*/ 2 w 47"/>
                    <a:gd name="T35" fmla="*/ 0 h 40"/>
                    <a:gd name="T36" fmla="*/ 1 w 47"/>
                    <a:gd name="T37" fmla="*/ 1 h 40"/>
                    <a:gd name="T38" fmla="*/ 0 w 47"/>
                    <a:gd name="T39" fmla="*/ 2 h 40"/>
                    <a:gd name="T40" fmla="*/ 1 w 47"/>
                    <a:gd name="T41" fmla="*/ 3 h 40"/>
                    <a:gd name="T42" fmla="*/ 2 w 47"/>
                    <a:gd name="T43" fmla="*/ 4 h 40"/>
                    <a:gd name="T44" fmla="*/ 3 w 47"/>
                    <a:gd name="T45" fmla="*/ 5 h 40"/>
                    <a:gd name="T46" fmla="*/ 5 w 47"/>
                    <a:gd name="T47" fmla="*/ 5 h 40"/>
                    <a:gd name="T48" fmla="*/ 8 w 47"/>
                    <a:gd name="T49" fmla="*/ 7 h 40"/>
                    <a:gd name="T50" fmla="*/ 10 w 47"/>
                    <a:gd name="T51" fmla="*/ 7 h 40"/>
                    <a:gd name="T52" fmla="*/ 12 w 47"/>
                    <a:gd name="T53" fmla="*/ 9 h 40"/>
                    <a:gd name="T54" fmla="*/ 15 w 47"/>
                    <a:gd name="T55" fmla="*/ 11 h 40"/>
                    <a:gd name="T56" fmla="*/ 17 w 47"/>
                    <a:gd name="T57" fmla="*/ 12 h 40"/>
                    <a:gd name="T58" fmla="*/ 18 w 47"/>
                    <a:gd name="T59" fmla="*/ 14 h 40"/>
                    <a:gd name="T60" fmla="*/ 20 w 47"/>
                    <a:gd name="T61" fmla="*/ 16 h 40"/>
                    <a:gd name="T62" fmla="*/ 20 w 47"/>
                    <a:gd name="T63" fmla="*/ 17 h 40"/>
                    <a:gd name="T64" fmla="*/ 20 w 47"/>
                    <a:gd name="T65" fmla="*/ 20 h 40"/>
                    <a:gd name="T66" fmla="*/ 20 w 47"/>
                    <a:gd name="T67" fmla="*/ 20 h 40"/>
                    <a:gd name="T68" fmla="*/ 20 w 47"/>
                    <a:gd name="T69" fmla="*/ 20 h 40"/>
                    <a:gd name="T70" fmla="*/ 20 w 47"/>
                    <a:gd name="T71" fmla="*/ 20 h 40"/>
                    <a:gd name="T72" fmla="*/ 20 w 47"/>
                    <a:gd name="T73" fmla="*/ 20 h 40"/>
                    <a:gd name="T74" fmla="*/ 20 w 47"/>
                    <a:gd name="T75" fmla="*/ 20 h 40"/>
                    <a:gd name="T76" fmla="*/ 20 w 47"/>
                    <a:gd name="T77" fmla="*/ 21 h 40"/>
                    <a:gd name="T78" fmla="*/ 21 w 47"/>
                    <a:gd name="T79" fmla="*/ 20 h 40"/>
                    <a:gd name="T80" fmla="*/ 21 w 47"/>
                    <a:gd name="T81" fmla="*/ 20 h 40"/>
                    <a:gd name="T82" fmla="*/ 21 w 47"/>
                    <a:gd name="T83" fmla="*/ 20 h 40"/>
                    <a:gd name="T84" fmla="*/ 21 w 47"/>
                    <a:gd name="T85" fmla="*/ 20 h 40"/>
                    <a:gd name="T86" fmla="*/ 21 w 47"/>
                    <a:gd name="T87" fmla="*/ 20 h 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 h="40">
                      <a:moveTo>
                        <a:pt x="46" y="38"/>
                      </a:moveTo>
                      <a:lnTo>
                        <a:pt x="46" y="38"/>
                      </a:lnTo>
                      <a:lnTo>
                        <a:pt x="47" y="35"/>
                      </a:lnTo>
                      <a:lnTo>
                        <a:pt x="46" y="33"/>
                      </a:lnTo>
                      <a:lnTo>
                        <a:pt x="45" y="30"/>
                      </a:lnTo>
                      <a:lnTo>
                        <a:pt x="44" y="27"/>
                      </a:lnTo>
                      <a:lnTo>
                        <a:pt x="43" y="25"/>
                      </a:lnTo>
                      <a:lnTo>
                        <a:pt x="42" y="23"/>
                      </a:lnTo>
                      <a:lnTo>
                        <a:pt x="40" y="21"/>
                      </a:lnTo>
                      <a:lnTo>
                        <a:pt x="38" y="19"/>
                      </a:lnTo>
                      <a:lnTo>
                        <a:pt x="35" y="18"/>
                      </a:lnTo>
                      <a:lnTo>
                        <a:pt x="33" y="16"/>
                      </a:lnTo>
                      <a:lnTo>
                        <a:pt x="31" y="15"/>
                      </a:lnTo>
                      <a:lnTo>
                        <a:pt x="28" y="13"/>
                      </a:lnTo>
                      <a:lnTo>
                        <a:pt x="26" y="12"/>
                      </a:lnTo>
                      <a:lnTo>
                        <a:pt x="23" y="11"/>
                      </a:lnTo>
                      <a:lnTo>
                        <a:pt x="20" y="9"/>
                      </a:lnTo>
                      <a:lnTo>
                        <a:pt x="18" y="8"/>
                      </a:lnTo>
                      <a:lnTo>
                        <a:pt x="15" y="7"/>
                      </a:lnTo>
                      <a:lnTo>
                        <a:pt x="13" y="6"/>
                      </a:lnTo>
                      <a:lnTo>
                        <a:pt x="11" y="5"/>
                      </a:lnTo>
                      <a:lnTo>
                        <a:pt x="9" y="4"/>
                      </a:lnTo>
                      <a:lnTo>
                        <a:pt x="7" y="4"/>
                      </a:lnTo>
                      <a:lnTo>
                        <a:pt x="6" y="3"/>
                      </a:lnTo>
                      <a:lnTo>
                        <a:pt x="4" y="3"/>
                      </a:lnTo>
                      <a:lnTo>
                        <a:pt x="3" y="2"/>
                      </a:lnTo>
                      <a:lnTo>
                        <a:pt x="3" y="4"/>
                      </a:lnTo>
                      <a:lnTo>
                        <a:pt x="2" y="4"/>
                      </a:lnTo>
                      <a:lnTo>
                        <a:pt x="3" y="4"/>
                      </a:lnTo>
                      <a:lnTo>
                        <a:pt x="4" y="4"/>
                      </a:lnTo>
                      <a:lnTo>
                        <a:pt x="6" y="4"/>
                      </a:lnTo>
                      <a:lnTo>
                        <a:pt x="8" y="4"/>
                      </a:lnTo>
                      <a:lnTo>
                        <a:pt x="8" y="0"/>
                      </a:lnTo>
                      <a:lnTo>
                        <a:pt x="6" y="0"/>
                      </a:lnTo>
                      <a:lnTo>
                        <a:pt x="4" y="0"/>
                      </a:lnTo>
                      <a:lnTo>
                        <a:pt x="3" y="0"/>
                      </a:lnTo>
                      <a:lnTo>
                        <a:pt x="1" y="1"/>
                      </a:lnTo>
                      <a:lnTo>
                        <a:pt x="0" y="1"/>
                      </a:lnTo>
                      <a:lnTo>
                        <a:pt x="0" y="4"/>
                      </a:lnTo>
                      <a:lnTo>
                        <a:pt x="1" y="5"/>
                      </a:lnTo>
                      <a:lnTo>
                        <a:pt x="2" y="6"/>
                      </a:lnTo>
                      <a:lnTo>
                        <a:pt x="3" y="6"/>
                      </a:lnTo>
                      <a:lnTo>
                        <a:pt x="5" y="7"/>
                      </a:lnTo>
                      <a:lnTo>
                        <a:pt x="6" y="7"/>
                      </a:lnTo>
                      <a:lnTo>
                        <a:pt x="8" y="9"/>
                      </a:lnTo>
                      <a:lnTo>
                        <a:pt x="10" y="9"/>
                      </a:lnTo>
                      <a:lnTo>
                        <a:pt x="12" y="10"/>
                      </a:lnTo>
                      <a:lnTo>
                        <a:pt x="14" y="11"/>
                      </a:lnTo>
                      <a:lnTo>
                        <a:pt x="17" y="12"/>
                      </a:lnTo>
                      <a:lnTo>
                        <a:pt x="19" y="13"/>
                      </a:lnTo>
                      <a:lnTo>
                        <a:pt x="22" y="14"/>
                      </a:lnTo>
                      <a:lnTo>
                        <a:pt x="24" y="15"/>
                      </a:lnTo>
                      <a:lnTo>
                        <a:pt x="27" y="17"/>
                      </a:lnTo>
                      <a:lnTo>
                        <a:pt x="30" y="18"/>
                      </a:lnTo>
                      <a:lnTo>
                        <a:pt x="32" y="20"/>
                      </a:lnTo>
                      <a:lnTo>
                        <a:pt x="34" y="21"/>
                      </a:lnTo>
                      <a:lnTo>
                        <a:pt x="36" y="22"/>
                      </a:lnTo>
                      <a:lnTo>
                        <a:pt x="38" y="25"/>
                      </a:lnTo>
                      <a:lnTo>
                        <a:pt x="39" y="26"/>
                      </a:lnTo>
                      <a:lnTo>
                        <a:pt x="41" y="28"/>
                      </a:lnTo>
                      <a:lnTo>
                        <a:pt x="42" y="30"/>
                      </a:lnTo>
                      <a:lnTo>
                        <a:pt x="43" y="32"/>
                      </a:lnTo>
                      <a:lnTo>
                        <a:pt x="43" y="33"/>
                      </a:lnTo>
                      <a:lnTo>
                        <a:pt x="43" y="36"/>
                      </a:lnTo>
                      <a:lnTo>
                        <a:pt x="43" y="38"/>
                      </a:lnTo>
                      <a:lnTo>
                        <a:pt x="43" y="37"/>
                      </a:lnTo>
                      <a:lnTo>
                        <a:pt x="43" y="38"/>
                      </a:lnTo>
                      <a:lnTo>
                        <a:pt x="43" y="39"/>
                      </a:lnTo>
                      <a:lnTo>
                        <a:pt x="44" y="39"/>
                      </a:lnTo>
                      <a:lnTo>
                        <a:pt x="44" y="40"/>
                      </a:lnTo>
                      <a:lnTo>
                        <a:pt x="45" y="39"/>
                      </a:lnTo>
                      <a:lnTo>
                        <a:pt x="46" y="39"/>
                      </a:lnTo>
                      <a:lnTo>
                        <a:pt x="46"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7" name="Freeform 939">
                  <a:extLst>
                    <a:ext uri="{FF2B5EF4-FFF2-40B4-BE49-F238E27FC236}">
                      <a16:creationId xmlns:a16="http://schemas.microsoft.com/office/drawing/2014/main" id="{BCEE7DF8-34ED-859E-C1D1-21048CC7279C}"/>
                    </a:ext>
                  </a:extLst>
                </p:cNvPr>
                <p:cNvSpPr>
                  <a:spLocks/>
                </p:cNvSpPr>
                <p:nvPr/>
              </p:nvSpPr>
              <p:spPr bwMode="auto">
                <a:xfrm>
                  <a:off x="1120" y="1705"/>
                  <a:ext cx="21" cy="86"/>
                </a:xfrm>
                <a:custGeom>
                  <a:avLst/>
                  <a:gdLst>
                    <a:gd name="T0" fmla="*/ 2 w 31"/>
                    <a:gd name="T1" fmla="*/ 61 h 121"/>
                    <a:gd name="T2" fmla="*/ 5 w 31"/>
                    <a:gd name="T3" fmla="*/ 60 h 121"/>
                    <a:gd name="T4" fmla="*/ 6 w 31"/>
                    <a:gd name="T5" fmla="*/ 58 h 121"/>
                    <a:gd name="T6" fmla="*/ 8 w 31"/>
                    <a:gd name="T7" fmla="*/ 55 h 121"/>
                    <a:gd name="T8" fmla="*/ 9 w 31"/>
                    <a:gd name="T9" fmla="*/ 53 h 121"/>
                    <a:gd name="T10" fmla="*/ 11 w 31"/>
                    <a:gd name="T11" fmla="*/ 49 h 121"/>
                    <a:gd name="T12" fmla="*/ 11 w 31"/>
                    <a:gd name="T13" fmla="*/ 45 h 121"/>
                    <a:gd name="T14" fmla="*/ 12 w 31"/>
                    <a:gd name="T15" fmla="*/ 41 h 121"/>
                    <a:gd name="T16" fmla="*/ 12 w 31"/>
                    <a:gd name="T17" fmla="*/ 36 h 121"/>
                    <a:gd name="T18" fmla="*/ 12 w 31"/>
                    <a:gd name="T19" fmla="*/ 31 h 121"/>
                    <a:gd name="T20" fmla="*/ 13 w 31"/>
                    <a:gd name="T21" fmla="*/ 26 h 121"/>
                    <a:gd name="T22" fmla="*/ 13 w 31"/>
                    <a:gd name="T23" fmla="*/ 21 h 121"/>
                    <a:gd name="T24" fmla="*/ 13 w 31"/>
                    <a:gd name="T25" fmla="*/ 16 h 121"/>
                    <a:gd name="T26" fmla="*/ 14 w 31"/>
                    <a:gd name="T27" fmla="*/ 11 h 121"/>
                    <a:gd name="T28" fmla="*/ 14 w 31"/>
                    <a:gd name="T29" fmla="*/ 6 h 121"/>
                    <a:gd name="T30" fmla="*/ 14 w 31"/>
                    <a:gd name="T31" fmla="*/ 2 h 121"/>
                    <a:gd name="T32" fmla="*/ 13 w 31"/>
                    <a:gd name="T33" fmla="*/ 0 h 121"/>
                    <a:gd name="T34" fmla="*/ 12 w 31"/>
                    <a:gd name="T35" fmla="*/ 4 h 121"/>
                    <a:gd name="T36" fmla="*/ 12 w 31"/>
                    <a:gd name="T37" fmla="*/ 9 h 121"/>
                    <a:gd name="T38" fmla="*/ 12 w 31"/>
                    <a:gd name="T39" fmla="*/ 13 h 121"/>
                    <a:gd name="T40" fmla="*/ 12 w 31"/>
                    <a:gd name="T41" fmla="*/ 18 h 121"/>
                    <a:gd name="T42" fmla="*/ 12 w 31"/>
                    <a:gd name="T43" fmla="*/ 23 h 121"/>
                    <a:gd name="T44" fmla="*/ 11 w 31"/>
                    <a:gd name="T45" fmla="*/ 28 h 121"/>
                    <a:gd name="T46" fmla="*/ 11 w 31"/>
                    <a:gd name="T47" fmla="*/ 33 h 121"/>
                    <a:gd name="T48" fmla="*/ 11 w 31"/>
                    <a:gd name="T49" fmla="*/ 38 h 121"/>
                    <a:gd name="T50" fmla="*/ 10 w 31"/>
                    <a:gd name="T51" fmla="*/ 42 h 121"/>
                    <a:gd name="T52" fmla="*/ 9 w 31"/>
                    <a:gd name="T53" fmla="*/ 46 h 121"/>
                    <a:gd name="T54" fmla="*/ 8 w 31"/>
                    <a:gd name="T55" fmla="*/ 50 h 121"/>
                    <a:gd name="T56" fmla="*/ 7 w 31"/>
                    <a:gd name="T57" fmla="*/ 53 h 121"/>
                    <a:gd name="T58" fmla="*/ 6 w 31"/>
                    <a:gd name="T59" fmla="*/ 55 h 121"/>
                    <a:gd name="T60" fmla="*/ 5 w 31"/>
                    <a:gd name="T61" fmla="*/ 58 h 121"/>
                    <a:gd name="T62" fmla="*/ 3 w 31"/>
                    <a:gd name="T63" fmla="*/ 58 h 121"/>
                    <a:gd name="T64" fmla="*/ 1 w 31"/>
                    <a:gd name="T65" fmla="*/ 59 h 121"/>
                    <a:gd name="T66" fmla="*/ 1 w 31"/>
                    <a:gd name="T67" fmla="*/ 59 h 121"/>
                    <a:gd name="T68" fmla="*/ 1 w 31"/>
                    <a:gd name="T69" fmla="*/ 59 h 121"/>
                    <a:gd name="T70" fmla="*/ 0 w 31"/>
                    <a:gd name="T71" fmla="*/ 59 h 121"/>
                    <a:gd name="T72" fmla="*/ 0 w 31"/>
                    <a:gd name="T73" fmla="*/ 60 h 121"/>
                    <a:gd name="T74" fmla="*/ 0 w 31"/>
                    <a:gd name="T75" fmla="*/ 60 h 121"/>
                    <a:gd name="T76" fmla="*/ 0 w 31"/>
                    <a:gd name="T77" fmla="*/ 60 h 121"/>
                    <a:gd name="T78" fmla="*/ 1 w 31"/>
                    <a:gd name="T79" fmla="*/ 60 h 121"/>
                    <a:gd name="T80" fmla="*/ 1 w 31"/>
                    <a:gd name="T81" fmla="*/ 61 h 121"/>
                    <a:gd name="T82" fmla="*/ 1 w 31"/>
                    <a:gd name="T83" fmla="*/ 61 h 1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1" h="121">
                      <a:moveTo>
                        <a:pt x="2" y="121"/>
                      </a:moveTo>
                      <a:lnTo>
                        <a:pt x="5" y="121"/>
                      </a:lnTo>
                      <a:lnTo>
                        <a:pt x="7" y="119"/>
                      </a:lnTo>
                      <a:lnTo>
                        <a:pt x="10" y="119"/>
                      </a:lnTo>
                      <a:lnTo>
                        <a:pt x="12" y="117"/>
                      </a:lnTo>
                      <a:lnTo>
                        <a:pt x="14" y="115"/>
                      </a:lnTo>
                      <a:lnTo>
                        <a:pt x="16" y="112"/>
                      </a:lnTo>
                      <a:lnTo>
                        <a:pt x="17" y="110"/>
                      </a:lnTo>
                      <a:lnTo>
                        <a:pt x="19" y="107"/>
                      </a:lnTo>
                      <a:lnTo>
                        <a:pt x="20" y="104"/>
                      </a:lnTo>
                      <a:lnTo>
                        <a:pt x="22" y="100"/>
                      </a:lnTo>
                      <a:lnTo>
                        <a:pt x="23" y="97"/>
                      </a:lnTo>
                      <a:lnTo>
                        <a:pt x="23" y="92"/>
                      </a:lnTo>
                      <a:lnTo>
                        <a:pt x="24" y="89"/>
                      </a:lnTo>
                      <a:lnTo>
                        <a:pt x="25" y="84"/>
                      </a:lnTo>
                      <a:lnTo>
                        <a:pt x="25" y="80"/>
                      </a:lnTo>
                      <a:lnTo>
                        <a:pt x="26" y="75"/>
                      </a:lnTo>
                      <a:lnTo>
                        <a:pt x="27" y="70"/>
                      </a:lnTo>
                      <a:lnTo>
                        <a:pt x="27" y="65"/>
                      </a:lnTo>
                      <a:lnTo>
                        <a:pt x="27" y="61"/>
                      </a:lnTo>
                      <a:lnTo>
                        <a:pt x="28" y="56"/>
                      </a:lnTo>
                      <a:lnTo>
                        <a:pt x="28" y="51"/>
                      </a:lnTo>
                      <a:lnTo>
                        <a:pt x="28" y="46"/>
                      </a:lnTo>
                      <a:lnTo>
                        <a:pt x="28" y="41"/>
                      </a:lnTo>
                      <a:lnTo>
                        <a:pt x="28" y="36"/>
                      </a:lnTo>
                      <a:lnTo>
                        <a:pt x="28" y="31"/>
                      </a:lnTo>
                      <a:lnTo>
                        <a:pt x="29" y="27"/>
                      </a:lnTo>
                      <a:lnTo>
                        <a:pt x="29" y="23"/>
                      </a:lnTo>
                      <a:lnTo>
                        <a:pt x="29" y="17"/>
                      </a:lnTo>
                      <a:lnTo>
                        <a:pt x="30" y="13"/>
                      </a:lnTo>
                      <a:lnTo>
                        <a:pt x="30" y="9"/>
                      </a:lnTo>
                      <a:lnTo>
                        <a:pt x="31" y="4"/>
                      </a:lnTo>
                      <a:lnTo>
                        <a:pt x="31" y="1"/>
                      </a:lnTo>
                      <a:lnTo>
                        <a:pt x="28" y="0"/>
                      </a:lnTo>
                      <a:lnTo>
                        <a:pt x="28" y="4"/>
                      </a:lnTo>
                      <a:lnTo>
                        <a:pt x="27" y="8"/>
                      </a:lnTo>
                      <a:lnTo>
                        <a:pt x="27" y="13"/>
                      </a:lnTo>
                      <a:lnTo>
                        <a:pt x="27" y="17"/>
                      </a:lnTo>
                      <a:lnTo>
                        <a:pt x="26" y="22"/>
                      </a:lnTo>
                      <a:lnTo>
                        <a:pt x="26" y="26"/>
                      </a:lnTo>
                      <a:lnTo>
                        <a:pt x="25" y="31"/>
                      </a:lnTo>
                      <a:lnTo>
                        <a:pt x="25" y="36"/>
                      </a:lnTo>
                      <a:lnTo>
                        <a:pt x="25" y="41"/>
                      </a:lnTo>
                      <a:lnTo>
                        <a:pt x="25" y="46"/>
                      </a:lnTo>
                      <a:lnTo>
                        <a:pt x="24" y="51"/>
                      </a:lnTo>
                      <a:lnTo>
                        <a:pt x="24" y="56"/>
                      </a:lnTo>
                      <a:lnTo>
                        <a:pt x="24" y="61"/>
                      </a:lnTo>
                      <a:lnTo>
                        <a:pt x="23" y="65"/>
                      </a:lnTo>
                      <a:lnTo>
                        <a:pt x="23" y="70"/>
                      </a:lnTo>
                      <a:lnTo>
                        <a:pt x="23" y="75"/>
                      </a:lnTo>
                      <a:lnTo>
                        <a:pt x="22" y="79"/>
                      </a:lnTo>
                      <a:lnTo>
                        <a:pt x="22" y="83"/>
                      </a:lnTo>
                      <a:lnTo>
                        <a:pt x="21" y="88"/>
                      </a:lnTo>
                      <a:lnTo>
                        <a:pt x="20" y="92"/>
                      </a:lnTo>
                      <a:lnTo>
                        <a:pt x="20" y="95"/>
                      </a:lnTo>
                      <a:lnTo>
                        <a:pt x="18" y="99"/>
                      </a:lnTo>
                      <a:lnTo>
                        <a:pt x="17" y="102"/>
                      </a:lnTo>
                      <a:lnTo>
                        <a:pt x="16" y="105"/>
                      </a:lnTo>
                      <a:lnTo>
                        <a:pt x="15" y="107"/>
                      </a:lnTo>
                      <a:lnTo>
                        <a:pt x="14" y="110"/>
                      </a:lnTo>
                      <a:lnTo>
                        <a:pt x="12" y="112"/>
                      </a:lnTo>
                      <a:lnTo>
                        <a:pt x="10" y="114"/>
                      </a:lnTo>
                      <a:lnTo>
                        <a:pt x="9" y="115"/>
                      </a:lnTo>
                      <a:lnTo>
                        <a:pt x="6" y="116"/>
                      </a:lnTo>
                      <a:lnTo>
                        <a:pt x="4" y="117"/>
                      </a:lnTo>
                      <a:lnTo>
                        <a:pt x="2" y="117"/>
                      </a:lnTo>
                      <a:lnTo>
                        <a:pt x="1" y="117"/>
                      </a:lnTo>
                      <a:lnTo>
                        <a:pt x="0" y="117"/>
                      </a:lnTo>
                      <a:lnTo>
                        <a:pt x="0" y="118"/>
                      </a:lnTo>
                      <a:lnTo>
                        <a:pt x="0" y="119"/>
                      </a:lnTo>
                      <a:lnTo>
                        <a:pt x="0" y="120"/>
                      </a:lnTo>
                      <a:lnTo>
                        <a:pt x="1" y="120"/>
                      </a:lnTo>
                      <a:lnTo>
                        <a:pt x="1" y="121"/>
                      </a:lnTo>
                      <a:lnTo>
                        <a:pt x="2"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8" name="Freeform 940">
                  <a:extLst>
                    <a:ext uri="{FF2B5EF4-FFF2-40B4-BE49-F238E27FC236}">
                      <a16:creationId xmlns:a16="http://schemas.microsoft.com/office/drawing/2014/main" id="{1CA85B15-2D2A-F3A1-B407-50220DCE7B2C}"/>
                    </a:ext>
                  </a:extLst>
                </p:cNvPr>
                <p:cNvSpPr>
                  <a:spLocks/>
                </p:cNvSpPr>
                <p:nvPr/>
              </p:nvSpPr>
              <p:spPr bwMode="auto">
                <a:xfrm>
                  <a:off x="1089" y="1787"/>
                  <a:ext cx="33" cy="13"/>
                </a:xfrm>
                <a:custGeom>
                  <a:avLst/>
                  <a:gdLst>
                    <a:gd name="T0" fmla="*/ 19 w 47"/>
                    <a:gd name="T1" fmla="*/ 7 h 18"/>
                    <a:gd name="T2" fmla="*/ 13 w 47"/>
                    <a:gd name="T3" fmla="*/ 6 h 18"/>
                    <a:gd name="T4" fmla="*/ 8 w 47"/>
                    <a:gd name="T5" fmla="*/ 4 h 18"/>
                    <a:gd name="T6" fmla="*/ 5 w 47"/>
                    <a:gd name="T7" fmla="*/ 3 h 18"/>
                    <a:gd name="T8" fmla="*/ 3 w 47"/>
                    <a:gd name="T9" fmla="*/ 1 h 18"/>
                    <a:gd name="T10" fmla="*/ 2 w 47"/>
                    <a:gd name="T11" fmla="*/ 1 h 18"/>
                    <a:gd name="T12" fmla="*/ 2 w 47"/>
                    <a:gd name="T13" fmla="*/ 1 h 18"/>
                    <a:gd name="T14" fmla="*/ 1 w 47"/>
                    <a:gd name="T15" fmla="*/ 2 h 18"/>
                    <a:gd name="T16" fmla="*/ 3 w 47"/>
                    <a:gd name="T17" fmla="*/ 2 h 18"/>
                    <a:gd name="T18" fmla="*/ 4 w 47"/>
                    <a:gd name="T19" fmla="*/ 2 h 18"/>
                    <a:gd name="T20" fmla="*/ 6 w 47"/>
                    <a:gd name="T21" fmla="*/ 2 h 18"/>
                    <a:gd name="T22" fmla="*/ 9 w 47"/>
                    <a:gd name="T23" fmla="*/ 2 h 18"/>
                    <a:gd name="T24" fmla="*/ 12 w 47"/>
                    <a:gd name="T25" fmla="*/ 3 h 18"/>
                    <a:gd name="T26" fmla="*/ 14 w 47"/>
                    <a:gd name="T27" fmla="*/ 3 h 18"/>
                    <a:gd name="T28" fmla="*/ 18 w 47"/>
                    <a:gd name="T29" fmla="*/ 3 h 18"/>
                    <a:gd name="T30" fmla="*/ 20 w 47"/>
                    <a:gd name="T31" fmla="*/ 3 h 18"/>
                    <a:gd name="T32" fmla="*/ 23 w 47"/>
                    <a:gd name="T33" fmla="*/ 3 h 18"/>
                    <a:gd name="T34" fmla="*/ 22 w 47"/>
                    <a:gd name="T35" fmla="*/ 1 h 18"/>
                    <a:gd name="T36" fmla="*/ 19 w 47"/>
                    <a:gd name="T37" fmla="*/ 1 h 18"/>
                    <a:gd name="T38" fmla="*/ 16 w 47"/>
                    <a:gd name="T39" fmla="*/ 1 h 18"/>
                    <a:gd name="T40" fmla="*/ 13 w 47"/>
                    <a:gd name="T41" fmla="*/ 1 h 18"/>
                    <a:gd name="T42" fmla="*/ 11 w 47"/>
                    <a:gd name="T43" fmla="*/ 0 h 18"/>
                    <a:gd name="T44" fmla="*/ 8 w 47"/>
                    <a:gd name="T45" fmla="*/ 0 h 18"/>
                    <a:gd name="T46" fmla="*/ 6 w 47"/>
                    <a:gd name="T47" fmla="*/ 0 h 18"/>
                    <a:gd name="T48" fmla="*/ 3 w 47"/>
                    <a:gd name="T49" fmla="*/ 0 h 18"/>
                    <a:gd name="T50" fmla="*/ 2 w 47"/>
                    <a:gd name="T51" fmla="*/ 0 h 18"/>
                    <a:gd name="T52" fmla="*/ 1 w 47"/>
                    <a:gd name="T53" fmla="*/ 0 h 18"/>
                    <a:gd name="T54" fmla="*/ 1 w 47"/>
                    <a:gd name="T55" fmla="*/ 2 h 18"/>
                    <a:gd name="T56" fmla="*/ 1 w 47"/>
                    <a:gd name="T57" fmla="*/ 3 h 18"/>
                    <a:gd name="T58" fmla="*/ 3 w 47"/>
                    <a:gd name="T59" fmla="*/ 4 h 18"/>
                    <a:gd name="T60" fmla="*/ 6 w 47"/>
                    <a:gd name="T61" fmla="*/ 5 h 18"/>
                    <a:gd name="T62" fmla="*/ 11 w 47"/>
                    <a:gd name="T63" fmla="*/ 7 h 18"/>
                    <a:gd name="T64" fmla="*/ 15 w 47"/>
                    <a:gd name="T65" fmla="*/ 9 h 18"/>
                    <a:gd name="T66" fmla="*/ 19 w 47"/>
                    <a:gd name="T67" fmla="*/ 7 h 18"/>
                    <a:gd name="T68" fmla="*/ 19 w 47"/>
                    <a:gd name="T69" fmla="*/ 9 h 18"/>
                    <a:gd name="T70" fmla="*/ 19 w 47"/>
                    <a:gd name="T71" fmla="*/ 9 h 18"/>
                    <a:gd name="T72" fmla="*/ 19 w 47"/>
                    <a:gd name="T73" fmla="*/ 9 h 18"/>
                    <a:gd name="T74" fmla="*/ 20 w 47"/>
                    <a:gd name="T75" fmla="*/ 9 h 18"/>
                    <a:gd name="T76" fmla="*/ 20 w 47"/>
                    <a:gd name="T77" fmla="*/ 9 h 18"/>
                    <a:gd name="T78" fmla="*/ 20 w 47"/>
                    <a:gd name="T79" fmla="*/ 9 h 18"/>
                    <a:gd name="T80" fmla="*/ 19 w 47"/>
                    <a:gd name="T81" fmla="*/ 7 h 18"/>
                    <a:gd name="T82" fmla="*/ 19 w 47"/>
                    <a:gd name="T83" fmla="*/ 7 h 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 h="18">
                      <a:moveTo>
                        <a:pt x="38" y="18"/>
                      </a:moveTo>
                      <a:lnTo>
                        <a:pt x="39" y="14"/>
                      </a:lnTo>
                      <a:lnTo>
                        <a:pt x="32" y="12"/>
                      </a:lnTo>
                      <a:lnTo>
                        <a:pt x="27" y="11"/>
                      </a:lnTo>
                      <a:lnTo>
                        <a:pt x="22" y="9"/>
                      </a:lnTo>
                      <a:lnTo>
                        <a:pt x="17" y="7"/>
                      </a:lnTo>
                      <a:lnTo>
                        <a:pt x="13" y="6"/>
                      </a:lnTo>
                      <a:lnTo>
                        <a:pt x="10" y="5"/>
                      </a:lnTo>
                      <a:lnTo>
                        <a:pt x="8" y="4"/>
                      </a:lnTo>
                      <a:lnTo>
                        <a:pt x="6" y="3"/>
                      </a:lnTo>
                      <a:lnTo>
                        <a:pt x="4" y="2"/>
                      </a:lnTo>
                      <a:lnTo>
                        <a:pt x="3" y="2"/>
                      </a:lnTo>
                      <a:lnTo>
                        <a:pt x="4" y="3"/>
                      </a:lnTo>
                      <a:lnTo>
                        <a:pt x="3" y="4"/>
                      </a:lnTo>
                      <a:lnTo>
                        <a:pt x="4" y="4"/>
                      </a:lnTo>
                      <a:lnTo>
                        <a:pt x="5" y="4"/>
                      </a:lnTo>
                      <a:lnTo>
                        <a:pt x="6" y="4"/>
                      </a:lnTo>
                      <a:lnTo>
                        <a:pt x="9" y="4"/>
                      </a:lnTo>
                      <a:lnTo>
                        <a:pt x="11" y="4"/>
                      </a:lnTo>
                      <a:lnTo>
                        <a:pt x="13" y="4"/>
                      </a:lnTo>
                      <a:lnTo>
                        <a:pt x="15" y="4"/>
                      </a:lnTo>
                      <a:lnTo>
                        <a:pt x="18" y="4"/>
                      </a:lnTo>
                      <a:lnTo>
                        <a:pt x="21" y="4"/>
                      </a:lnTo>
                      <a:lnTo>
                        <a:pt x="24" y="5"/>
                      </a:lnTo>
                      <a:lnTo>
                        <a:pt x="27" y="5"/>
                      </a:lnTo>
                      <a:lnTo>
                        <a:pt x="29" y="5"/>
                      </a:lnTo>
                      <a:lnTo>
                        <a:pt x="33" y="5"/>
                      </a:lnTo>
                      <a:lnTo>
                        <a:pt x="36" y="6"/>
                      </a:lnTo>
                      <a:lnTo>
                        <a:pt x="38" y="6"/>
                      </a:lnTo>
                      <a:lnTo>
                        <a:pt x="41" y="6"/>
                      </a:lnTo>
                      <a:lnTo>
                        <a:pt x="44" y="6"/>
                      </a:lnTo>
                      <a:lnTo>
                        <a:pt x="47" y="6"/>
                      </a:lnTo>
                      <a:lnTo>
                        <a:pt x="47" y="2"/>
                      </a:lnTo>
                      <a:lnTo>
                        <a:pt x="44" y="2"/>
                      </a:lnTo>
                      <a:lnTo>
                        <a:pt x="41" y="2"/>
                      </a:lnTo>
                      <a:lnTo>
                        <a:pt x="38" y="2"/>
                      </a:lnTo>
                      <a:lnTo>
                        <a:pt x="36" y="2"/>
                      </a:lnTo>
                      <a:lnTo>
                        <a:pt x="33" y="1"/>
                      </a:lnTo>
                      <a:lnTo>
                        <a:pt x="30" y="1"/>
                      </a:lnTo>
                      <a:lnTo>
                        <a:pt x="27" y="1"/>
                      </a:lnTo>
                      <a:lnTo>
                        <a:pt x="24" y="1"/>
                      </a:lnTo>
                      <a:lnTo>
                        <a:pt x="21" y="0"/>
                      </a:lnTo>
                      <a:lnTo>
                        <a:pt x="18" y="0"/>
                      </a:lnTo>
                      <a:lnTo>
                        <a:pt x="16" y="0"/>
                      </a:lnTo>
                      <a:lnTo>
                        <a:pt x="13" y="0"/>
                      </a:lnTo>
                      <a:lnTo>
                        <a:pt x="11" y="0"/>
                      </a:lnTo>
                      <a:lnTo>
                        <a:pt x="9" y="0"/>
                      </a:lnTo>
                      <a:lnTo>
                        <a:pt x="6" y="0"/>
                      </a:lnTo>
                      <a:lnTo>
                        <a:pt x="5" y="0"/>
                      </a:lnTo>
                      <a:lnTo>
                        <a:pt x="4" y="0"/>
                      </a:lnTo>
                      <a:lnTo>
                        <a:pt x="3" y="0"/>
                      </a:lnTo>
                      <a:lnTo>
                        <a:pt x="1" y="0"/>
                      </a:lnTo>
                      <a:lnTo>
                        <a:pt x="0" y="2"/>
                      </a:lnTo>
                      <a:lnTo>
                        <a:pt x="1" y="4"/>
                      </a:lnTo>
                      <a:lnTo>
                        <a:pt x="2" y="5"/>
                      </a:lnTo>
                      <a:lnTo>
                        <a:pt x="3" y="6"/>
                      </a:lnTo>
                      <a:lnTo>
                        <a:pt x="5" y="7"/>
                      </a:lnTo>
                      <a:lnTo>
                        <a:pt x="6" y="8"/>
                      </a:lnTo>
                      <a:lnTo>
                        <a:pt x="9" y="9"/>
                      </a:lnTo>
                      <a:lnTo>
                        <a:pt x="12" y="10"/>
                      </a:lnTo>
                      <a:lnTo>
                        <a:pt x="16" y="11"/>
                      </a:lnTo>
                      <a:lnTo>
                        <a:pt x="21" y="12"/>
                      </a:lnTo>
                      <a:lnTo>
                        <a:pt x="25" y="14"/>
                      </a:lnTo>
                      <a:lnTo>
                        <a:pt x="31" y="16"/>
                      </a:lnTo>
                      <a:lnTo>
                        <a:pt x="38" y="18"/>
                      </a:lnTo>
                      <a:lnTo>
                        <a:pt x="38" y="14"/>
                      </a:lnTo>
                      <a:lnTo>
                        <a:pt x="38" y="18"/>
                      </a:lnTo>
                      <a:lnTo>
                        <a:pt x="39" y="18"/>
                      </a:lnTo>
                      <a:lnTo>
                        <a:pt x="39" y="17"/>
                      </a:lnTo>
                      <a:lnTo>
                        <a:pt x="40" y="17"/>
                      </a:lnTo>
                      <a:lnTo>
                        <a:pt x="40" y="16"/>
                      </a:lnTo>
                      <a:lnTo>
                        <a:pt x="40" y="15"/>
                      </a:lnTo>
                      <a:lnTo>
                        <a:pt x="39" y="14"/>
                      </a:lnTo>
                      <a:lnTo>
                        <a:pt x="38"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49" name="Freeform 941">
                  <a:extLst>
                    <a:ext uri="{FF2B5EF4-FFF2-40B4-BE49-F238E27FC236}">
                      <a16:creationId xmlns:a16="http://schemas.microsoft.com/office/drawing/2014/main" id="{6D3202A4-19A0-AE6F-5789-8A3FBDE045C5}"/>
                    </a:ext>
                  </a:extLst>
                </p:cNvPr>
                <p:cNvSpPr>
                  <a:spLocks/>
                </p:cNvSpPr>
                <p:nvPr/>
              </p:nvSpPr>
              <p:spPr bwMode="auto">
                <a:xfrm>
                  <a:off x="1069" y="1797"/>
                  <a:ext cx="46" cy="29"/>
                </a:xfrm>
                <a:custGeom>
                  <a:avLst/>
                  <a:gdLst>
                    <a:gd name="T0" fmla="*/ 1 w 66"/>
                    <a:gd name="T1" fmla="*/ 20 h 40"/>
                    <a:gd name="T2" fmla="*/ 2 w 66"/>
                    <a:gd name="T3" fmla="*/ 20 h 40"/>
                    <a:gd name="T4" fmla="*/ 4 w 66"/>
                    <a:gd name="T5" fmla="*/ 18 h 40"/>
                    <a:gd name="T6" fmla="*/ 6 w 66"/>
                    <a:gd name="T7" fmla="*/ 17 h 40"/>
                    <a:gd name="T8" fmla="*/ 7 w 66"/>
                    <a:gd name="T9" fmla="*/ 16 h 40"/>
                    <a:gd name="T10" fmla="*/ 9 w 66"/>
                    <a:gd name="T11" fmla="*/ 14 h 40"/>
                    <a:gd name="T12" fmla="*/ 12 w 66"/>
                    <a:gd name="T13" fmla="*/ 12 h 40"/>
                    <a:gd name="T14" fmla="*/ 14 w 66"/>
                    <a:gd name="T15" fmla="*/ 11 h 40"/>
                    <a:gd name="T16" fmla="*/ 16 w 66"/>
                    <a:gd name="T17" fmla="*/ 9 h 40"/>
                    <a:gd name="T18" fmla="*/ 18 w 66"/>
                    <a:gd name="T19" fmla="*/ 8 h 40"/>
                    <a:gd name="T20" fmla="*/ 20 w 66"/>
                    <a:gd name="T21" fmla="*/ 7 h 40"/>
                    <a:gd name="T22" fmla="*/ 23 w 66"/>
                    <a:gd name="T23" fmla="*/ 5 h 40"/>
                    <a:gd name="T24" fmla="*/ 25 w 66"/>
                    <a:gd name="T25" fmla="*/ 4 h 40"/>
                    <a:gd name="T26" fmla="*/ 27 w 66"/>
                    <a:gd name="T27" fmla="*/ 3 h 40"/>
                    <a:gd name="T28" fmla="*/ 29 w 66"/>
                    <a:gd name="T29" fmla="*/ 3 h 40"/>
                    <a:gd name="T30" fmla="*/ 31 w 66"/>
                    <a:gd name="T31" fmla="*/ 2 h 40"/>
                    <a:gd name="T32" fmla="*/ 32 w 66"/>
                    <a:gd name="T33" fmla="*/ 2 h 40"/>
                    <a:gd name="T34" fmla="*/ 31 w 66"/>
                    <a:gd name="T35" fmla="*/ 0 h 40"/>
                    <a:gd name="T36" fmla="*/ 30 w 66"/>
                    <a:gd name="T37" fmla="*/ 0 h 40"/>
                    <a:gd name="T38" fmla="*/ 28 w 66"/>
                    <a:gd name="T39" fmla="*/ 1 h 40"/>
                    <a:gd name="T40" fmla="*/ 26 w 66"/>
                    <a:gd name="T41" fmla="*/ 1 h 40"/>
                    <a:gd name="T42" fmla="*/ 23 w 66"/>
                    <a:gd name="T43" fmla="*/ 3 h 40"/>
                    <a:gd name="T44" fmla="*/ 21 w 66"/>
                    <a:gd name="T45" fmla="*/ 4 h 40"/>
                    <a:gd name="T46" fmla="*/ 19 w 66"/>
                    <a:gd name="T47" fmla="*/ 5 h 40"/>
                    <a:gd name="T48" fmla="*/ 17 w 66"/>
                    <a:gd name="T49" fmla="*/ 7 h 40"/>
                    <a:gd name="T50" fmla="*/ 14 w 66"/>
                    <a:gd name="T51" fmla="*/ 9 h 40"/>
                    <a:gd name="T52" fmla="*/ 12 w 66"/>
                    <a:gd name="T53" fmla="*/ 10 h 40"/>
                    <a:gd name="T54" fmla="*/ 9 w 66"/>
                    <a:gd name="T55" fmla="*/ 11 h 40"/>
                    <a:gd name="T56" fmla="*/ 8 w 66"/>
                    <a:gd name="T57" fmla="*/ 12 h 40"/>
                    <a:gd name="T58" fmla="*/ 6 w 66"/>
                    <a:gd name="T59" fmla="*/ 15 h 40"/>
                    <a:gd name="T60" fmla="*/ 4 w 66"/>
                    <a:gd name="T61" fmla="*/ 16 h 40"/>
                    <a:gd name="T62" fmla="*/ 2 w 66"/>
                    <a:gd name="T63" fmla="*/ 17 h 40"/>
                    <a:gd name="T64" fmla="*/ 1 w 66"/>
                    <a:gd name="T65" fmla="*/ 18 h 40"/>
                    <a:gd name="T66" fmla="*/ 1 w 66"/>
                    <a:gd name="T67" fmla="*/ 20 h 40"/>
                    <a:gd name="T68" fmla="*/ 1 w 66"/>
                    <a:gd name="T69" fmla="*/ 19 h 40"/>
                    <a:gd name="T70" fmla="*/ 1 w 66"/>
                    <a:gd name="T71" fmla="*/ 20 h 40"/>
                    <a:gd name="T72" fmla="*/ 0 w 66"/>
                    <a:gd name="T73" fmla="*/ 20 h 40"/>
                    <a:gd name="T74" fmla="*/ 1 w 66"/>
                    <a:gd name="T75" fmla="*/ 20 h 40"/>
                    <a:gd name="T76" fmla="*/ 1 w 66"/>
                    <a:gd name="T77" fmla="*/ 20 h 40"/>
                    <a:gd name="T78" fmla="*/ 1 w 66"/>
                    <a:gd name="T79" fmla="*/ 21 h 40"/>
                    <a:gd name="T80" fmla="*/ 1 w 66"/>
                    <a:gd name="T81" fmla="*/ 21 h 40"/>
                    <a:gd name="T82" fmla="*/ 1 w 66"/>
                    <a:gd name="T83" fmla="*/ 21 h 40"/>
                    <a:gd name="T84" fmla="*/ 1 w 66"/>
                    <a:gd name="T85" fmla="*/ 21 h 40"/>
                    <a:gd name="T86" fmla="*/ 1 w 66"/>
                    <a:gd name="T87" fmla="*/ 20 h 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6" h="40">
                      <a:moveTo>
                        <a:pt x="3" y="37"/>
                      </a:moveTo>
                      <a:lnTo>
                        <a:pt x="3" y="39"/>
                      </a:lnTo>
                      <a:lnTo>
                        <a:pt x="4" y="38"/>
                      </a:lnTo>
                      <a:lnTo>
                        <a:pt x="5" y="37"/>
                      </a:lnTo>
                      <a:lnTo>
                        <a:pt x="7" y="36"/>
                      </a:lnTo>
                      <a:lnTo>
                        <a:pt x="8" y="35"/>
                      </a:lnTo>
                      <a:lnTo>
                        <a:pt x="9" y="34"/>
                      </a:lnTo>
                      <a:lnTo>
                        <a:pt x="11" y="32"/>
                      </a:lnTo>
                      <a:lnTo>
                        <a:pt x="13" y="31"/>
                      </a:lnTo>
                      <a:lnTo>
                        <a:pt x="15" y="30"/>
                      </a:lnTo>
                      <a:lnTo>
                        <a:pt x="17" y="28"/>
                      </a:lnTo>
                      <a:lnTo>
                        <a:pt x="19" y="26"/>
                      </a:lnTo>
                      <a:lnTo>
                        <a:pt x="21" y="25"/>
                      </a:lnTo>
                      <a:lnTo>
                        <a:pt x="24" y="24"/>
                      </a:lnTo>
                      <a:lnTo>
                        <a:pt x="26" y="22"/>
                      </a:lnTo>
                      <a:lnTo>
                        <a:pt x="28" y="21"/>
                      </a:lnTo>
                      <a:lnTo>
                        <a:pt x="30" y="19"/>
                      </a:lnTo>
                      <a:lnTo>
                        <a:pt x="33" y="18"/>
                      </a:lnTo>
                      <a:lnTo>
                        <a:pt x="35" y="16"/>
                      </a:lnTo>
                      <a:lnTo>
                        <a:pt x="37" y="15"/>
                      </a:lnTo>
                      <a:lnTo>
                        <a:pt x="40" y="14"/>
                      </a:lnTo>
                      <a:lnTo>
                        <a:pt x="42" y="13"/>
                      </a:lnTo>
                      <a:lnTo>
                        <a:pt x="45" y="11"/>
                      </a:lnTo>
                      <a:lnTo>
                        <a:pt x="47" y="10"/>
                      </a:lnTo>
                      <a:lnTo>
                        <a:pt x="49" y="9"/>
                      </a:lnTo>
                      <a:lnTo>
                        <a:pt x="51" y="8"/>
                      </a:lnTo>
                      <a:lnTo>
                        <a:pt x="54" y="7"/>
                      </a:lnTo>
                      <a:lnTo>
                        <a:pt x="56" y="6"/>
                      </a:lnTo>
                      <a:lnTo>
                        <a:pt x="58" y="6"/>
                      </a:lnTo>
                      <a:lnTo>
                        <a:pt x="59" y="5"/>
                      </a:lnTo>
                      <a:lnTo>
                        <a:pt x="61" y="4"/>
                      </a:lnTo>
                      <a:lnTo>
                        <a:pt x="63" y="4"/>
                      </a:lnTo>
                      <a:lnTo>
                        <a:pt x="65" y="4"/>
                      </a:lnTo>
                      <a:lnTo>
                        <a:pt x="66" y="4"/>
                      </a:lnTo>
                      <a:lnTo>
                        <a:pt x="66" y="0"/>
                      </a:lnTo>
                      <a:lnTo>
                        <a:pt x="64" y="0"/>
                      </a:lnTo>
                      <a:lnTo>
                        <a:pt x="63" y="0"/>
                      </a:lnTo>
                      <a:lnTo>
                        <a:pt x="61" y="0"/>
                      </a:lnTo>
                      <a:lnTo>
                        <a:pt x="59" y="1"/>
                      </a:lnTo>
                      <a:lnTo>
                        <a:pt x="57" y="2"/>
                      </a:lnTo>
                      <a:lnTo>
                        <a:pt x="55" y="2"/>
                      </a:lnTo>
                      <a:lnTo>
                        <a:pt x="53" y="3"/>
                      </a:lnTo>
                      <a:lnTo>
                        <a:pt x="51" y="4"/>
                      </a:lnTo>
                      <a:lnTo>
                        <a:pt x="48" y="6"/>
                      </a:lnTo>
                      <a:lnTo>
                        <a:pt x="46" y="6"/>
                      </a:lnTo>
                      <a:lnTo>
                        <a:pt x="43" y="8"/>
                      </a:lnTo>
                      <a:lnTo>
                        <a:pt x="41" y="9"/>
                      </a:lnTo>
                      <a:lnTo>
                        <a:pt x="39" y="10"/>
                      </a:lnTo>
                      <a:lnTo>
                        <a:pt x="36" y="12"/>
                      </a:lnTo>
                      <a:lnTo>
                        <a:pt x="34" y="13"/>
                      </a:lnTo>
                      <a:lnTo>
                        <a:pt x="31" y="14"/>
                      </a:lnTo>
                      <a:lnTo>
                        <a:pt x="29" y="16"/>
                      </a:lnTo>
                      <a:lnTo>
                        <a:pt x="27" y="17"/>
                      </a:lnTo>
                      <a:lnTo>
                        <a:pt x="24" y="19"/>
                      </a:lnTo>
                      <a:lnTo>
                        <a:pt x="22" y="20"/>
                      </a:lnTo>
                      <a:lnTo>
                        <a:pt x="19" y="21"/>
                      </a:lnTo>
                      <a:lnTo>
                        <a:pt x="18" y="23"/>
                      </a:lnTo>
                      <a:lnTo>
                        <a:pt x="16" y="24"/>
                      </a:lnTo>
                      <a:lnTo>
                        <a:pt x="13" y="26"/>
                      </a:lnTo>
                      <a:lnTo>
                        <a:pt x="11" y="27"/>
                      </a:lnTo>
                      <a:lnTo>
                        <a:pt x="9" y="29"/>
                      </a:lnTo>
                      <a:lnTo>
                        <a:pt x="8" y="30"/>
                      </a:lnTo>
                      <a:lnTo>
                        <a:pt x="6" y="31"/>
                      </a:lnTo>
                      <a:lnTo>
                        <a:pt x="4" y="33"/>
                      </a:lnTo>
                      <a:lnTo>
                        <a:pt x="3" y="34"/>
                      </a:lnTo>
                      <a:lnTo>
                        <a:pt x="2" y="35"/>
                      </a:lnTo>
                      <a:lnTo>
                        <a:pt x="1" y="36"/>
                      </a:lnTo>
                      <a:lnTo>
                        <a:pt x="1" y="38"/>
                      </a:lnTo>
                      <a:lnTo>
                        <a:pt x="1" y="36"/>
                      </a:lnTo>
                      <a:lnTo>
                        <a:pt x="1" y="37"/>
                      </a:lnTo>
                      <a:lnTo>
                        <a:pt x="0" y="37"/>
                      </a:lnTo>
                      <a:lnTo>
                        <a:pt x="0" y="38"/>
                      </a:lnTo>
                      <a:lnTo>
                        <a:pt x="1" y="38"/>
                      </a:lnTo>
                      <a:lnTo>
                        <a:pt x="1" y="39"/>
                      </a:lnTo>
                      <a:lnTo>
                        <a:pt x="1" y="40"/>
                      </a:lnTo>
                      <a:lnTo>
                        <a:pt x="2" y="40"/>
                      </a:lnTo>
                      <a:lnTo>
                        <a:pt x="3" y="40"/>
                      </a:lnTo>
                      <a:lnTo>
                        <a:pt x="3" y="39"/>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0" name="Freeform 942">
                  <a:extLst>
                    <a:ext uri="{FF2B5EF4-FFF2-40B4-BE49-F238E27FC236}">
                      <a16:creationId xmlns:a16="http://schemas.microsoft.com/office/drawing/2014/main" id="{B2C4B1D6-A056-6849-1CCE-6CF65A54C77E}"/>
                    </a:ext>
                  </a:extLst>
                </p:cNvPr>
                <p:cNvSpPr>
                  <a:spLocks/>
                </p:cNvSpPr>
                <p:nvPr/>
              </p:nvSpPr>
              <p:spPr bwMode="auto">
                <a:xfrm>
                  <a:off x="556" y="2154"/>
                  <a:ext cx="105" cy="108"/>
                </a:xfrm>
                <a:custGeom>
                  <a:avLst/>
                  <a:gdLst>
                    <a:gd name="T0" fmla="*/ 0 w 151"/>
                    <a:gd name="T1" fmla="*/ 16 h 151"/>
                    <a:gd name="T2" fmla="*/ 10 w 151"/>
                    <a:gd name="T3" fmla="*/ 34 h 151"/>
                    <a:gd name="T4" fmla="*/ 22 w 151"/>
                    <a:gd name="T5" fmla="*/ 53 h 151"/>
                    <a:gd name="T6" fmla="*/ 27 w 151"/>
                    <a:gd name="T7" fmla="*/ 62 h 151"/>
                    <a:gd name="T8" fmla="*/ 33 w 151"/>
                    <a:gd name="T9" fmla="*/ 69 h 151"/>
                    <a:gd name="T10" fmla="*/ 39 w 151"/>
                    <a:gd name="T11" fmla="*/ 74 h 151"/>
                    <a:gd name="T12" fmla="*/ 45 w 151"/>
                    <a:gd name="T13" fmla="*/ 77 h 151"/>
                    <a:gd name="T14" fmla="*/ 47 w 151"/>
                    <a:gd name="T15" fmla="*/ 74 h 151"/>
                    <a:gd name="T16" fmla="*/ 50 w 151"/>
                    <a:gd name="T17" fmla="*/ 67 h 151"/>
                    <a:gd name="T18" fmla="*/ 56 w 151"/>
                    <a:gd name="T19" fmla="*/ 47 h 151"/>
                    <a:gd name="T20" fmla="*/ 63 w 151"/>
                    <a:gd name="T21" fmla="*/ 22 h 151"/>
                    <a:gd name="T22" fmla="*/ 68 w 151"/>
                    <a:gd name="T23" fmla="*/ 10 h 151"/>
                    <a:gd name="T24" fmla="*/ 73 w 151"/>
                    <a:gd name="T25" fmla="*/ 0 h 151"/>
                    <a:gd name="T26" fmla="*/ 65 w 151"/>
                    <a:gd name="T27" fmla="*/ 14 h 151"/>
                    <a:gd name="T28" fmla="*/ 58 w 151"/>
                    <a:gd name="T29" fmla="*/ 30 h 151"/>
                    <a:gd name="T30" fmla="*/ 46 w 151"/>
                    <a:gd name="T31" fmla="*/ 67 h 151"/>
                    <a:gd name="T32" fmla="*/ 42 w 151"/>
                    <a:gd name="T33" fmla="*/ 68 h 151"/>
                    <a:gd name="T34" fmla="*/ 39 w 151"/>
                    <a:gd name="T35" fmla="*/ 67 h 151"/>
                    <a:gd name="T36" fmla="*/ 31 w 151"/>
                    <a:gd name="T37" fmla="*/ 59 h 151"/>
                    <a:gd name="T38" fmla="*/ 24 w 151"/>
                    <a:gd name="T39" fmla="*/ 48 h 151"/>
                    <a:gd name="T40" fmla="*/ 18 w 151"/>
                    <a:gd name="T41" fmla="*/ 38 h 151"/>
                    <a:gd name="T42" fmla="*/ 13 w 151"/>
                    <a:gd name="T43" fmla="*/ 28 h 151"/>
                    <a:gd name="T44" fmla="*/ 9 w 151"/>
                    <a:gd name="T45" fmla="*/ 22 h 151"/>
                    <a:gd name="T46" fmla="*/ 5 w 151"/>
                    <a:gd name="T47" fmla="*/ 19 h 151"/>
                    <a:gd name="T48" fmla="*/ 0 w 151"/>
                    <a:gd name="T49" fmla="*/ 16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1" h="151">
                      <a:moveTo>
                        <a:pt x="0" y="32"/>
                      </a:moveTo>
                      <a:lnTo>
                        <a:pt x="22" y="66"/>
                      </a:lnTo>
                      <a:lnTo>
                        <a:pt x="44" y="103"/>
                      </a:lnTo>
                      <a:lnTo>
                        <a:pt x="56" y="120"/>
                      </a:lnTo>
                      <a:lnTo>
                        <a:pt x="67" y="134"/>
                      </a:lnTo>
                      <a:lnTo>
                        <a:pt x="80" y="145"/>
                      </a:lnTo>
                      <a:lnTo>
                        <a:pt x="93" y="151"/>
                      </a:lnTo>
                      <a:lnTo>
                        <a:pt x="98" y="145"/>
                      </a:lnTo>
                      <a:lnTo>
                        <a:pt x="103" y="131"/>
                      </a:lnTo>
                      <a:lnTo>
                        <a:pt x="115" y="92"/>
                      </a:lnTo>
                      <a:lnTo>
                        <a:pt x="131" y="43"/>
                      </a:lnTo>
                      <a:lnTo>
                        <a:pt x="141" y="20"/>
                      </a:lnTo>
                      <a:lnTo>
                        <a:pt x="151" y="0"/>
                      </a:lnTo>
                      <a:lnTo>
                        <a:pt x="134" y="27"/>
                      </a:lnTo>
                      <a:lnTo>
                        <a:pt x="121" y="59"/>
                      </a:lnTo>
                      <a:lnTo>
                        <a:pt x="95" y="131"/>
                      </a:lnTo>
                      <a:lnTo>
                        <a:pt x="88" y="133"/>
                      </a:lnTo>
                      <a:lnTo>
                        <a:pt x="80" y="131"/>
                      </a:lnTo>
                      <a:lnTo>
                        <a:pt x="64" y="115"/>
                      </a:lnTo>
                      <a:lnTo>
                        <a:pt x="49" y="93"/>
                      </a:lnTo>
                      <a:lnTo>
                        <a:pt x="37" y="74"/>
                      </a:lnTo>
                      <a:lnTo>
                        <a:pt x="27" y="55"/>
                      </a:lnTo>
                      <a:lnTo>
                        <a:pt x="19" y="43"/>
                      </a:lnTo>
                      <a:lnTo>
                        <a:pt x="10" y="37"/>
                      </a:lnTo>
                      <a:lnTo>
                        <a:pt x="0" y="32"/>
                      </a:lnTo>
                      <a:close/>
                    </a:path>
                  </a:pathLst>
                </a:custGeom>
                <a:solidFill>
                  <a:srgbClr val="8C5C3F"/>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1" name="Freeform 943">
                  <a:extLst>
                    <a:ext uri="{FF2B5EF4-FFF2-40B4-BE49-F238E27FC236}">
                      <a16:creationId xmlns:a16="http://schemas.microsoft.com/office/drawing/2014/main" id="{A1A829AC-307E-F9A9-2016-C5625C74FEC9}"/>
                    </a:ext>
                  </a:extLst>
                </p:cNvPr>
                <p:cNvSpPr>
                  <a:spLocks/>
                </p:cNvSpPr>
                <p:nvPr/>
              </p:nvSpPr>
              <p:spPr bwMode="auto">
                <a:xfrm>
                  <a:off x="713" y="1928"/>
                  <a:ext cx="4" cy="93"/>
                </a:xfrm>
                <a:custGeom>
                  <a:avLst/>
                  <a:gdLst>
                    <a:gd name="T0" fmla="*/ 0 w 5"/>
                    <a:gd name="T1" fmla="*/ 0 h 131"/>
                    <a:gd name="T2" fmla="*/ 0 w 5"/>
                    <a:gd name="T3" fmla="*/ 66 h 131"/>
                    <a:gd name="T4" fmla="*/ 2 w 5"/>
                    <a:gd name="T5" fmla="*/ 58 h 131"/>
                    <a:gd name="T6" fmla="*/ 3 w 5"/>
                    <a:gd name="T7" fmla="*/ 34 h 131"/>
                    <a:gd name="T8" fmla="*/ 2 w 5"/>
                    <a:gd name="T9" fmla="*/ 11 h 131"/>
                    <a:gd name="T10" fmla="*/ 0 w 5"/>
                    <a:gd name="T11" fmla="*/ 0 h 1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31">
                      <a:moveTo>
                        <a:pt x="0" y="0"/>
                      </a:moveTo>
                      <a:lnTo>
                        <a:pt x="0" y="131"/>
                      </a:lnTo>
                      <a:lnTo>
                        <a:pt x="2" y="115"/>
                      </a:lnTo>
                      <a:lnTo>
                        <a:pt x="5" y="68"/>
                      </a:lnTo>
                      <a:lnTo>
                        <a:pt x="3" y="21"/>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2" name="Freeform 944">
                  <a:extLst>
                    <a:ext uri="{FF2B5EF4-FFF2-40B4-BE49-F238E27FC236}">
                      <a16:creationId xmlns:a16="http://schemas.microsoft.com/office/drawing/2014/main" id="{D78569E8-9667-0C84-4144-A08ABF1B25B3}"/>
                    </a:ext>
                  </a:extLst>
                </p:cNvPr>
                <p:cNvSpPr>
                  <a:spLocks/>
                </p:cNvSpPr>
                <p:nvPr/>
              </p:nvSpPr>
              <p:spPr bwMode="auto">
                <a:xfrm>
                  <a:off x="713" y="1724"/>
                  <a:ext cx="223" cy="531"/>
                </a:xfrm>
                <a:custGeom>
                  <a:avLst/>
                  <a:gdLst>
                    <a:gd name="T0" fmla="*/ 2 w 320"/>
                    <a:gd name="T1" fmla="*/ 107 h 746"/>
                    <a:gd name="T2" fmla="*/ 43 w 320"/>
                    <a:gd name="T3" fmla="*/ 209 h 746"/>
                    <a:gd name="T4" fmla="*/ 52 w 320"/>
                    <a:gd name="T5" fmla="*/ 236 h 746"/>
                    <a:gd name="T6" fmla="*/ 44 w 320"/>
                    <a:gd name="T7" fmla="*/ 273 h 746"/>
                    <a:gd name="T8" fmla="*/ 36 w 320"/>
                    <a:gd name="T9" fmla="*/ 299 h 746"/>
                    <a:gd name="T10" fmla="*/ 23 w 320"/>
                    <a:gd name="T11" fmla="*/ 335 h 746"/>
                    <a:gd name="T12" fmla="*/ 38 w 320"/>
                    <a:gd name="T13" fmla="*/ 352 h 746"/>
                    <a:gd name="T14" fmla="*/ 63 w 320"/>
                    <a:gd name="T15" fmla="*/ 378 h 746"/>
                    <a:gd name="T16" fmla="*/ 52 w 320"/>
                    <a:gd name="T17" fmla="*/ 349 h 746"/>
                    <a:gd name="T18" fmla="*/ 58 w 320"/>
                    <a:gd name="T19" fmla="*/ 346 h 746"/>
                    <a:gd name="T20" fmla="*/ 95 w 320"/>
                    <a:gd name="T21" fmla="*/ 340 h 746"/>
                    <a:gd name="T22" fmla="*/ 87 w 320"/>
                    <a:gd name="T23" fmla="*/ 330 h 746"/>
                    <a:gd name="T24" fmla="*/ 45 w 320"/>
                    <a:gd name="T25" fmla="*/ 335 h 746"/>
                    <a:gd name="T26" fmla="*/ 38 w 320"/>
                    <a:gd name="T27" fmla="*/ 315 h 746"/>
                    <a:gd name="T28" fmla="*/ 54 w 320"/>
                    <a:gd name="T29" fmla="*/ 278 h 746"/>
                    <a:gd name="T30" fmla="*/ 87 w 320"/>
                    <a:gd name="T31" fmla="*/ 260 h 746"/>
                    <a:gd name="T32" fmla="*/ 103 w 320"/>
                    <a:gd name="T33" fmla="*/ 267 h 746"/>
                    <a:gd name="T34" fmla="*/ 119 w 320"/>
                    <a:gd name="T35" fmla="*/ 288 h 746"/>
                    <a:gd name="T36" fmla="*/ 130 w 320"/>
                    <a:gd name="T37" fmla="*/ 303 h 746"/>
                    <a:gd name="T38" fmla="*/ 119 w 320"/>
                    <a:gd name="T39" fmla="*/ 271 h 746"/>
                    <a:gd name="T40" fmla="*/ 114 w 320"/>
                    <a:gd name="T41" fmla="*/ 261 h 746"/>
                    <a:gd name="T42" fmla="*/ 133 w 320"/>
                    <a:gd name="T43" fmla="*/ 252 h 746"/>
                    <a:gd name="T44" fmla="*/ 146 w 320"/>
                    <a:gd name="T45" fmla="*/ 233 h 746"/>
                    <a:gd name="T46" fmla="*/ 110 w 320"/>
                    <a:gd name="T47" fmla="*/ 243 h 746"/>
                    <a:gd name="T48" fmla="*/ 65 w 320"/>
                    <a:gd name="T49" fmla="*/ 241 h 746"/>
                    <a:gd name="T50" fmla="*/ 82 w 320"/>
                    <a:gd name="T51" fmla="*/ 214 h 746"/>
                    <a:gd name="T52" fmla="*/ 116 w 320"/>
                    <a:gd name="T53" fmla="*/ 201 h 746"/>
                    <a:gd name="T54" fmla="*/ 153 w 320"/>
                    <a:gd name="T55" fmla="*/ 194 h 746"/>
                    <a:gd name="T56" fmla="*/ 105 w 320"/>
                    <a:gd name="T57" fmla="*/ 196 h 746"/>
                    <a:gd name="T58" fmla="*/ 144 w 320"/>
                    <a:gd name="T59" fmla="*/ 152 h 746"/>
                    <a:gd name="T60" fmla="*/ 111 w 320"/>
                    <a:gd name="T61" fmla="*/ 179 h 746"/>
                    <a:gd name="T62" fmla="*/ 80 w 320"/>
                    <a:gd name="T63" fmla="*/ 203 h 746"/>
                    <a:gd name="T64" fmla="*/ 78 w 320"/>
                    <a:gd name="T65" fmla="*/ 189 h 746"/>
                    <a:gd name="T66" fmla="*/ 89 w 320"/>
                    <a:gd name="T67" fmla="*/ 162 h 746"/>
                    <a:gd name="T68" fmla="*/ 100 w 320"/>
                    <a:gd name="T69" fmla="*/ 137 h 746"/>
                    <a:gd name="T70" fmla="*/ 134 w 320"/>
                    <a:gd name="T71" fmla="*/ 110 h 746"/>
                    <a:gd name="T72" fmla="*/ 125 w 320"/>
                    <a:gd name="T73" fmla="*/ 95 h 746"/>
                    <a:gd name="T74" fmla="*/ 119 w 320"/>
                    <a:gd name="T75" fmla="*/ 106 h 746"/>
                    <a:gd name="T76" fmla="*/ 86 w 320"/>
                    <a:gd name="T77" fmla="*/ 135 h 746"/>
                    <a:gd name="T78" fmla="*/ 82 w 320"/>
                    <a:gd name="T79" fmla="*/ 127 h 746"/>
                    <a:gd name="T80" fmla="*/ 93 w 320"/>
                    <a:gd name="T81" fmla="*/ 96 h 746"/>
                    <a:gd name="T82" fmla="*/ 147 w 320"/>
                    <a:gd name="T83" fmla="*/ 2 h 746"/>
                    <a:gd name="T84" fmla="*/ 139 w 320"/>
                    <a:gd name="T85" fmla="*/ 3 h 746"/>
                    <a:gd name="T86" fmla="*/ 103 w 320"/>
                    <a:gd name="T87" fmla="*/ 65 h 746"/>
                    <a:gd name="T88" fmla="*/ 89 w 320"/>
                    <a:gd name="T89" fmla="*/ 64 h 746"/>
                    <a:gd name="T90" fmla="*/ 80 w 320"/>
                    <a:gd name="T91" fmla="*/ 84 h 746"/>
                    <a:gd name="T92" fmla="*/ 72 w 320"/>
                    <a:gd name="T93" fmla="*/ 137 h 746"/>
                    <a:gd name="T94" fmla="*/ 69 w 320"/>
                    <a:gd name="T95" fmla="*/ 175 h 746"/>
                    <a:gd name="T96" fmla="*/ 59 w 320"/>
                    <a:gd name="T97" fmla="*/ 212 h 746"/>
                    <a:gd name="T98" fmla="*/ 52 w 320"/>
                    <a:gd name="T99" fmla="*/ 172 h 746"/>
                    <a:gd name="T100" fmla="*/ 57 w 320"/>
                    <a:gd name="T101" fmla="*/ 95 h 746"/>
                    <a:gd name="T102" fmla="*/ 55 w 320"/>
                    <a:gd name="T103" fmla="*/ 73 h 746"/>
                    <a:gd name="T104" fmla="*/ 47 w 320"/>
                    <a:gd name="T105" fmla="*/ 95 h 746"/>
                    <a:gd name="T106" fmla="*/ 42 w 320"/>
                    <a:gd name="T107" fmla="*/ 142 h 746"/>
                    <a:gd name="T108" fmla="*/ 28 w 320"/>
                    <a:gd name="T109" fmla="*/ 149 h 746"/>
                    <a:gd name="T110" fmla="*/ 0 w 320"/>
                    <a:gd name="T111" fmla="*/ 81 h 7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20" h="746">
                      <a:moveTo>
                        <a:pt x="0" y="160"/>
                      </a:moveTo>
                      <a:lnTo>
                        <a:pt x="0" y="203"/>
                      </a:lnTo>
                      <a:lnTo>
                        <a:pt x="5" y="211"/>
                      </a:lnTo>
                      <a:lnTo>
                        <a:pt x="17" y="238"/>
                      </a:lnTo>
                      <a:lnTo>
                        <a:pt x="48" y="311"/>
                      </a:lnTo>
                      <a:lnTo>
                        <a:pt x="88" y="413"/>
                      </a:lnTo>
                      <a:lnTo>
                        <a:pt x="101" y="431"/>
                      </a:lnTo>
                      <a:lnTo>
                        <a:pt x="107" y="449"/>
                      </a:lnTo>
                      <a:lnTo>
                        <a:pt x="108" y="467"/>
                      </a:lnTo>
                      <a:lnTo>
                        <a:pt x="105" y="485"/>
                      </a:lnTo>
                      <a:lnTo>
                        <a:pt x="95" y="521"/>
                      </a:lnTo>
                      <a:lnTo>
                        <a:pt x="90" y="539"/>
                      </a:lnTo>
                      <a:lnTo>
                        <a:pt x="88" y="557"/>
                      </a:lnTo>
                      <a:lnTo>
                        <a:pt x="83" y="574"/>
                      </a:lnTo>
                      <a:lnTo>
                        <a:pt x="75" y="590"/>
                      </a:lnTo>
                      <a:lnTo>
                        <a:pt x="58" y="626"/>
                      </a:lnTo>
                      <a:lnTo>
                        <a:pt x="51" y="643"/>
                      </a:lnTo>
                      <a:lnTo>
                        <a:pt x="48" y="660"/>
                      </a:lnTo>
                      <a:lnTo>
                        <a:pt x="50" y="675"/>
                      </a:lnTo>
                      <a:lnTo>
                        <a:pt x="59" y="688"/>
                      </a:lnTo>
                      <a:lnTo>
                        <a:pt x="79" y="694"/>
                      </a:lnTo>
                      <a:lnTo>
                        <a:pt x="100" y="708"/>
                      </a:lnTo>
                      <a:lnTo>
                        <a:pt x="118" y="726"/>
                      </a:lnTo>
                      <a:lnTo>
                        <a:pt x="130" y="746"/>
                      </a:lnTo>
                      <a:lnTo>
                        <a:pt x="147" y="728"/>
                      </a:lnTo>
                      <a:lnTo>
                        <a:pt x="122" y="702"/>
                      </a:lnTo>
                      <a:lnTo>
                        <a:pt x="107" y="690"/>
                      </a:lnTo>
                      <a:lnTo>
                        <a:pt x="92" y="681"/>
                      </a:lnTo>
                      <a:lnTo>
                        <a:pt x="105" y="683"/>
                      </a:lnTo>
                      <a:lnTo>
                        <a:pt x="119" y="683"/>
                      </a:lnTo>
                      <a:lnTo>
                        <a:pt x="145" y="678"/>
                      </a:lnTo>
                      <a:lnTo>
                        <a:pt x="170" y="672"/>
                      </a:lnTo>
                      <a:lnTo>
                        <a:pt x="196" y="670"/>
                      </a:lnTo>
                      <a:lnTo>
                        <a:pt x="211" y="652"/>
                      </a:lnTo>
                      <a:lnTo>
                        <a:pt x="195" y="650"/>
                      </a:lnTo>
                      <a:lnTo>
                        <a:pt x="179" y="651"/>
                      </a:lnTo>
                      <a:lnTo>
                        <a:pt x="148" y="657"/>
                      </a:lnTo>
                      <a:lnTo>
                        <a:pt x="113" y="661"/>
                      </a:lnTo>
                      <a:lnTo>
                        <a:pt x="93" y="660"/>
                      </a:lnTo>
                      <a:lnTo>
                        <a:pt x="73" y="654"/>
                      </a:lnTo>
                      <a:lnTo>
                        <a:pt x="74" y="639"/>
                      </a:lnTo>
                      <a:lnTo>
                        <a:pt x="78" y="623"/>
                      </a:lnTo>
                      <a:lnTo>
                        <a:pt x="90" y="594"/>
                      </a:lnTo>
                      <a:lnTo>
                        <a:pt x="101" y="570"/>
                      </a:lnTo>
                      <a:lnTo>
                        <a:pt x="111" y="550"/>
                      </a:lnTo>
                      <a:lnTo>
                        <a:pt x="137" y="515"/>
                      </a:lnTo>
                      <a:lnTo>
                        <a:pt x="158" y="514"/>
                      </a:lnTo>
                      <a:lnTo>
                        <a:pt x="179" y="513"/>
                      </a:lnTo>
                      <a:lnTo>
                        <a:pt x="189" y="514"/>
                      </a:lnTo>
                      <a:lnTo>
                        <a:pt x="201" y="519"/>
                      </a:lnTo>
                      <a:lnTo>
                        <a:pt x="213" y="527"/>
                      </a:lnTo>
                      <a:lnTo>
                        <a:pt x="225" y="539"/>
                      </a:lnTo>
                      <a:lnTo>
                        <a:pt x="237" y="553"/>
                      </a:lnTo>
                      <a:lnTo>
                        <a:pt x="245" y="569"/>
                      </a:lnTo>
                      <a:lnTo>
                        <a:pt x="251" y="588"/>
                      </a:lnTo>
                      <a:lnTo>
                        <a:pt x="254" y="610"/>
                      </a:lnTo>
                      <a:lnTo>
                        <a:pt x="269" y="597"/>
                      </a:lnTo>
                      <a:lnTo>
                        <a:pt x="250" y="547"/>
                      </a:lnTo>
                      <a:lnTo>
                        <a:pt x="249" y="540"/>
                      </a:lnTo>
                      <a:lnTo>
                        <a:pt x="246" y="535"/>
                      </a:lnTo>
                      <a:lnTo>
                        <a:pt x="239" y="527"/>
                      </a:lnTo>
                      <a:lnTo>
                        <a:pt x="235" y="518"/>
                      </a:lnTo>
                      <a:lnTo>
                        <a:pt x="236" y="514"/>
                      </a:lnTo>
                      <a:lnTo>
                        <a:pt x="239" y="508"/>
                      </a:lnTo>
                      <a:lnTo>
                        <a:pt x="257" y="504"/>
                      </a:lnTo>
                      <a:lnTo>
                        <a:pt x="274" y="497"/>
                      </a:lnTo>
                      <a:lnTo>
                        <a:pt x="293" y="489"/>
                      </a:lnTo>
                      <a:lnTo>
                        <a:pt x="313" y="487"/>
                      </a:lnTo>
                      <a:lnTo>
                        <a:pt x="300" y="460"/>
                      </a:lnTo>
                      <a:lnTo>
                        <a:pt x="268" y="467"/>
                      </a:lnTo>
                      <a:lnTo>
                        <a:pt x="243" y="476"/>
                      </a:lnTo>
                      <a:lnTo>
                        <a:pt x="227" y="479"/>
                      </a:lnTo>
                      <a:lnTo>
                        <a:pt x="205" y="481"/>
                      </a:lnTo>
                      <a:lnTo>
                        <a:pt x="175" y="480"/>
                      </a:lnTo>
                      <a:lnTo>
                        <a:pt x="133" y="476"/>
                      </a:lnTo>
                      <a:lnTo>
                        <a:pt x="140" y="459"/>
                      </a:lnTo>
                      <a:lnTo>
                        <a:pt x="149" y="445"/>
                      </a:lnTo>
                      <a:lnTo>
                        <a:pt x="168" y="422"/>
                      </a:lnTo>
                      <a:lnTo>
                        <a:pt x="190" y="408"/>
                      </a:lnTo>
                      <a:lnTo>
                        <a:pt x="214" y="400"/>
                      </a:lnTo>
                      <a:lnTo>
                        <a:pt x="240" y="396"/>
                      </a:lnTo>
                      <a:lnTo>
                        <a:pt x="266" y="395"/>
                      </a:lnTo>
                      <a:lnTo>
                        <a:pt x="320" y="395"/>
                      </a:lnTo>
                      <a:lnTo>
                        <a:pt x="314" y="382"/>
                      </a:lnTo>
                      <a:lnTo>
                        <a:pt x="266" y="381"/>
                      </a:lnTo>
                      <a:lnTo>
                        <a:pt x="241" y="383"/>
                      </a:lnTo>
                      <a:lnTo>
                        <a:pt x="215" y="386"/>
                      </a:lnTo>
                      <a:lnTo>
                        <a:pt x="253" y="340"/>
                      </a:lnTo>
                      <a:lnTo>
                        <a:pt x="276" y="316"/>
                      </a:lnTo>
                      <a:lnTo>
                        <a:pt x="296" y="301"/>
                      </a:lnTo>
                      <a:lnTo>
                        <a:pt x="287" y="289"/>
                      </a:lnTo>
                      <a:lnTo>
                        <a:pt x="256" y="320"/>
                      </a:lnTo>
                      <a:lnTo>
                        <a:pt x="228" y="352"/>
                      </a:lnTo>
                      <a:lnTo>
                        <a:pt x="200" y="380"/>
                      </a:lnTo>
                      <a:lnTo>
                        <a:pt x="184" y="391"/>
                      </a:lnTo>
                      <a:lnTo>
                        <a:pt x="165" y="400"/>
                      </a:lnTo>
                      <a:lnTo>
                        <a:pt x="160" y="391"/>
                      </a:lnTo>
                      <a:lnTo>
                        <a:pt x="159" y="382"/>
                      </a:lnTo>
                      <a:lnTo>
                        <a:pt x="160" y="373"/>
                      </a:lnTo>
                      <a:lnTo>
                        <a:pt x="163" y="364"/>
                      </a:lnTo>
                      <a:lnTo>
                        <a:pt x="173" y="344"/>
                      </a:lnTo>
                      <a:lnTo>
                        <a:pt x="184" y="321"/>
                      </a:lnTo>
                      <a:lnTo>
                        <a:pt x="187" y="302"/>
                      </a:lnTo>
                      <a:lnTo>
                        <a:pt x="194" y="285"/>
                      </a:lnTo>
                      <a:lnTo>
                        <a:pt x="205" y="270"/>
                      </a:lnTo>
                      <a:lnTo>
                        <a:pt x="218" y="256"/>
                      </a:lnTo>
                      <a:lnTo>
                        <a:pt x="248" y="233"/>
                      </a:lnTo>
                      <a:lnTo>
                        <a:pt x="276" y="217"/>
                      </a:lnTo>
                      <a:lnTo>
                        <a:pt x="270" y="201"/>
                      </a:lnTo>
                      <a:lnTo>
                        <a:pt x="267" y="185"/>
                      </a:lnTo>
                      <a:lnTo>
                        <a:pt x="258" y="188"/>
                      </a:lnTo>
                      <a:lnTo>
                        <a:pt x="254" y="194"/>
                      </a:lnTo>
                      <a:lnTo>
                        <a:pt x="251" y="202"/>
                      </a:lnTo>
                      <a:lnTo>
                        <a:pt x="245" y="210"/>
                      </a:lnTo>
                      <a:lnTo>
                        <a:pt x="210" y="236"/>
                      </a:lnTo>
                      <a:lnTo>
                        <a:pt x="191" y="251"/>
                      </a:lnTo>
                      <a:lnTo>
                        <a:pt x="178" y="266"/>
                      </a:lnTo>
                      <a:lnTo>
                        <a:pt x="174" y="265"/>
                      </a:lnTo>
                      <a:lnTo>
                        <a:pt x="172" y="262"/>
                      </a:lnTo>
                      <a:lnTo>
                        <a:pt x="170" y="252"/>
                      </a:lnTo>
                      <a:lnTo>
                        <a:pt x="173" y="239"/>
                      </a:lnTo>
                      <a:lnTo>
                        <a:pt x="178" y="223"/>
                      </a:lnTo>
                      <a:lnTo>
                        <a:pt x="191" y="190"/>
                      </a:lnTo>
                      <a:lnTo>
                        <a:pt x="202" y="171"/>
                      </a:lnTo>
                      <a:lnTo>
                        <a:pt x="253" y="89"/>
                      </a:lnTo>
                      <a:lnTo>
                        <a:pt x="303" y="4"/>
                      </a:lnTo>
                      <a:lnTo>
                        <a:pt x="297" y="11"/>
                      </a:lnTo>
                      <a:lnTo>
                        <a:pt x="292" y="11"/>
                      </a:lnTo>
                      <a:lnTo>
                        <a:pt x="287" y="6"/>
                      </a:lnTo>
                      <a:lnTo>
                        <a:pt x="283" y="0"/>
                      </a:lnTo>
                      <a:lnTo>
                        <a:pt x="244" y="72"/>
                      </a:lnTo>
                      <a:lnTo>
                        <a:pt x="212" y="128"/>
                      </a:lnTo>
                      <a:lnTo>
                        <a:pt x="186" y="166"/>
                      </a:lnTo>
                      <a:lnTo>
                        <a:pt x="184" y="146"/>
                      </a:lnTo>
                      <a:lnTo>
                        <a:pt x="183" y="127"/>
                      </a:lnTo>
                      <a:lnTo>
                        <a:pt x="189" y="83"/>
                      </a:lnTo>
                      <a:lnTo>
                        <a:pt x="164" y="108"/>
                      </a:lnTo>
                      <a:lnTo>
                        <a:pt x="165" y="166"/>
                      </a:lnTo>
                      <a:lnTo>
                        <a:pt x="162" y="193"/>
                      </a:lnTo>
                      <a:lnTo>
                        <a:pt x="157" y="221"/>
                      </a:lnTo>
                      <a:lnTo>
                        <a:pt x="149" y="271"/>
                      </a:lnTo>
                      <a:lnTo>
                        <a:pt x="148" y="300"/>
                      </a:lnTo>
                      <a:lnTo>
                        <a:pt x="149" y="323"/>
                      </a:lnTo>
                      <a:lnTo>
                        <a:pt x="142" y="345"/>
                      </a:lnTo>
                      <a:lnTo>
                        <a:pt x="135" y="369"/>
                      </a:lnTo>
                      <a:lnTo>
                        <a:pt x="129" y="394"/>
                      </a:lnTo>
                      <a:lnTo>
                        <a:pt x="120" y="418"/>
                      </a:lnTo>
                      <a:lnTo>
                        <a:pt x="110" y="379"/>
                      </a:lnTo>
                      <a:lnTo>
                        <a:pt x="107" y="357"/>
                      </a:lnTo>
                      <a:lnTo>
                        <a:pt x="108" y="339"/>
                      </a:lnTo>
                      <a:lnTo>
                        <a:pt x="103" y="285"/>
                      </a:lnTo>
                      <a:lnTo>
                        <a:pt x="104" y="230"/>
                      </a:lnTo>
                      <a:lnTo>
                        <a:pt x="117" y="187"/>
                      </a:lnTo>
                      <a:lnTo>
                        <a:pt x="122" y="164"/>
                      </a:lnTo>
                      <a:lnTo>
                        <a:pt x="124" y="140"/>
                      </a:lnTo>
                      <a:lnTo>
                        <a:pt x="113" y="145"/>
                      </a:lnTo>
                      <a:lnTo>
                        <a:pt x="103" y="148"/>
                      </a:lnTo>
                      <a:lnTo>
                        <a:pt x="102" y="170"/>
                      </a:lnTo>
                      <a:lnTo>
                        <a:pt x="98" y="188"/>
                      </a:lnTo>
                      <a:lnTo>
                        <a:pt x="88" y="229"/>
                      </a:lnTo>
                      <a:lnTo>
                        <a:pt x="85" y="254"/>
                      </a:lnTo>
                      <a:lnTo>
                        <a:pt x="86" y="280"/>
                      </a:lnTo>
                      <a:lnTo>
                        <a:pt x="86" y="306"/>
                      </a:lnTo>
                      <a:lnTo>
                        <a:pt x="82" y="329"/>
                      </a:lnTo>
                      <a:lnTo>
                        <a:pt x="58" y="293"/>
                      </a:lnTo>
                      <a:lnTo>
                        <a:pt x="36" y="250"/>
                      </a:lnTo>
                      <a:lnTo>
                        <a:pt x="17" y="203"/>
                      </a:lnTo>
                      <a:lnTo>
                        <a:pt x="0" y="1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3" name="Freeform 945">
                  <a:extLst>
                    <a:ext uri="{FF2B5EF4-FFF2-40B4-BE49-F238E27FC236}">
                      <a16:creationId xmlns:a16="http://schemas.microsoft.com/office/drawing/2014/main" id="{A19B6C23-277C-5CD5-FDEA-3F1412841D1D}"/>
                    </a:ext>
                  </a:extLst>
                </p:cNvPr>
                <p:cNvSpPr>
                  <a:spLocks/>
                </p:cNvSpPr>
                <p:nvPr/>
              </p:nvSpPr>
              <p:spPr bwMode="auto">
                <a:xfrm>
                  <a:off x="711" y="1838"/>
                  <a:ext cx="4" cy="32"/>
                </a:xfrm>
                <a:custGeom>
                  <a:avLst/>
                  <a:gdLst>
                    <a:gd name="T0" fmla="*/ 3 w 5"/>
                    <a:gd name="T1" fmla="*/ 23 h 45"/>
                    <a:gd name="T2" fmla="*/ 3 w 5"/>
                    <a:gd name="T3" fmla="*/ 1 h 45"/>
                    <a:gd name="T4" fmla="*/ 3 w 5"/>
                    <a:gd name="T5" fmla="*/ 0 h 45"/>
                    <a:gd name="T6" fmla="*/ 2 w 5"/>
                    <a:gd name="T7" fmla="*/ 10 h 45"/>
                    <a:gd name="T8" fmla="*/ 0 w 5"/>
                    <a:gd name="T9" fmla="*/ 18 h 45"/>
                    <a:gd name="T10" fmla="*/ 3 w 5"/>
                    <a:gd name="T11" fmla="*/ 23 h 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45">
                      <a:moveTo>
                        <a:pt x="5" y="45"/>
                      </a:moveTo>
                      <a:lnTo>
                        <a:pt x="5" y="1"/>
                      </a:lnTo>
                      <a:lnTo>
                        <a:pt x="5" y="0"/>
                      </a:lnTo>
                      <a:lnTo>
                        <a:pt x="3" y="20"/>
                      </a:lnTo>
                      <a:lnTo>
                        <a:pt x="0" y="37"/>
                      </a:lnTo>
                      <a:lnTo>
                        <a:pt x="5"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4" name="Freeform 946">
                  <a:extLst>
                    <a:ext uri="{FF2B5EF4-FFF2-40B4-BE49-F238E27FC236}">
                      <a16:creationId xmlns:a16="http://schemas.microsoft.com/office/drawing/2014/main" id="{483CCB24-DFD9-1735-0DD8-72034D4FDAB4}"/>
                    </a:ext>
                  </a:extLst>
                </p:cNvPr>
                <p:cNvSpPr>
                  <a:spLocks/>
                </p:cNvSpPr>
                <p:nvPr/>
              </p:nvSpPr>
              <p:spPr bwMode="auto">
                <a:xfrm>
                  <a:off x="649" y="1867"/>
                  <a:ext cx="64" cy="287"/>
                </a:xfrm>
                <a:custGeom>
                  <a:avLst/>
                  <a:gdLst>
                    <a:gd name="T0" fmla="*/ 44 w 94"/>
                    <a:gd name="T1" fmla="*/ 109 h 404"/>
                    <a:gd name="T2" fmla="*/ 44 w 94"/>
                    <a:gd name="T3" fmla="*/ 43 h 404"/>
                    <a:gd name="T4" fmla="*/ 42 w 94"/>
                    <a:gd name="T5" fmla="*/ 32 h 404"/>
                    <a:gd name="T6" fmla="*/ 39 w 94"/>
                    <a:gd name="T7" fmla="*/ 26 h 404"/>
                    <a:gd name="T8" fmla="*/ 39 w 94"/>
                    <a:gd name="T9" fmla="*/ 20 h 404"/>
                    <a:gd name="T10" fmla="*/ 38 w 94"/>
                    <a:gd name="T11" fmla="*/ 4 h 404"/>
                    <a:gd name="T12" fmla="*/ 35 w 94"/>
                    <a:gd name="T13" fmla="*/ 4 h 404"/>
                    <a:gd name="T14" fmla="*/ 33 w 94"/>
                    <a:gd name="T15" fmla="*/ 4 h 404"/>
                    <a:gd name="T16" fmla="*/ 29 w 94"/>
                    <a:gd name="T17" fmla="*/ 0 h 404"/>
                    <a:gd name="T18" fmla="*/ 27 w 94"/>
                    <a:gd name="T19" fmla="*/ 9 h 404"/>
                    <a:gd name="T20" fmla="*/ 35 w 94"/>
                    <a:gd name="T21" fmla="*/ 17 h 404"/>
                    <a:gd name="T22" fmla="*/ 34 w 94"/>
                    <a:gd name="T23" fmla="*/ 19 h 404"/>
                    <a:gd name="T24" fmla="*/ 31 w 94"/>
                    <a:gd name="T25" fmla="*/ 20 h 404"/>
                    <a:gd name="T26" fmla="*/ 25 w 94"/>
                    <a:gd name="T27" fmla="*/ 21 h 404"/>
                    <a:gd name="T28" fmla="*/ 30 w 94"/>
                    <a:gd name="T29" fmla="*/ 25 h 404"/>
                    <a:gd name="T30" fmla="*/ 33 w 94"/>
                    <a:gd name="T31" fmla="*/ 31 h 404"/>
                    <a:gd name="T32" fmla="*/ 36 w 94"/>
                    <a:gd name="T33" fmla="*/ 38 h 404"/>
                    <a:gd name="T34" fmla="*/ 37 w 94"/>
                    <a:gd name="T35" fmla="*/ 45 h 404"/>
                    <a:gd name="T36" fmla="*/ 39 w 94"/>
                    <a:gd name="T37" fmla="*/ 62 h 404"/>
                    <a:gd name="T38" fmla="*/ 40 w 94"/>
                    <a:gd name="T39" fmla="*/ 77 h 404"/>
                    <a:gd name="T40" fmla="*/ 39 w 94"/>
                    <a:gd name="T41" fmla="*/ 94 h 404"/>
                    <a:gd name="T42" fmla="*/ 37 w 94"/>
                    <a:gd name="T43" fmla="*/ 110 h 404"/>
                    <a:gd name="T44" fmla="*/ 34 w 94"/>
                    <a:gd name="T45" fmla="*/ 125 h 404"/>
                    <a:gd name="T46" fmla="*/ 30 w 94"/>
                    <a:gd name="T47" fmla="*/ 139 h 404"/>
                    <a:gd name="T48" fmla="*/ 26 w 94"/>
                    <a:gd name="T49" fmla="*/ 150 h 404"/>
                    <a:gd name="T50" fmla="*/ 21 w 94"/>
                    <a:gd name="T51" fmla="*/ 159 h 404"/>
                    <a:gd name="T52" fmla="*/ 16 w 94"/>
                    <a:gd name="T53" fmla="*/ 165 h 404"/>
                    <a:gd name="T54" fmla="*/ 12 w 94"/>
                    <a:gd name="T55" fmla="*/ 166 h 404"/>
                    <a:gd name="T56" fmla="*/ 10 w 94"/>
                    <a:gd name="T57" fmla="*/ 153 h 404"/>
                    <a:gd name="T58" fmla="*/ 8 w 94"/>
                    <a:gd name="T59" fmla="*/ 137 h 404"/>
                    <a:gd name="T60" fmla="*/ 10 w 94"/>
                    <a:gd name="T61" fmla="*/ 121 h 404"/>
                    <a:gd name="T62" fmla="*/ 12 w 94"/>
                    <a:gd name="T63" fmla="*/ 115 h 404"/>
                    <a:gd name="T64" fmla="*/ 14 w 94"/>
                    <a:gd name="T65" fmla="*/ 111 h 404"/>
                    <a:gd name="T66" fmla="*/ 8 w 94"/>
                    <a:gd name="T67" fmla="*/ 100 h 404"/>
                    <a:gd name="T68" fmla="*/ 5 w 94"/>
                    <a:gd name="T69" fmla="*/ 106 h 404"/>
                    <a:gd name="T70" fmla="*/ 3 w 94"/>
                    <a:gd name="T71" fmla="*/ 112 h 404"/>
                    <a:gd name="T72" fmla="*/ 0 w 94"/>
                    <a:gd name="T73" fmla="*/ 124 h 404"/>
                    <a:gd name="T74" fmla="*/ 0 w 94"/>
                    <a:gd name="T75" fmla="*/ 136 h 404"/>
                    <a:gd name="T76" fmla="*/ 0 w 94"/>
                    <a:gd name="T77" fmla="*/ 139 h 404"/>
                    <a:gd name="T78" fmla="*/ 1 w 94"/>
                    <a:gd name="T79" fmla="*/ 153 h 404"/>
                    <a:gd name="T80" fmla="*/ 5 w 94"/>
                    <a:gd name="T81" fmla="*/ 181 h 404"/>
                    <a:gd name="T82" fmla="*/ 7 w 94"/>
                    <a:gd name="T83" fmla="*/ 194 h 404"/>
                    <a:gd name="T84" fmla="*/ 8 w 94"/>
                    <a:gd name="T85" fmla="*/ 204 h 404"/>
                    <a:gd name="T86" fmla="*/ 11 w 94"/>
                    <a:gd name="T87" fmla="*/ 195 h 404"/>
                    <a:gd name="T88" fmla="*/ 12 w 94"/>
                    <a:gd name="T89" fmla="*/ 193 h 404"/>
                    <a:gd name="T90" fmla="*/ 14 w 94"/>
                    <a:gd name="T91" fmla="*/ 193 h 404"/>
                    <a:gd name="T92" fmla="*/ 18 w 94"/>
                    <a:gd name="T93" fmla="*/ 200 h 404"/>
                    <a:gd name="T94" fmla="*/ 33 w 94"/>
                    <a:gd name="T95" fmla="*/ 154 h 404"/>
                    <a:gd name="T96" fmla="*/ 39 w 94"/>
                    <a:gd name="T97" fmla="*/ 136 h 404"/>
                    <a:gd name="T98" fmla="*/ 42 w 94"/>
                    <a:gd name="T99" fmla="*/ 122 h 404"/>
                    <a:gd name="T100" fmla="*/ 44 w 94"/>
                    <a:gd name="T101" fmla="*/ 109 h 40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4" h="404">
                      <a:moveTo>
                        <a:pt x="94" y="216"/>
                      </a:moveTo>
                      <a:lnTo>
                        <a:pt x="94" y="85"/>
                      </a:lnTo>
                      <a:lnTo>
                        <a:pt x="91" y="63"/>
                      </a:lnTo>
                      <a:lnTo>
                        <a:pt x="85" y="51"/>
                      </a:lnTo>
                      <a:lnTo>
                        <a:pt x="83" y="40"/>
                      </a:lnTo>
                      <a:lnTo>
                        <a:pt x="82" y="9"/>
                      </a:lnTo>
                      <a:lnTo>
                        <a:pt x="76" y="9"/>
                      </a:lnTo>
                      <a:lnTo>
                        <a:pt x="71" y="7"/>
                      </a:lnTo>
                      <a:lnTo>
                        <a:pt x="62" y="0"/>
                      </a:lnTo>
                      <a:lnTo>
                        <a:pt x="58" y="19"/>
                      </a:lnTo>
                      <a:lnTo>
                        <a:pt x="77" y="34"/>
                      </a:lnTo>
                      <a:lnTo>
                        <a:pt x="73" y="38"/>
                      </a:lnTo>
                      <a:lnTo>
                        <a:pt x="67" y="40"/>
                      </a:lnTo>
                      <a:lnTo>
                        <a:pt x="54" y="41"/>
                      </a:lnTo>
                      <a:lnTo>
                        <a:pt x="65" y="49"/>
                      </a:lnTo>
                      <a:lnTo>
                        <a:pt x="72" y="61"/>
                      </a:lnTo>
                      <a:lnTo>
                        <a:pt x="78" y="74"/>
                      </a:lnTo>
                      <a:lnTo>
                        <a:pt x="81" y="89"/>
                      </a:lnTo>
                      <a:lnTo>
                        <a:pt x="84" y="122"/>
                      </a:lnTo>
                      <a:lnTo>
                        <a:pt x="86" y="152"/>
                      </a:lnTo>
                      <a:lnTo>
                        <a:pt x="84" y="186"/>
                      </a:lnTo>
                      <a:lnTo>
                        <a:pt x="79" y="218"/>
                      </a:lnTo>
                      <a:lnTo>
                        <a:pt x="73" y="248"/>
                      </a:lnTo>
                      <a:lnTo>
                        <a:pt x="65" y="275"/>
                      </a:lnTo>
                      <a:lnTo>
                        <a:pt x="56" y="297"/>
                      </a:lnTo>
                      <a:lnTo>
                        <a:pt x="46" y="315"/>
                      </a:lnTo>
                      <a:lnTo>
                        <a:pt x="35" y="326"/>
                      </a:lnTo>
                      <a:lnTo>
                        <a:pt x="25" y="330"/>
                      </a:lnTo>
                      <a:lnTo>
                        <a:pt x="20" y="304"/>
                      </a:lnTo>
                      <a:lnTo>
                        <a:pt x="18" y="271"/>
                      </a:lnTo>
                      <a:lnTo>
                        <a:pt x="21" y="240"/>
                      </a:lnTo>
                      <a:lnTo>
                        <a:pt x="25" y="228"/>
                      </a:lnTo>
                      <a:lnTo>
                        <a:pt x="31" y="220"/>
                      </a:lnTo>
                      <a:lnTo>
                        <a:pt x="18" y="199"/>
                      </a:lnTo>
                      <a:lnTo>
                        <a:pt x="11" y="210"/>
                      </a:lnTo>
                      <a:lnTo>
                        <a:pt x="6" y="221"/>
                      </a:lnTo>
                      <a:lnTo>
                        <a:pt x="0" y="247"/>
                      </a:lnTo>
                      <a:lnTo>
                        <a:pt x="0" y="269"/>
                      </a:lnTo>
                      <a:lnTo>
                        <a:pt x="0" y="276"/>
                      </a:lnTo>
                      <a:lnTo>
                        <a:pt x="2" y="304"/>
                      </a:lnTo>
                      <a:lnTo>
                        <a:pt x="11" y="359"/>
                      </a:lnTo>
                      <a:lnTo>
                        <a:pt x="15" y="384"/>
                      </a:lnTo>
                      <a:lnTo>
                        <a:pt x="17" y="404"/>
                      </a:lnTo>
                      <a:lnTo>
                        <a:pt x="24" y="386"/>
                      </a:lnTo>
                      <a:lnTo>
                        <a:pt x="26" y="383"/>
                      </a:lnTo>
                      <a:lnTo>
                        <a:pt x="29" y="383"/>
                      </a:lnTo>
                      <a:lnTo>
                        <a:pt x="38" y="395"/>
                      </a:lnTo>
                      <a:lnTo>
                        <a:pt x="71" y="305"/>
                      </a:lnTo>
                      <a:lnTo>
                        <a:pt x="84" y="269"/>
                      </a:lnTo>
                      <a:lnTo>
                        <a:pt x="91" y="242"/>
                      </a:lnTo>
                      <a:lnTo>
                        <a:pt x="94"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5" name="Freeform 947">
                  <a:extLst>
                    <a:ext uri="{FF2B5EF4-FFF2-40B4-BE49-F238E27FC236}">
                      <a16:creationId xmlns:a16="http://schemas.microsoft.com/office/drawing/2014/main" id="{35C7C8A0-83C6-3519-D4E3-5FB16E4B0309}"/>
                    </a:ext>
                  </a:extLst>
                </p:cNvPr>
                <p:cNvSpPr>
                  <a:spLocks/>
                </p:cNvSpPr>
                <p:nvPr/>
              </p:nvSpPr>
              <p:spPr bwMode="auto">
                <a:xfrm>
                  <a:off x="649" y="1997"/>
                  <a:ext cx="1" cy="0"/>
                </a:xfrm>
                <a:custGeom>
                  <a:avLst/>
                  <a:gdLst>
                    <a:gd name="T0" fmla="*/ 0 w 1"/>
                    <a:gd name="T1" fmla="*/ 0 w 1"/>
                    <a:gd name="T2" fmla="*/ 0 w 1"/>
                    <a:gd name="T3" fmla="*/ 0 60000 65536"/>
                    <a:gd name="T4" fmla="*/ 0 60000 65536"/>
                    <a:gd name="T5" fmla="*/ 0 60000 65536"/>
                  </a:gdLst>
                  <a:ahLst/>
                  <a:cxnLst>
                    <a:cxn ang="T3">
                      <a:pos x="T0" y="0"/>
                    </a:cxn>
                    <a:cxn ang="T4">
                      <a:pos x="T1" y="0"/>
                    </a:cxn>
                    <a:cxn ang="T5">
                      <a:pos x="T2" y="0"/>
                    </a:cxn>
                  </a:cxnLst>
                  <a:rect l="0" t="0" r="r" b="b"/>
                  <a:pathLst>
                    <a:path w="1">
                      <a:moveTo>
                        <a:pt x="0" y="0"/>
                      </a:move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6" name="Freeform 948">
                  <a:extLst>
                    <a:ext uri="{FF2B5EF4-FFF2-40B4-BE49-F238E27FC236}">
                      <a16:creationId xmlns:a16="http://schemas.microsoft.com/office/drawing/2014/main" id="{48EC401E-6B14-8619-9582-A51EACC1D998}"/>
                    </a:ext>
                  </a:extLst>
                </p:cNvPr>
                <p:cNvSpPr>
                  <a:spLocks/>
                </p:cNvSpPr>
                <p:nvPr/>
              </p:nvSpPr>
              <p:spPr bwMode="auto">
                <a:xfrm>
                  <a:off x="359" y="1987"/>
                  <a:ext cx="291" cy="205"/>
                </a:xfrm>
                <a:custGeom>
                  <a:avLst/>
                  <a:gdLst>
                    <a:gd name="T0" fmla="*/ 200 w 417"/>
                    <a:gd name="T1" fmla="*/ 8 h 289"/>
                    <a:gd name="T2" fmla="*/ 191 w 417"/>
                    <a:gd name="T3" fmla="*/ 18 h 289"/>
                    <a:gd name="T4" fmla="*/ 181 w 417"/>
                    <a:gd name="T5" fmla="*/ 32 h 289"/>
                    <a:gd name="T6" fmla="*/ 160 w 417"/>
                    <a:gd name="T7" fmla="*/ 62 h 289"/>
                    <a:gd name="T8" fmla="*/ 136 w 417"/>
                    <a:gd name="T9" fmla="*/ 84 h 289"/>
                    <a:gd name="T10" fmla="*/ 130 w 417"/>
                    <a:gd name="T11" fmla="*/ 61 h 289"/>
                    <a:gd name="T12" fmla="*/ 129 w 417"/>
                    <a:gd name="T13" fmla="*/ 43 h 289"/>
                    <a:gd name="T14" fmla="*/ 126 w 417"/>
                    <a:gd name="T15" fmla="*/ 34 h 289"/>
                    <a:gd name="T16" fmla="*/ 121 w 417"/>
                    <a:gd name="T17" fmla="*/ 37 h 289"/>
                    <a:gd name="T18" fmla="*/ 119 w 417"/>
                    <a:gd name="T19" fmla="*/ 49 h 289"/>
                    <a:gd name="T20" fmla="*/ 121 w 417"/>
                    <a:gd name="T21" fmla="*/ 63 h 289"/>
                    <a:gd name="T22" fmla="*/ 128 w 417"/>
                    <a:gd name="T23" fmla="*/ 115 h 289"/>
                    <a:gd name="T24" fmla="*/ 125 w 417"/>
                    <a:gd name="T25" fmla="*/ 122 h 289"/>
                    <a:gd name="T26" fmla="*/ 121 w 417"/>
                    <a:gd name="T27" fmla="*/ 118 h 289"/>
                    <a:gd name="T28" fmla="*/ 100 w 417"/>
                    <a:gd name="T29" fmla="*/ 68 h 289"/>
                    <a:gd name="T30" fmla="*/ 93 w 417"/>
                    <a:gd name="T31" fmla="*/ 45 h 289"/>
                    <a:gd name="T32" fmla="*/ 96 w 417"/>
                    <a:gd name="T33" fmla="*/ 28 h 289"/>
                    <a:gd name="T34" fmla="*/ 106 w 417"/>
                    <a:gd name="T35" fmla="*/ 11 h 289"/>
                    <a:gd name="T36" fmla="*/ 89 w 417"/>
                    <a:gd name="T37" fmla="*/ 20 h 289"/>
                    <a:gd name="T38" fmla="*/ 84 w 417"/>
                    <a:gd name="T39" fmla="*/ 31 h 289"/>
                    <a:gd name="T40" fmla="*/ 87 w 417"/>
                    <a:gd name="T41" fmla="*/ 70 h 289"/>
                    <a:gd name="T42" fmla="*/ 70 w 417"/>
                    <a:gd name="T43" fmla="*/ 65 h 289"/>
                    <a:gd name="T44" fmla="*/ 38 w 417"/>
                    <a:gd name="T45" fmla="*/ 48 h 289"/>
                    <a:gd name="T46" fmla="*/ 22 w 417"/>
                    <a:gd name="T47" fmla="*/ 44 h 289"/>
                    <a:gd name="T48" fmla="*/ 14 w 417"/>
                    <a:gd name="T49" fmla="*/ 46 h 289"/>
                    <a:gd name="T50" fmla="*/ 15 w 417"/>
                    <a:gd name="T51" fmla="*/ 48 h 289"/>
                    <a:gd name="T52" fmla="*/ 31 w 417"/>
                    <a:gd name="T53" fmla="*/ 56 h 289"/>
                    <a:gd name="T54" fmla="*/ 34 w 417"/>
                    <a:gd name="T55" fmla="*/ 62 h 289"/>
                    <a:gd name="T56" fmla="*/ 52 w 417"/>
                    <a:gd name="T57" fmla="*/ 68 h 289"/>
                    <a:gd name="T58" fmla="*/ 75 w 417"/>
                    <a:gd name="T59" fmla="*/ 82 h 289"/>
                    <a:gd name="T60" fmla="*/ 96 w 417"/>
                    <a:gd name="T61" fmla="*/ 99 h 289"/>
                    <a:gd name="T62" fmla="*/ 104 w 417"/>
                    <a:gd name="T63" fmla="*/ 111 h 289"/>
                    <a:gd name="T64" fmla="*/ 104 w 417"/>
                    <a:gd name="T65" fmla="*/ 118 h 289"/>
                    <a:gd name="T66" fmla="*/ 93 w 417"/>
                    <a:gd name="T67" fmla="*/ 127 h 289"/>
                    <a:gd name="T68" fmla="*/ 67 w 417"/>
                    <a:gd name="T69" fmla="*/ 133 h 289"/>
                    <a:gd name="T70" fmla="*/ 28 w 417"/>
                    <a:gd name="T71" fmla="*/ 138 h 289"/>
                    <a:gd name="T72" fmla="*/ 47 w 417"/>
                    <a:gd name="T73" fmla="*/ 143 h 289"/>
                    <a:gd name="T74" fmla="*/ 79 w 417"/>
                    <a:gd name="T75" fmla="*/ 138 h 289"/>
                    <a:gd name="T76" fmla="*/ 107 w 417"/>
                    <a:gd name="T77" fmla="*/ 131 h 289"/>
                    <a:gd name="T78" fmla="*/ 134 w 417"/>
                    <a:gd name="T79" fmla="*/ 133 h 289"/>
                    <a:gd name="T80" fmla="*/ 147 w 417"/>
                    <a:gd name="T81" fmla="*/ 140 h 289"/>
                    <a:gd name="T82" fmla="*/ 148 w 417"/>
                    <a:gd name="T83" fmla="*/ 140 h 289"/>
                    <a:gd name="T84" fmla="*/ 142 w 417"/>
                    <a:gd name="T85" fmla="*/ 131 h 289"/>
                    <a:gd name="T86" fmla="*/ 140 w 417"/>
                    <a:gd name="T87" fmla="*/ 119 h 289"/>
                    <a:gd name="T88" fmla="*/ 146 w 417"/>
                    <a:gd name="T89" fmla="*/ 95 h 289"/>
                    <a:gd name="T90" fmla="*/ 157 w 417"/>
                    <a:gd name="T91" fmla="*/ 75 h 289"/>
                    <a:gd name="T92" fmla="*/ 183 w 417"/>
                    <a:gd name="T93" fmla="*/ 45 h 289"/>
                    <a:gd name="T94" fmla="*/ 199 w 417"/>
                    <a:gd name="T95" fmla="*/ 21 h 2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17" h="289">
                      <a:moveTo>
                        <a:pt x="417" y="15"/>
                      </a:moveTo>
                      <a:lnTo>
                        <a:pt x="411" y="16"/>
                      </a:lnTo>
                      <a:lnTo>
                        <a:pt x="404" y="21"/>
                      </a:lnTo>
                      <a:lnTo>
                        <a:pt x="393" y="35"/>
                      </a:lnTo>
                      <a:lnTo>
                        <a:pt x="382" y="51"/>
                      </a:lnTo>
                      <a:lnTo>
                        <a:pt x="371" y="64"/>
                      </a:lnTo>
                      <a:lnTo>
                        <a:pt x="355" y="91"/>
                      </a:lnTo>
                      <a:lnTo>
                        <a:pt x="328" y="123"/>
                      </a:lnTo>
                      <a:lnTo>
                        <a:pt x="300" y="150"/>
                      </a:lnTo>
                      <a:lnTo>
                        <a:pt x="279" y="166"/>
                      </a:lnTo>
                      <a:lnTo>
                        <a:pt x="273" y="146"/>
                      </a:lnTo>
                      <a:lnTo>
                        <a:pt x="267" y="121"/>
                      </a:lnTo>
                      <a:lnTo>
                        <a:pt x="264" y="96"/>
                      </a:lnTo>
                      <a:lnTo>
                        <a:pt x="265" y="86"/>
                      </a:lnTo>
                      <a:lnTo>
                        <a:pt x="267" y="78"/>
                      </a:lnTo>
                      <a:lnTo>
                        <a:pt x="258" y="68"/>
                      </a:lnTo>
                      <a:lnTo>
                        <a:pt x="249" y="59"/>
                      </a:lnTo>
                      <a:lnTo>
                        <a:pt x="248" y="74"/>
                      </a:lnTo>
                      <a:lnTo>
                        <a:pt x="246" y="83"/>
                      </a:lnTo>
                      <a:lnTo>
                        <a:pt x="243" y="97"/>
                      </a:lnTo>
                      <a:lnTo>
                        <a:pt x="244" y="109"/>
                      </a:lnTo>
                      <a:lnTo>
                        <a:pt x="249" y="126"/>
                      </a:lnTo>
                      <a:lnTo>
                        <a:pt x="270" y="192"/>
                      </a:lnTo>
                      <a:lnTo>
                        <a:pt x="264" y="229"/>
                      </a:lnTo>
                      <a:lnTo>
                        <a:pt x="261" y="238"/>
                      </a:lnTo>
                      <a:lnTo>
                        <a:pt x="257" y="242"/>
                      </a:lnTo>
                      <a:lnTo>
                        <a:pt x="254" y="241"/>
                      </a:lnTo>
                      <a:lnTo>
                        <a:pt x="250" y="236"/>
                      </a:lnTo>
                      <a:lnTo>
                        <a:pt x="241" y="215"/>
                      </a:lnTo>
                      <a:lnTo>
                        <a:pt x="205" y="136"/>
                      </a:lnTo>
                      <a:lnTo>
                        <a:pt x="195" y="110"/>
                      </a:lnTo>
                      <a:lnTo>
                        <a:pt x="191" y="89"/>
                      </a:lnTo>
                      <a:lnTo>
                        <a:pt x="191" y="72"/>
                      </a:lnTo>
                      <a:lnTo>
                        <a:pt x="196" y="57"/>
                      </a:lnTo>
                      <a:lnTo>
                        <a:pt x="205" y="41"/>
                      </a:lnTo>
                      <a:lnTo>
                        <a:pt x="218" y="23"/>
                      </a:lnTo>
                      <a:lnTo>
                        <a:pt x="213" y="0"/>
                      </a:lnTo>
                      <a:lnTo>
                        <a:pt x="183" y="39"/>
                      </a:lnTo>
                      <a:lnTo>
                        <a:pt x="176" y="52"/>
                      </a:lnTo>
                      <a:lnTo>
                        <a:pt x="174" y="62"/>
                      </a:lnTo>
                      <a:lnTo>
                        <a:pt x="175" y="89"/>
                      </a:lnTo>
                      <a:lnTo>
                        <a:pt x="177" y="138"/>
                      </a:lnTo>
                      <a:lnTo>
                        <a:pt x="161" y="136"/>
                      </a:lnTo>
                      <a:lnTo>
                        <a:pt x="144" y="130"/>
                      </a:lnTo>
                      <a:lnTo>
                        <a:pt x="111" y="113"/>
                      </a:lnTo>
                      <a:lnTo>
                        <a:pt x="78" y="96"/>
                      </a:lnTo>
                      <a:lnTo>
                        <a:pt x="62" y="90"/>
                      </a:lnTo>
                      <a:lnTo>
                        <a:pt x="46" y="88"/>
                      </a:lnTo>
                      <a:lnTo>
                        <a:pt x="39" y="91"/>
                      </a:lnTo>
                      <a:lnTo>
                        <a:pt x="28" y="92"/>
                      </a:lnTo>
                      <a:lnTo>
                        <a:pt x="0" y="93"/>
                      </a:lnTo>
                      <a:lnTo>
                        <a:pt x="30" y="96"/>
                      </a:lnTo>
                      <a:lnTo>
                        <a:pt x="52" y="102"/>
                      </a:lnTo>
                      <a:lnTo>
                        <a:pt x="65" y="112"/>
                      </a:lnTo>
                      <a:lnTo>
                        <a:pt x="69" y="118"/>
                      </a:lnTo>
                      <a:lnTo>
                        <a:pt x="70" y="124"/>
                      </a:lnTo>
                      <a:lnTo>
                        <a:pt x="86" y="126"/>
                      </a:lnTo>
                      <a:lnTo>
                        <a:pt x="107" y="135"/>
                      </a:lnTo>
                      <a:lnTo>
                        <a:pt x="130" y="146"/>
                      </a:lnTo>
                      <a:lnTo>
                        <a:pt x="155" y="162"/>
                      </a:lnTo>
                      <a:lnTo>
                        <a:pt x="178" y="179"/>
                      </a:lnTo>
                      <a:lnTo>
                        <a:pt x="196" y="197"/>
                      </a:lnTo>
                      <a:lnTo>
                        <a:pt x="210" y="214"/>
                      </a:lnTo>
                      <a:lnTo>
                        <a:pt x="213" y="222"/>
                      </a:lnTo>
                      <a:lnTo>
                        <a:pt x="214" y="231"/>
                      </a:lnTo>
                      <a:lnTo>
                        <a:pt x="213" y="236"/>
                      </a:lnTo>
                      <a:lnTo>
                        <a:pt x="209" y="242"/>
                      </a:lnTo>
                      <a:lnTo>
                        <a:pt x="191" y="252"/>
                      </a:lnTo>
                      <a:lnTo>
                        <a:pt x="167" y="259"/>
                      </a:lnTo>
                      <a:lnTo>
                        <a:pt x="138" y="265"/>
                      </a:lnTo>
                      <a:lnTo>
                        <a:pt x="84" y="273"/>
                      </a:lnTo>
                      <a:lnTo>
                        <a:pt x="57" y="274"/>
                      </a:lnTo>
                      <a:lnTo>
                        <a:pt x="65" y="286"/>
                      </a:lnTo>
                      <a:lnTo>
                        <a:pt x="96" y="285"/>
                      </a:lnTo>
                      <a:lnTo>
                        <a:pt x="129" y="280"/>
                      </a:lnTo>
                      <a:lnTo>
                        <a:pt x="162" y="274"/>
                      </a:lnTo>
                      <a:lnTo>
                        <a:pt x="192" y="265"/>
                      </a:lnTo>
                      <a:lnTo>
                        <a:pt x="221" y="260"/>
                      </a:lnTo>
                      <a:lnTo>
                        <a:pt x="257" y="262"/>
                      </a:lnTo>
                      <a:lnTo>
                        <a:pt x="275" y="265"/>
                      </a:lnTo>
                      <a:lnTo>
                        <a:pt x="290" y="271"/>
                      </a:lnTo>
                      <a:lnTo>
                        <a:pt x="302" y="279"/>
                      </a:lnTo>
                      <a:lnTo>
                        <a:pt x="309" y="289"/>
                      </a:lnTo>
                      <a:lnTo>
                        <a:pt x="304" y="279"/>
                      </a:lnTo>
                      <a:lnTo>
                        <a:pt x="298" y="270"/>
                      </a:lnTo>
                      <a:lnTo>
                        <a:pt x="292" y="261"/>
                      </a:lnTo>
                      <a:lnTo>
                        <a:pt x="289" y="252"/>
                      </a:lnTo>
                      <a:lnTo>
                        <a:pt x="287" y="237"/>
                      </a:lnTo>
                      <a:lnTo>
                        <a:pt x="290" y="220"/>
                      </a:lnTo>
                      <a:lnTo>
                        <a:pt x="299" y="189"/>
                      </a:lnTo>
                      <a:lnTo>
                        <a:pt x="309" y="170"/>
                      </a:lnTo>
                      <a:lnTo>
                        <a:pt x="322" y="150"/>
                      </a:lnTo>
                      <a:lnTo>
                        <a:pt x="358" y="111"/>
                      </a:lnTo>
                      <a:lnTo>
                        <a:pt x="376" y="89"/>
                      </a:lnTo>
                      <a:lnTo>
                        <a:pt x="394" y="66"/>
                      </a:lnTo>
                      <a:lnTo>
                        <a:pt x="408" y="42"/>
                      </a:lnTo>
                      <a:lnTo>
                        <a:pt x="41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7" name="Freeform 949">
                  <a:extLst>
                    <a:ext uri="{FF2B5EF4-FFF2-40B4-BE49-F238E27FC236}">
                      <a16:creationId xmlns:a16="http://schemas.microsoft.com/office/drawing/2014/main" id="{AB9297AB-8A53-05F5-8D8E-DED1405F4AE1}"/>
                    </a:ext>
                  </a:extLst>
                </p:cNvPr>
                <p:cNvSpPr>
                  <a:spLocks/>
                </p:cNvSpPr>
                <p:nvPr/>
              </p:nvSpPr>
              <p:spPr bwMode="auto">
                <a:xfrm>
                  <a:off x="649" y="2058"/>
                  <a:ext cx="1" cy="5"/>
                </a:xfrm>
                <a:custGeom>
                  <a:avLst/>
                  <a:gdLst>
                    <a:gd name="T0" fmla="*/ 0 w 1"/>
                    <a:gd name="T1" fmla="*/ 4 h 6"/>
                    <a:gd name="T2" fmla="*/ 0 w 1"/>
                    <a:gd name="T3" fmla="*/ 0 h 6"/>
                    <a:gd name="T4" fmla="*/ 0 w 1"/>
                    <a:gd name="T5" fmla="*/ 3 h 6"/>
                    <a:gd name="T6" fmla="*/ 0 w 1"/>
                    <a:gd name="T7" fmla="*/ 4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6">
                      <a:moveTo>
                        <a:pt x="0" y="6"/>
                      </a:moveTo>
                      <a:lnTo>
                        <a:pt x="0" y="0"/>
                      </a:lnTo>
                      <a:lnTo>
                        <a:pt x="0" y="5"/>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58" name="Freeform 950">
                  <a:extLst>
                    <a:ext uri="{FF2B5EF4-FFF2-40B4-BE49-F238E27FC236}">
                      <a16:creationId xmlns:a16="http://schemas.microsoft.com/office/drawing/2014/main" id="{3FCE292B-F0AF-16FD-3FE2-B3B22F38BC3F}"/>
                    </a:ext>
                  </a:extLst>
                </p:cNvPr>
                <p:cNvSpPr>
                  <a:spLocks/>
                </p:cNvSpPr>
                <p:nvPr/>
              </p:nvSpPr>
              <p:spPr bwMode="auto">
                <a:xfrm>
                  <a:off x="359" y="1987"/>
                  <a:ext cx="291" cy="205"/>
                </a:xfrm>
                <a:custGeom>
                  <a:avLst/>
                  <a:gdLst>
                    <a:gd name="T0" fmla="*/ 148 w 417"/>
                    <a:gd name="T1" fmla="*/ 140 h 289"/>
                    <a:gd name="T2" fmla="*/ 142 w 417"/>
                    <a:gd name="T3" fmla="*/ 131 h 289"/>
                    <a:gd name="T4" fmla="*/ 140 w 417"/>
                    <a:gd name="T5" fmla="*/ 119 h 289"/>
                    <a:gd name="T6" fmla="*/ 146 w 417"/>
                    <a:gd name="T7" fmla="*/ 95 h 289"/>
                    <a:gd name="T8" fmla="*/ 157 w 417"/>
                    <a:gd name="T9" fmla="*/ 75 h 289"/>
                    <a:gd name="T10" fmla="*/ 183 w 417"/>
                    <a:gd name="T11" fmla="*/ 45 h 289"/>
                    <a:gd name="T12" fmla="*/ 199 w 417"/>
                    <a:gd name="T13" fmla="*/ 21 h 289"/>
                    <a:gd name="T14" fmla="*/ 200 w 417"/>
                    <a:gd name="T15" fmla="*/ 8 h 289"/>
                    <a:gd name="T16" fmla="*/ 191 w 417"/>
                    <a:gd name="T17" fmla="*/ 18 h 289"/>
                    <a:gd name="T18" fmla="*/ 181 w 417"/>
                    <a:gd name="T19" fmla="*/ 32 h 289"/>
                    <a:gd name="T20" fmla="*/ 161 w 417"/>
                    <a:gd name="T21" fmla="*/ 62 h 289"/>
                    <a:gd name="T22" fmla="*/ 136 w 417"/>
                    <a:gd name="T23" fmla="*/ 84 h 289"/>
                    <a:gd name="T24" fmla="*/ 130 w 417"/>
                    <a:gd name="T25" fmla="*/ 61 h 289"/>
                    <a:gd name="T26" fmla="*/ 129 w 417"/>
                    <a:gd name="T27" fmla="*/ 43 h 289"/>
                    <a:gd name="T28" fmla="*/ 126 w 417"/>
                    <a:gd name="T29" fmla="*/ 34 h 289"/>
                    <a:gd name="T30" fmla="*/ 121 w 417"/>
                    <a:gd name="T31" fmla="*/ 37 h 289"/>
                    <a:gd name="T32" fmla="*/ 119 w 417"/>
                    <a:gd name="T33" fmla="*/ 49 h 289"/>
                    <a:gd name="T34" fmla="*/ 121 w 417"/>
                    <a:gd name="T35" fmla="*/ 63 h 289"/>
                    <a:gd name="T36" fmla="*/ 128 w 417"/>
                    <a:gd name="T37" fmla="*/ 115 h 289"/>
                    <a:gd name="T38" fmla="*/ 125 w 417"/>
                    <a:gd name="T39" fmla="*/ 122 h 289"/>
                    <a:gd name="T40" fmla="*/ 121 w 417"/>
                    <a:gd name="T41" fmla="*/ 118 h 289"/>
                    <a:gd name="T42" fmla="*/ 100 w 417"/>
                    <a:gd name="T43" fmla="*/ 68 h 289"/>
                    <a:gd name="T44" fmla="*/ 93 w 417"/>
                    <a:gd name="T45" fmla="*/ 45 h 289"/>
                    <a:gd name="T46" fmla="*/ 96 w 417"/>
                    <a:gd name="T47" fmla="*/ 28 h 289"/>
                    <a:gd name="T48" fmla="*/ 106 w 417"/>
                    <a:gd name="T49" fmla="*/ 11 h 289"/>
                    <a:gd name="T50" fmla="*/ 89 w 417"/>
                    <a:gd name="T51" fmla="*/ 20 h 289"/>
                    <a:gd name="T52" fmla="*/ 84 w 417"/>
                    <a:gd name="T53" fmla="*/ 31 h 289"/>
                    <a:gd name="T54" fmla="*/ 87 w 417"/>
                    <a:gd name="T55" fmla="*/ 70 h 289"/>
                    <a:gd name="T56" fmla="*/ 70 w 417"/>
                    <a:gd name="T57" fmla="*/ 65 h 289"/>
                    <a:gd name="T58" fmla="*/ 38 w 417"/>
                    <a:gd name="T59" fmla="*/ 48 h 289"/>
                    <a:gd name="T60" fmla="*/ 22 w 417"/>
                    <a:gd name="T61" fmla="*/ 44 h 289"/>
                    <a:gd name="T62" fmla="*/ 14 w 417"/>
                    <a:gd name="T63" fmla="*/ 46 h 289"/>
                    <a:gd name="T64" fmla="*/ 15 w 417"/>
                    <a:gd name="T65" fmla="*/ 48 h 289"/>
                    <a:gd name="T66" fmla="*/ 32 w 417"/>
                    <a:gd name="T67" fmla="*/ 56 h 289"/>
                    <a:gd name="T68" fmla="*/ 34 w 417"/>
                    <a:gd name="T69" fmla="*/ 62 h 289"/>
                    <a:gd name="T70" fmla="*/ 52 w 417"/>
                    <a:gd name="T71" fmla="*/ 68 h 289"/>
                    <a:gd name="T72" fmla="*/ 75 w 417"/>
                    <a:gd name="T73" fmla="*/ 82 h 289"/>
                    <a:gd name="T74" fmla="*/ 96 w 417"/>
                    <a:gd name="T75" fmla="*/ 99 h 289"/>
                    <a:gd name="T76" fmla="*/ 104 w 417"/>
                    <a:gd name="T77" fmla="*/ 111 h 289"/>
                    <a:gd name="T78" fmla="*/ 104 w 417"/>
                    <a:gd name="T79" fmla="*/ 118 h 289"/>
                    <a:gd name="T80" fmla="*/ 94 w 417"/>
                    <a:gd name="T81" fmla="*/ 127 h 289"/>
                    <a:gd name="T82" fmla="*/ 68 w 417"/>
                    <a:gd name="T83" fmla="*/ 133 h 289"/>
                    <a:gd name="T84" fmla="*/ 28 w 417"/>
                    <a:gd name="T85" fmla="*/ 138 h 289"/>
                    <a:gd name="T86" fmla="*/ 47 w 417"/>
                    <a:gd name="T87" fmla="*/ 143 h 289"/>
                    <a:gd name="T88" fmla="*/ 79 w 417"/>
                    <a:gd name="T89" fmla="*/ 138 h 289"/>
                    <a:gd name="T90" fmla="*/ 107 w 417"/>
                    <a:gd name="T91" fmla="*/ 131 h 289"/>
                    <a:gd name="T92" fmla="*/ 134 w 417"/>
                    <a:gd name="T93" fmla="*/ 133 h 289"/>
                    <a:gd name="T94" fmla="*/ 147 w 417"/>
                    <a:gd name="T95" fmla="*/ 140 h 289"/>
                    <a:gd name="T96" fmla="*/ 151 w 417"/>
                    <a:gd name="T97" fmla="*/ 145 h 2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17" h="289">
                      <a:moveTo>
                        <a:pt x="309" y="289"/>
                      </a:moveTo>
                      <a:lnTo>
                        <a:pt x="304" y="279"/>
                      </a:lnTo>
                      <a:lnTo>
                        <a:pt x="298" y="270"/>
                      </a:lnTo>
                      <a:lnTo>
                        <a:pt x="293" y="261"/>
                      </a:lnTo>
                      <a:lnTo>
                        <a:pt x="289" y="252"/>
                      </a:lnTo>
                      <a:lnTo>
                        <a:pt x="288" y="237"/>
                      </a:lnTo>
                      <a:lnTo>
                        <a:pt x="290" y="220"/>
                      </a:lnTo>
                      <a:lnTo>
                        <a:pt x="299" y="189"/>
                      </a:lnTo>
                      <a:lnTo>
                        <a:pt x="309" y="170"/>
                      </a:lnTo>
                      <a:lnTo>
                        <a:pt x="322" y="150"/>
                      </a:lnTo>
                      <a:lnTo>
                        <a:pt x="358" y="111"/>
                      </a:lnTo>
                      <a:lnTo>
                        <a:pt x="376" y="89"/>
                      </a:lnTo>
                      <a:lnTo>
                        <a:pt x="394" y="66"/>
                      </a:lnTo>
                      <a:lnTo>
                        <a:pt x="408" y="42"/>
                      </a:lnTo>
                      <a:lnTo>
                        <a:pt x="417" y="15"/>
                      </a:lnTo>
                      <a:lnTo>
                        <a:pt x="411" y="16"/>
                      </a:lnTo>
                      <a:lnTo>
                        <a:pt x="404" y="21"/>
                      </a:lnTo>
                      <a:lnTo>
                        <a:pt x="393" y="35"/>
                      </a:lnTo>
                      <a:lnTo>
                        <a:pt x="383" y="51"/>
                      </a:lnTo>
                      <a:lnTo>
                        <a:pt x="372" y="64"/>
                      </a:lnTo>
                      <a:lnTo>
                        <a:pt x="355" y="91"/>
                      </a:lnTo>
                      <a:lnTo>
                        <a:pt x="329" y="123"/>
                      </a:lnTo>
                      <a:lnTo>
                        <a:pt x="301" y="150"/>
                      </a:lnTo>
                      <a:lnTo>
                        <a:pt x="280" y="166"/>
                      </a:lnTo>
                      <a:lnTo>
                        <a:pt x="273" y="146"/>
                      </a:lnTo>
                      <a:lnTo>
                        <a:pt x="267" y="121"/>
                      </a:lnTo>
                      <a:lnTo>
                        <a:pt x="264" y="96"/>
                      </a:lnTo>
                      <a:lnTo>
                        <a:pt x="265" y="86"/>
                      </a:lnTo>
                      <a:lnTo>
                        <a:pt x="267" y="78"/>
                      </a:lnTo>
                      <a:lnTo>
                        <a:pt x="258" y="68"/>
                      </a:lnTo>
                      <a:lnTo>
                        <a:pt x="249" y="59"/>
                      </a:lnTo>
                      <a:lnTo>
                        <a:pt x="248" y="74"/>
                      </a:lnTo>
                      <a:lnTo>
                        <a:pt x="246" y="83"/>
                      </a:lnTo>
                      <a:lnTo>
                        <a:pt x="243" y="97"/>
                      </a:lnTo>
                      <a:lnTo>
                        <a:pt x="244" y="109"/>
                      </a:lnTo>
                      <a:lnTo>
                        <a:pt x="249" y="126"/>
                      </a:lnTo>
                      <a:lnTo>
                        <a:pt x="270" y="192"/>
                      </a:lnTo>
                      <a:lnTo>
                        <a:pt x="264" y="229"/>
                      </a:lnTo>
                      <a:lnTo>
                        <a:pt x="261" y="238"/>
                      </a:lnTo>
                      <a:lnTo>
                        <a:pt x="257" y="242"/>
                      </a:lnTo>
                      <a:lnTo>
                        <a:pt x="254" y="241"/>
                      </a:lnTo>
                      <a:lnTo>
                        <a:pt x="250" y="236"/>
                      </a:lnTo>
                      <a:lnTo>
                        <a:pt x="242" y="215"/>
                      </a:lnTo>
                      <a:lnTo>
                        <a:pt x="205" y="136"/>
                      </a:lnTo>
                      <a:lnTo>
                        <a:pt x="195" y="110"/>
                      </a:lnTo>
                      <a:lnTo>
                        <a:pt x="191" y="89"/>
                      </a:lnTo>
                      <a:lnTo>
                        <a:pt x="191" y="72"/>
                      </a:lnTo>
                      <a:lnTo>
                        <a:pt x="196" y="57"/>
                      </a:lnTo>
                      <a:lnTo>
                        <a:pt x="205" y="41"/>
                      </a:lnTo>
                      <a:lnTo>
                        <a:pt x="218" y="23"/>
                      </a:lnTo>
                      <a:lnTo>
                        <a:pt x="213" y="0"/>
                      </a:lnTo>
                      <a:lnTo>
                        <a:pt x="183" y="39"/>
                      </a:lnTo>
                      <a:lnTo>
                        <a:pt x="177" y="52"/>
                      </a:lnTo>
                      <a:lnTo>
                        <a:pt x="174" y="62"/>
                      </a:lnTo>
                      <a:lnTo>
                        <a:pt x="175" y="89"/>
                      </a:lnTo>
                      <a:lnTo>
                        <a:pt x="178" y="138"/>
                      </a:lnTo>
                      <a:lnTo>
                        <a:pt x="161" y="136"/>
                      </a:lnTo>
                      <a:lnTo>
                        <a:pt x="144" y="130"/>
                      </a:lnTo>
                      <a:lnTo>
                        <a:pt x="111" y="113"/>
                      </a:lnTo>
                      <a:lnTo>
                        <a:pt x="78" y="96"/>
                      </a:lnTo>
                      <a:lnTo>
                        <a:pt x="62" y="90"/>
                      </a:lnTo>
                      <a:lnTo>
                        <a:pt x="46" y="88"/>
                      </a:lnTo>
                      <a:lnTo>
                        <a:pt x="39" y="91"/>
                      </a:lnTo>
                      <a:lnTo>
                        <a:pt x="28" y="92"/>
                      </a:lnTo>
                      <a:lnTo>
                        <a:pt x="0" y="93"/>
                      </a:lnTo>
                      <a:lnTo>
                        <a:pt x="30" y="96"/>
                      </a:lnTo>
                      <a:lnTo>
                        <a:pt x="52" y="102"/>
                      </a:lnTo>
                      <a:lnTo>
                        <a:pt x="66" y="112"/>
                      </a:lnTo>
                      <a:lnTo>
                        <a:pt x="69" y="118"/>
                      </a:lnTo>
                      <a:lnTo>
                        <a:pt x="70" y="124"/>
                      </a:lnTo>
                      <a:lnTo>
                        <a:pt x="86" y="126"/>
                      </a:lnTo>
                      <a:lnTo>
                        <a:pt x="107" y="135"/>
                      </a:lnTo>
                      <a:lnTo>
                        <a:pt x="131" y="146"/>
                      </a:lnTo>
                      <a:lnTo>
                        <a:pt x="155" y="162"/>
                      </a:lnTo>
                      <a:lnTo>
                        <a:pt x="178" y="179"/>
                      </a:lnTo>
                      <a:lnTo>
                        <a:pt x="196" y="197"/>
                      </a:lnTo>
                      <a:lnTo>
                        <a:pt x="210" y="214"/>
                      </a:lnTo>
                      <a:lnTo>
                        <a:pt x="213" y="222"/>
                      </a:lnTo>
                      <a:lnTo>
                        <a:pt x="214" y="231"/>
                      </a:lnTo>
                      <a:lnTo>
                        <a:pt x="213" y="236"/>
                      </a:lnTo>
                      <a:lnTo>
                        <a:pt x="209" y="242"/>
                      </a:lnTo>
                      <a:lnTo>
                        <a:pt x="192" y="252"/>
                      </a:lnTo>
                      <a:lnTo>
                        <a:pt x="167" y="259"/>
                      </a:lnTo>
                      <a:lnTo>
                        <a:pt x="139" y="265"/>
                      </a:lnTo>
                      <a:lnTo>
                        <a:pt x="84" y="273"/>
                      </a:lnTo>
                      <a:lnTo>
                        <a:pt x="57" y="274"/>
                      </a:lnTo>
                      <a:lnTo>
                        <a:pt x="65" y="286"/>
                      </a:lnTo>
                      <a:lnTo>
                        <a:pt x="96" y="285"/>
                      </a:lnTo>
                      <a:lnTo>
                        <a:pt x="129" y="280"/>
                      </a:lnTo>
                      <a:lnTo>
                        <a:pt x="162" y="274"/>
                      </a:lnTo>
                      <a:lnTo>
                        <a:pt x="192" y="265"/>
                      </a:lnTo>
                      <a:lnTo>
                        <a:pt x="221" y="260"/>
                      </a:lnTo>
                      <a:lnTo>
                        <a:pt x="257" y="262"/>
                      </a:lnTo>
                      <a:lnTo>
                        <a:pt x="275" y="265"/>
                      </a:lnTo>
                      <a:lnTo>
                        <a:pt x="290" y="271"/>
                      </a:lnTo>
                      <a:lnTo>
                        <a:pt x="302" y="279"/>
                      </a:lnTo>
                      <a:lnTo>
                        <a:pt x="309" y="28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rtlCol="0"/>
                <a:lstStyle/>
                <a:p>
                  <a:pPr rtl="0"/>
                  <a:endParaRPr lang="en-US"/>
                </a:p>
              </p:txBody>
            </p:sp>
            <p:sp>
              <p:nvSpPr>
                <p:cNvPr id="759" name="Freeform 951">
                  <a:extLst>
                    <a:ext uri="{FF2B5EF4-FFF2-40B4-BE49-F238E27FC236}">
                      <a16:creationId xmlns:a16="http://schemas.microsoft.com/office/drawing/2014/main" id="{A854CCA7-0B7F-5985-4B10-A798881F893B}"/>
                    </a:ext>
                  </a:extLst>
                </p:cNvPr>
                <p:cNvSpPr>
                  <a:spLocks/>
                </p:cNvSpPr>
                <p:nvPr/>
              </p:nvSpPr>
              <p:spPr bwMode="auto">
                <a:xfrm>
                  <a:off x="649" y="1867"/>
                  <a:ext cx="68" cy="287"/>
                </a:xfrm>
                <a:custGeom>
                  <a:avLst/>
                  <a:gdLst>
                    <a:gd name="T0" fmla="*/ 18 w 99"/>
                    <a:gd name="T1" fmla="*/ 200 h 404"/>
                    <a:gd name="T2" fmla="*/ 34 w 99"/>
                    <a:gd name="T3" fmla="*/ 154 h 404"/>
                    <a:gd name="T4" fmla="*/ 40 w 99"/>
                    <a:gd name="T5" fmla="*/ 136 h 404"/>
                    <a:gd name="T6" fmla="*/ 43 w 99"/>
                    <a:gd name="T7" fmla="*/ 122 h 404"/>
                    <a:gd name="T8" fmla="*/ 46 w 99"/>
                    <a:gd name="T9" fmla="*/ 100 h 404"/>
                    <a:gd name="T10" fmla="*/ 47 w 99"/>
                    <a:gd name="T11" fmla="*/ 77 h 404"/>
                    <a:gd name="T12" fmla="*/ 46 w 99"/>
                    <a:gd name="T13" fmla="*/ 53 h 404"/>
                    <a:gd name="T14" fmla="*/ 43 w 99"/>
                    <a:gd name="T15" fmla="*/ 32 h 404"/>
                    <a:gd name="T16" fmla="*/ 40 w 99"/>
                    <a:gd name="T17" fmla="*/ 26 h 404"/>
                    <a:gd name="T18" fmla="*/ 39 w 99"/>
                    <a:gd name="T19" fmla="*/ 20 h 404"/>
                    <a:gd name="T20" fmla="*/ 38 w 99"/>
                    <a:gd name="T21" fmla="*/ 4 h 404"/>
                    <a:gd name="T22" fmla="*/ 36 w 99"/>
                    <a:gd name="T23" fmla="*/ 4 h 404"/>
                    <a:gd name="T24" fmla="*/ 34 w 99"/>
                    <a:gd name="T25" fmla="*/ 4 h 404"/>
                    <a:gd name="T26" fmla="*/ 30 w 99"/>
                    <a:gd name="T27" fmla="*/ 0 h 404"/>
                    <a:gd name="T28" fmla="*/ 27 w 99"/>
                    <a:gd name="T29" fmla="*/ 9 h 404"/>
                    <a:gd name="T30" fmla="*/ 36 w 99"/>
                    <a:gd name="T31" fmla="*/ 17 h 404"/>
                    <a:gd name="T32" fmla="*/ 34 w 99"/>
                    <a:gd name="T33" fmla="*/ 19 h 404"/>
                    <a:gd name="T34" fmla="*/ 32 w 99"/>
                    <a:gd name="T35" fmla="*/ 20 h 404"/>
                    <a:gd name="T36" fmla="*/ 26 w 99"/>
                    <a:gd name="T37" fmla="*/ 21 h 404"/>
                    <a:gd name="T38" fmla="*/ 31 w 99"/>
                    <a:gd name="T39" fmla="*/ 25 h 404"/>
                    <a:gd name="T40" fmla="*/ 34 w 99"/>
                    <a:gd name="T41" fmla="*/ 31 h 404"/>
                    <a:gd name="T42" fmla="*/ 37 w 99"/>
                    <a:gd name="T43" fmla="*/ 38 h 404"/>
                    <a:gd name="T44" fmla="*/ 38 w 99"/>
                    <a:gd name="T45" fmla="*/ 45 h 404"/>
                    <a:gd name="T46" fmla="*/ 40 w 99"/>
                    <a:gd name="T47" fmla="*/ 62 h 404"/>
                    <a:gd name="T48" fmla="*/ 41 w 99"/>
                    <a:gd name="T49" fmla="*/ 77 h 404"/>
                    <a:gd name="T50" fmla="*/ 40 w 99"/>
                    <a:gd name="T51" fmla="*/ 94 h 404"/>
                    <a:gd name="T52" fmla="*/ 38 w 99"/>
                    <a:gd name="T53" fmla="*/ 110 h 404"/>
                    <a:gd name="T54" fmla="*/ 34 w 99"/>
                    <a:gd name="T55" fmla="*/ 125 h 404"/>
                    <a:gd name="T56" fmla="*/ 31 w 99"/>
                    <a:gd name="T57" fmla="*/ 139 h 404"/>
                    <a:gd name="T58" fmla="*/ 26 w 99"/>
                    <a:gd name="T59" fmla="*/ 150 h 404"/>
                    <a:gd name="T60" fmla="*/ 22 w 99"/>
                    <a:gd name="T61" fmla="*/ 159 h 404"/>
                    <a:gd name="T62" fmla="*/ 16 w 99"/>
                    <a:gd name="T63" fmla="*/ 165 h 404"/>
                    <a:gd name="T64" fmla="*/ 12 w 99"/>
                    <a:gd name="T65" fmla="*/ 166 h 404"/>
                    <a:gd name="T66" fmla="*/ 10 w 99"/>
                    <a:gd name="T67" fmla="*/ 153 h 404"/>
                    <a:gd name="T68" fmla="*/ 8 w 99"/>
                    <a:gd name="T69" fmla="*/ 137 h 404"/>
                    <a:gd name="T70" fmla="*/ 10 w 99"/>
                    <a:gd name="T71" fmla="*/ 121 h 404"/>
                    <a:gd name="T72" fmla="*/ 12 w 99"/>
                    <a:gd name="T73" fmla="*/ 115 h 404"/>
                    <a:gd name="T74" fmla="*/ 14 w 99"/>
                    <a:gd name="T75" fmla="*/ 111 h 404"/>
                    <a:gd name="T76" fmla="*/ 8 w 99"/>
                    <a:gd name="T77" fmla="*/ 100 h 404"/>
                    <a:gd name="T78" fmla="*/ 5 w 99"/>
                    <a:gd name="T79" fmla="*/ 106 h 404"/>
                    <a:gd name="T80" fmla="*/ 3 w 99"/>
                    <a:gd name="T81" fmla="*/ 112 h 404"/>
                    <a:gd name="T82" fmla="*/ 0 w 99"/>
                    <a:gd name="T83" fmla="*/ 124 h 404"/>
                    <a:gd name="T84" fmla="*/ 0 w 99"/>
                    <a:gd name="T85" fmla="*/ 139 h 404"/>
                    <a:gd name="T86" fmla="*/ 1 w 99"/>
                    <a:gd name="T87" fmla="*/ 153 h 404"/>
                    <a:gd name="T88" fmla="*/ 5 w 99"/>
                    <a:gd name="T89" fmla="*/ 181 h 404"/>
                    <a:gd name="T90" fmla="*/ 8 w 99"/>
                    <a:gd name="T91" fmla="*/ 194 h 404"/>
                    <a:gd name="T92" fmla="*/ 8 w 99"/>
                    <a:gd name="T93" fmla="*/ 204 h 404"/>
                    <a:gd name="T94" fmla="*/ 11 w 99"/>
                    <a:gd name="T95" fmla="*/ 195 h 404"/>
                    <a:gd name="T96" fmla="*/ 13 w 99"/>
                    <a:gd name="T97" fmla="*/ 193 h 404"/>
                    <a:gd name="T98" fmla="*/ 14 w 99"/>
                    <a:gd name="T99" fmla="*/ 193 h 404"/>
                    <a:gd name="T100" fmla="*/ 18 w 99"/>
                    <a:gd name="T101" fmla="*/ 200 h 404"/>
                    <a:gd name="T102" fmla="*/ 18 w 99"/>
                    <a:gd name="T103" fmla="*/ 200 h 40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9" h="404">
                      <a:moveTo>
                        <a:pt x="38" y="395"/>
                      </a:moveTo>
                      <a:lnTo>
                        <a:pt x="72" y="305"/>
                      </a:lnTo>
                      <a:lnTo>
                        <a:pt x="85" y="269"/>
                      </a:lnTo>
                      <a:lnTo>
                        <a:pt x="92" y="242"/>
                      </a:lnTo>
                      <a:lnTo>
                        <a:pt x="97" y="199"/>
                      </a:lnTo>
                      <a:lnTo>
                        <a:pt x="99" y="152"/>
                      </a:lnTo>
                      <a:lnTo>
                        <a:pt x="98" y="106"/>
                      </a:lnTo>
                      <a:lnTo>
                        <a:pt x="92" y="63"/>
                      </a:lnTo>
                      <a:lnTo>
                        <a:pt x="85" y="51"/>
                      </a:lnTo>
                      <a:lnTo>
                        <a:pt x="83" y="40"/>
                      </a:lnTo>
                      <a:lnTo>
                        <a:pt x="82" y="9"/>
                      </a:lnTo>
                      <a:lnTo>
                        <a:pt x="77" y="9"/>
                      </a:lnTo>
                      <a:lnTo>
                        <a:pt x="71" y="7"/>
                      </a:lnTo>
                      <a:lnTo>
                        <a:pt x="62" y="0"/>
                      </a:lnTo>
                      <a:lnTo>
                        <a:pt x="58" y="19"/>
                      </a:lnTo>
                      <a:lnTo>
                        <a:pt x="77" y="34"/>
                      </a:lnTo>
                      <a:lnTo>
                        <a:pt x="73" y="38"/>
                      </a:lnTo>
                      <a:lnTo>
                        <a:pt x="67" y="40"/>
                      </a:lnTo>
                      <a:lnTo>
                        <a:pt x="55" y="41"/>
                      </a:lnTo>
                      <a:lnTo>
                        <a:pt x="65" y="49"/>
                      </a:lnTo>
                      <a:lnTo>
                        <a:pt x="73" y="61"/>
                      </a:lnTo>
                      <a:lnTo>
                        <a:pt x="78" y="74"/>
                      </a:lnTo>
                      <a:lnTo>
                        <a:pt x="82" y="89"/>
                      </a:lnTo>
                      <a:lnTo>
                        <a:pt x="85" y="122"/>
                      </a:lnTo>
                      <a:lnTo>
                        <a:pt x="87" y="152"/>
                      </a:lnTo>
                      <a:lnTo>
                        <a:pt x="84" y="186"/>
                      </a:lnTo>
                      <a:lnTo>
                        <a:pt x="80" y="218"/>
                      </a:lnTo>
                      <a:lnTo>
                        <a:pt x="73" y="248"/>
                      </a:lnTo>
                      <a:lnTo>
                        <a:pt x="65" y="275"/>
                      </a:lnTo>
                      <a:lnTo>
                        <a:pt x="56" y="297"/>
                      </a:lnTo>
                      <a:lnTo>
                        <a:pt x="46" y="315"/>
                      </a:lnTo>
                      <a:lnTo>
                        <a:pt x="35" y="326"/>
                      </a:lnTo>
                      <a:lnTo>
                        <a:pt x="25" y="330"/>
                      </a:lnTo>
                      <a:lnTo>
                        <a:pt x="20" y="304"/>
                      </a:lnTo>
                      <a:lnTo>
                        <a:pt x="18" y="271"/>
                      </a:lnTo>
                      <a:lnTo>
                        <a:pt x="21" y="240"/>
                      </a:lnTo>
                      <a:lnTo>
                        <a:pt x="25" y="228"/>
                      </a:lnTo>
                      <a:lnTo>
                        <a:pt x="31" y="220"/>
                      </a:lnTo>
                      <a:lnTo>
                        <a:pt x="18" y="199"/>
                      </a:lnTo>
                      <a:lnTo>
                        <a:pt x="11" y="210"/>
                      </a:lnTo>
                      <a:lnTo>
                        <a:pt x="6" y="221"/>
                      </a:lnTo>
                      <a:lnTo>
                        <a:pt x="0" y="247"/>
                      </a:lnTo>
                      <a:lnTo>
                        <a:pt x="0" y="274"/>
                      </a:lnTo>
                      <a:lnTo>
                        <a:pt x="2" y="304"/>
                      </a:lnTo>
                      <a:lnTo>
                        <a:pt x="12" y="359"/>
                      </a:lnTo>
                      <a:lnTo>
                        <a:pt x="16" y="384"/>
                      </a:lnTo>
                      <a:lnTo>
                        <a:pt x="18" y="404"/>
                      </a:lnTo>
                      <a:lnTo>
                        <a:pt x="24" y="386"/>
                      </a:lnTo>
                      <a:lnTo>
                        <a:pt x="27" y="383"/>
                      </a:lnTo>
                      <a:lnTo>
                        <a:pt x="29" y="383"/>
                      </a:lnTo>
                      <a:lnTo>
                        <a:pt x="38" y="395"/>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rtlCol="0"/>
                <a:lstStyle/>
                <a:p>
                  <a:pPr rtl="0"/>
                  <a:endParaRPr lang="en-US"/>
                </a:p>
              </p:txBody>
            </p:sp>
            <p:sp>
              <p:nvSpPr>
                <p:cNvPr id="760" name="Freeform 952">
                  <a:extLst>
                    <a:ext uri="{FF2B5EF4-FFF2-40B4-BE49-F238E27FC236}">
                      <a16:creationId xmlns:a16="http://schemas.microsoft.com/office/drawing/2014/main" id="{C3840D38-5767-EC6A-AA12-35A39C5FA545}"/>
                    </a:ext>
                  </a:extLst>
                </p:cNvPr>
                <p:cNvSpPr>
                  <a:spLocks/>
                </p:cNvSpPr>
                <p:nvPr/>
              </p:nvSpPr>
              <p:spPr bwMode="auto">
                <a:xfrm>
                  <a:off x="711" y="1724"/>
                  <a:ext cx="225" cy="531"/>
                </a:xfrm>
                <a:custGeom>
                  <a:avLst/>
                  <a:gdLst>
                    <a:gd name="T0" fmla="*/ 50 w 324"/>
                    <a:gd name="T1" fmla="*/ 359 h 746"/>
                    <a:gd name="T2" fmla="*/ 73 w 324"/>
                    <a:gd name="T3" fmla="*/ 369 h 746"/>
                    <a:gd name="T4" fmla="*/ 47 w 324"/>
                    <a:gd name="T5" fmla="*/ 345 h 746"/>
                    <a:gd name="T6" fmla="*/ 72 w 324"/>
                    <a:gd name="T7" fmla="*/ 344 h 746"/>
                    <a:gd name="T8" fmla="*/ 103 w 324"/>
                    <a:gd name="T9" fmla="*/ 330 h 746"/>
                    <a:gd name="T10" fmla="*/ 74 w 324"/>
                    <a:gd name="T11" fmla="*/ 333 h 746"/>
                    <a:gd name="T12" fmla="*/ 37 w 324"/>
                    <a:gd name="T13" fmla="*/ 332 h 746"/>
                    <a:gd name="T14" fmla="*/ 45 w 324"/>
                    <a:gd name="T15" fmla="*/ 301 h 746"/>
                    <a:gd name="T16" fmla="*/ 68 w 324"/>
                    <a:gd name="T17" fmla="*/ 261 h 746"/>
                    <a:gd name="T18" fmla="*/ 94 w 324"/>
                    <a:gd name="T19" fmla="*/ 261 h 746"/>
                    <a:gd name="T20" fmla="*/ 110 w 324"/>
                    <a:gd name="T21" fmla="*/ 273 h 746"/>
                    <a:gd name="T22" fmla="*/ 123 w 324"/>
                    <a:gd name="T23" fmla="*/ 298 h 746"/>
                    <a:gd name="T24" fmla="*/ 122 w 324"/>
                    <a:gd name="T25" fmla="*/ 277 h 746"/>
                    <a:gd name="T26" fmla="*/ 117 w 324"/>
                    <a:gd name="T27" fmla="*/ 267 h 746"/>
                    <a:gd name="T28" fmla="*/ 117 w 324"/>
                    <a:gd name="T29" fmla="*/ 258 h 746"/>
                    <a:gd name="T30" fmla="*/ 143 w 324"/>
                    <a:gd name="T31" fmla="*/ 248 h 746"/>
                    <a:gd name="T32" fmla="*/ 131 w 324"/>
                    <a:gd name="T33" fmla="*/ 236 h 746"/>
                    <a:gd name="T34" fmla="*/ 101 w 324"/>
                    <a:gd name="T35" fmla="*/ 243 h 746"/>
                    <a:gd name="T36" fmla="*/ 69 w 324"/>
                    <a:gd name="T37" fmla="*/ 233 h 746"/>
                    <a:gd name="T38" fmla="*/ 94 w 324"/>
                    <a:gd name="T39" fmla="*/ 206 h 746"/>
                    <a:gd name="T40" fmla="*/ 131 w 324"/>
                    <a:gd name="T41" fmla="*/ 200 h 746"/>
                    <a:gd name="T42" fmla="*/ 131 w 324"/>
                    <a:gd name="T43" fmla="*/ 193 h 746"/>
                    <a:gd name="T44" fmla="*/ 124 w 324"/>
                    <a:gd name="T45" fmla="*/ 172 h 746"/>
                    <a:gd name="T46" fmla="*/ 141 w 324"/>
                    <a:gd name="T47" fmla="*/ 147 h 746"/>
                    <a:gd name="T48" fmla="*/ 99 w 324"/>
                    <a:gd name="T49" fmla="*/ 192 h 746"/>
                    <a:gd name="T50" fmla="*/ 80 w 324"/>
                    <a:gd name="T51" fmla="*/ 198 h 746"/>
                    <a:gd name="T52" fmla="*/ 81 w 324"/>
                    <a:gd name="T53" fmla="*/ 184 h 746"/>
                    <a:gd name="T54" fmla="*/ 92 w 324"/>
                    <a:gd name="T55" fmla="*/ 153 h 746"/>
                    <a:gd name="T56" fmla="*/ 108 w 324"/>
                    <a:gd name="T57" fmla="*/ 130 h 746"/>
                    <a:gd name="T58" fmla="*/ 132 w 324"/>
                    <a:gd name="T59" fmla="*/ 102 h 746"/>
                    <a:gd name="T60" fmla="*/ 125 w 324"/>
                    <a:gd name="T61" fmla="*/ 98 h 746"/>
                    <a:gd name="T62" fmla="*/ 103 w 324"/>
                    <a:gd name="T63" fmla="*/ 120 h 746"/>
                    <a:gd name="T64" fmla="*/ 86 w 324"/>
                    <a:gd name="T65" fmla="*/ 135 h 746"/>
                    <a:gd name="T66" fmla="*/ 85 w 324"/>
                    <a:gd name="T67" fmla="*/ 121 h 746"/>
                    <a:gd name="T68" fmla="*/ 99 w 324"/>
                    <a:gd name="T69" fmla="*/ 87 h 746"/>
                    <a:gd name="T70" fmla="*/ 146 w 324"/>
                    <a:gd name="T71" fmla="*/ 6 h 746"/>
                    <a:gd name="T72" fmla="*/ 139 w 324"/>
                    <a:gd name="T73" fmla="*/ 0 h 746"/>
                    <a:gd name="T74" fmla="*/ 92 w 324"/>
                    <a:gd name="T75" fmla="*/ 84 h 746"/>
                    <a:gd name="T76" fmla="*/ 93 w 324"/>
                    <a:gd name="T77" fmla="*/ 42 h 746"/>
                    <a:gd name="T78" fmla="*/ 81 w 324"/>
                    <a:gd name="T79" fmla="*/ 98 h 746"/>
                    <a:gd name="T80" fmla="*/ 74 w 324"/>
                    <a:gd name="T81" fmla="*/ 152 h 746"/>
                    <a:gd name="T82" fmla="*/ 67 w 324"/>
                    <a:gd name="T83" fmla="*/ 187 h 746"/>
                    <a:gd name="T84" fmla="*/ 55 w 324"/>
                    <a:gd name="T85" fmla="*/ 192 h 746"/>
                    <a:gd name="T86" fmla="*/ 52 w 324"/>
                    <a:gd name="T87" fmla="*/ 144 h 746"/>
                    <a:gd name="T88" fmla="*/ 61 w 324"/>
                    <a:gd name="T89" fmla="*/ 83 h 746"/>
                    <a:gd name="T90" fmla="*/ 51 w 324"/>
                    <a:gd name="T91" fmla="*/ 75 h 746"/>
                    <a:gd name="T92" fmla="*/ 44 w 324"/>
                    <a:gd name="T93" fmla="*/ 116 h 746"/>
                    <a:gd name="T94" fmla="*/ 44 w 324"/>
                    <a:gd name="T95" fmla="*/ 155 h 746"/>
                    <a:gd name="T96" fmla="*/ 19 w 324"/>
                    <a:gd name="T97" fmla="*/ 127 h 746"/>
                    <a:gd name="T98" fmla="*/ 1 w 324"/>
                    <a:gd name="T99" fmla="*/ 90 h 746"/>
                    <a:gd name="T100" fmla="*/ 10 w 324"/>
                    <a:gd name="T101" fmla="*/ 120 h 746"/>
                    <a:gd name="T102" fmla="*/ 51 w 324"/>
                    <a:gd name="T103" fmla="*/ 219 h 746"/>
                    <a:gd name="T104" fmla="*/ 53 w 324"/>
                    <a:gd name="T105" fmla="*/ 246 h 746"/>
                    <a:gd name="T106" fmla="*/ 45 w 324"/>
                    <a:gd name="T107" fmla="*/ 282 h 746"/>
                    <a:gd name="T108" fmla="*/ 30 w 324"/>
                    <a:gd name="T109" fmla="*/ 317 h 746"/>
                    <a:gd name="T110" fmla="*/ 26 w 324"/>
                    <a:gd name="T111" fmla="*/ 342 h 7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24" h="746">
                      <a:moveTo>
                        <a:pt x="63" y="688"/>
                      </a:moveTo>
                      <a:lnTo>
                        <a:pt x="83" y="694"/>
                      </a:lnTo>
                      <a:lnTo>
                        <a:pt x="104" y="708"/>
                      </a:lnTo>
                      <a:lnTo>
                        <a:pt x="122" y="726"/>
                      </a:lnTo>
                      <a:lnTo>
                        <a:pt x="135" y="746"/>
                      </a:lnTo>
                      <a:lnTo>
                        <a:pt x="151" y="728"/>
                      </a:lnTo>
                      <a:lnTo>
                        <a:pt x="126" y="702"/>
                      </a:lnTo>
                      <a:lnTo>
                        <a:pt x="112" y="690"/>
                      </a:lnTo>
                      <a:lnTo>
                        <a:pt x="96" y="681"/>
                      </a:lnTo>
                      <a:lnTo>
                        <a:pt x="110" y="683"/>
                      </a:lnTo>
                      <a:lnTo>
                        <a:pt x="123" y="683"/>
                      </a:lnTo>
                      <a:lnTo>
                        <a:pt x="150" y="678"/>
                      </a:lnTo>
                      <a:lnTo>
                        <a:pt x="175" y="672"/>
                      </a:lnTo>
                      <a:lnTo>
                        <a:pt x="200" y="670"/>
                      </a:lnTo>
                      <a:lnTo>
                        <a:pt x="215" y="652"/>
                      </a:lnTo>
                      <a:lnTo>
                        <a:pt x="199" y="650"/>
                      </a:lnTo>
                      <a:lnTo>
                        <a:pt x="184" y="651"/>
                      </a:lnTo>
                      <a:lnTo>
                        <a:pt x="152" y="657"/>
                      </a:lnTo>
                      <a:lnTo>
                        <a:pt x="117" y="661"/>
                      </a:lnTo>
                      <a:lnTo>
                        <a:pt x="98" y="660"/>
                      </a:lnTo>
                      <a:lnTo>
                        <a:pt x="77" y="654"/>
                      </a:lnTo>
                      <a:lnTo>
                        <a:pt x="78" y="639"/>
                      </a:lnTo>
                      <a:lnTo>
                        <a:pt x="83" y="623"/>
                      </a:lnTo>
                      <a:lnTo>
                        <a:pt x="94" y="594"/>
                      </a:lnTo>
                      <a:lnTo>
                        <a:pt x="105" y="570"/>
                      </a:lnTo>
                      <a:lnTo>
                        <a:pt x="116" y="550"/>
                      </a:lnTo>
                      <a:lnTo>
                        <a:pt x="141" y="515"/>
                      </a:lnTo>
                      <a:lnTo>
                        <a:pt x="163" y="514"/>
                      </a:lnTo>
                      <a:lnTo>
                        <a:pt x="183" y="513"/>
                      </a:lnTo>
                      <a:lnTo>
                        <a:pt x="194" y="514"/>
                      </a:lnTo>
                      <a:lnTo>
                        <a:pt x="205" y="519"/>
                      </a:lnTo>
                      <a:lnTo>
                        <a:pt x="217" y="527"/>
                      </a:lnTo>
                      <a:lnTo>
                        <a:pt x="229" y="539"/>
                      </a:lnTo>
                      <a:lnTo>
                        <a:pt x="241" y="553"/>
                      </a:lnTo>
                      <a:lnTo>
                        <a:pt x="250" y="569"/>
                      </a:lnTo>
                      <a:lnTo>
                        <a:pt x="255" y="588"/>
                      </a:lnTo>
                      <a:lnTo>
                        <a:pt x="258" y="610"/>
                      </a:lnTo>
                      <a:lnTo>
                        <a:pt x="273" y="597"/>
                      </a:lnTo>
                      <a:lnTo>
                        <a:pt x="254" y="547"/>
                      </a:lnTo>
                      <a:lnTo>
                        <a:pt x="253" y="540"/>
                      </a:lnTo>
                      <a:lnTo>
                        <a:pt x="250" y="535"/>
                      </a:lnTo>
                      <a:lnTo>
                        <a:pt x="243" y="527"/>
                      </a:lnTo>
                      <a:lnTo>
                        <a:pt x="239" y="518"/>
                      </a:lnTo>
                      <a:lnTo>
                        <a:pt x="240" y="514"/>
                      </a:lnTo>
                      <a:lnTo>
                        <a:pt x="244" y="508"/>
                      </a:lnTo>
                      <a:lnTo>
                        <a:pt x="261" y="504"/>
                      </a:lnTo>
                      <a:lnTo>
                        <a:pt x="278" y="497"/>
                      </a:lnTo>
                      <a:lnTo>
                        <a:pt x="297" y="489"/>
                      </a:lnTo>
                      <a:lnTo>
                        <a:pt x="317" y="487"/>
                      </a:lnTo>
                      <a:lnTo>
                        <a:pt x="304" y="460"/>
                      </a:lnTo>
                      <a:lnTo>
                        <a:pt x="272" y="467"/>
                      </a:lnTo>
                      <a:lnTo>
                        <a:pt x="247" y="476"/>
                      </a:lnTo>
                      <a:lnTo>
                        <a:pt x="231" y="479"/>
                      </a:lnTo>
                      <a:lnTo>
                        <a:pt x="209" y="481"/>
                      </a:lnTo>
                      <a:lnTo>
                        <a:pt x="179" y="480"/>
                      </a:lnTo>
                      <a:lnTo>
                        <a:pt x="137" y="476"/>
                      </a:lnTo>
                      <a:lnTo>
                        <a:pt x="144" y="459"/>
                      </a:lnTo>
                      <a:lnTo>
                        <a:pt x="153" y="445"/>
                      </a:lnTo>
                      <a:lnTo>
                        <a:pt x="173" y="422"/>
                      </a:lnTo>
                      <a:lnTo>
                        <a:pt x="194" y="408"/>
                      </a:lnTo>
                      <a:lnTo>
                        <a:pt x="219" y="400"/>
                      </a:lnTo>
                      <a:lnTo>
                        <a:pt x="244" y="396"/>
                      </a:lnTo>
                      <a:lnTo>
                        <a:pt x="271" y="395"/>
                      </a:lnTo>
                      <a:lnTo>
                        <a:pt x="324" y="395"/>
                      </a:lnTo>
                      <a:lnTo>
                        <a:pt x="318" y="382"/>
                      </a:lnTo>
                      <a:lnTo>
                        <a:pt x="271" y="381"/>
                      </a:lnTo>
                      <a:lnTo>
                        <a:pt x="245" y="383"/>
                      </a:lnTo>
                      <a:lnTo>
                        <a:pt x="219" y="386"/>
                      </a:lnTo>
                      <a:lnTo>
                        <a:pt x="257" y="340"/>
                      </a:lnTo>
                      <a:lnTo>
                        <a:pt x="280" y="316"/>
                      </a:lnTo>
                      <a:lnTo>
                        <a:pt x="300" y="301"/>
                      </a:lnTo>
                      <a:lnTo>
                        <a:pt x="292" y="289"/>
                      </a:lnTo>
                      <a:lnTo>
                        <a:pt x="260" y="320"/>
                      </a:lnTo>
                      <a:lnTo>
                        <a:pt x="233" y="352"/>
                      </a:lnTo>
                      <a:lnTo>
                        <a:pt x="204" y="380"/>
                      </a:lnTo>
                      <a:lnTo>
                        <a:pt x="188" y="391"/>
                      </a:lnTo>
                      <a:lnTo>
                        <a:pt x="170" y="400"/>
                      </a:lnTo>
                      <a:lnTo>
                        <a:pt x="165" y="391"/>
                      </a:lnTo>
                      <a:lnTo>
                        <a:pt x="163" y="382"/>
                      </a:lnTo>
                      <a:lnTo>
                        <a:pt x="164" y="373"/>
                      </a:lnTo>
                      <a:lnTo>
                        <a:pt x="168" y="364"/>
                      </a:lnTo>
                      <a:lnTo>
                        <a:pt x="177" y="344"/>
                      </a:lnTo>
                      <a:lnTo>
                        <a:pt x="188" y="321"/>
                      </a:lnTo>
                      <a:lnTo>
                        <a:pt x="191" y="302"/>
                      </a:lnTo>
                      <a:lnTo>
                        <a:pt x="198" y="285"/>
                      </a:lnTo>
                      <a:lnTo>
                        <a:pt x="209" y="270"/>
                      </a:lnTo>
                      <a:lnTo>
                        <a:pt x="223" y="256"/>
                      </a:lnTo>
                      <a:lnTo>
                        <a:pt x="253" y="233"/>
                      </a:lnTo>
                      <a:lnTo>
                        <a:pt x="280" y="217"/>
                      </a:lnTo>
                      <a:lnTo>
                        <a:pt x="274" y="201"/>
                      </a:lnTo>
                      <a:lnTo>
                        <a:pt x="271" y="185"/>
                      </a:lnTo>
                      <a:lnTo>
                        <a:pt x="263" y="188"/>
                      </a:lnTo>
                      <a:lnTo>
                        <a:pt x="259" y="194"/>
                      </a:lnTo>
                      <a:lnTo>
                        <a:pt x="255" y="202"/>
                      </a:lnTo>
                      <a:lnTo>
                        <a:pt x="249" y="210"/>
                      </a:lnTo>
                      <a:lnTo>
                        <a:pt x="214" y="236"/>
                      </a:lnTo>
                      <a:lnTo>
                        <a:pt x="195" y="251"/>
                      </a:lnTo>
                      <a:lnTo>
                        <a:pt x="182" y="266"/>
                      </a:lnTo>
                      <a:lnTo>
                        <a:pt x="178" y="265"/>
                      </a:lnTo>
                      <a:lnTo>
                        <a:pt x="176" y="262"/>
                      </a:lnTo>
                      <a:lnTo>
                        <a:pt x="174" y="252"/>
                      </a:lnTo>
                      <a:lnTo>
                        <a:pt x="177" y="239"/>
                      </a:lnTo>
                      <a:lnTo>
                        <a:pt x="182" y="223"/>
                      </a:lnTo>
                      <a:lnTo>
                        <a:pt x="196" y="190"/>
                      </a:lnTo>
                      <a:lnTo>
                        <a:pt x="206" y="171"/>
                      </a:lnTo>
                      <a:lnTo>
                        <a:pt x="257" y="89"/>
                      </a:lnTo>
                      <a:lnTo>
                        <a:pt x="307" y="4"/>
                      </a:lnTo>
                      <a:lnTo>
                        <a:pt x="302" y="11"/>
                      </a:lnTo>
                      <a:lnTo>
                        <a:pt x="296" y="11"/>
                      </a:lnTo>
                      <a:lnTo>
                        <a:pt x="291" y="6"/>
                      </a:lnTo>
                      <a:lnTo>
                        <a:pt x="288" y="0"/>
                      </a:lnTo>
                      <a:lnTo>
                        <a:pt x="248" y="72"/>
                      </a:lnTo>
                      <a:lnTo>
                        <a:pt x="216" y="128"/>
                      </a:lnTo>
                      <a:lnTo>
                        <a:pt x="191" y="166"/>
                      </a:lnTo>
                      <a:lnTo>
                        <a:pt x="188" y="146"/>
                      </a:lnTo>
                      <a:lnTo>
                        <a:pt x="188" y="127"/>
                      </a:lnTo>
                      <a:lnTo>
                        <a:pt x="193" y="83"/>
                      </a:lnTo>
                      <a:lnTo>
                        <a:pt x="168" y="108"/>
                      </a:lnTo>
                      <a:lnTo>
                        <a:pt x="169" y="166"/>
                      </a:lnTo>
                      <a:lnTo>
                        <a:pt x="167" y="193"/>
                      </a:lnTo>
                      <a:lnTo>
                        <a:pt x="162" y="221"/>
                      </a:lnTo>
                      <a:lnTo>
                        <a:pt x="154" y="271"/>
                      </a:lnTo>
                      <a:lnTo>
                        <a:pt x="152" y="300"/>
                      </a:lnTo>
                      <a:lnTo>
                        <a:pt x="153" y="323"/>
                      </a:lnTo>
                      <a:lnTo>
                        <a:pt x="146" y="345"/>
                      </a:lnTo>
                      <a:lnTo>
                        <a:pt x="140" y="369"/>
                      </a:lnTo>
                      <a:lnTo>
                        <a:pt x="133" y="394"/>
                      </a:lnTo>
                      <a:lnTo>
                        <a:pt x="125" y="418"/>
                      </a:lnTo>
                      <a:lnTo>
                        <a:pt x="114" y="379"/>
                      </a:lnTo>
                      <a:lnTo>
                        <a:pt x="111" y="357"/>
                      </a:lnTo>
                      <a:lnTo>
                        <a:pt x="112" y="339"/>
                      </a:lnTo>
                      <a:lnTo>
                        <a:pt x="108" y="285"/>
                      </a:lnTo>
                      <a:lnTo>
                        <a:pt x="108" y="230"/>
                      </a:lnTo>
                      <a:lnTo>
                        <a:pt x="121" y="187"/>
                      </a:lnTo>
                      <a:lnTo>
                        <a:pt x="126" y="164"/>
                      </a:lnTo>
                      <a:lnTo>
                        <a:pt x="128" y="140"/>
                      </a:lnTo>
                      <a:lnTo>
                        <a:pt x="118" y="145"/>
                      </a:lnTo>
                      <a:lnTo>
                        <a:pt x="107" y="148"/>
                      </a:lnTo>
                      <a:lnTo>
                        <a:pt x="106" y="170"/>
                      </a:lnTo>
                      <a:lnTo>
                        <a:pt x="102" y="188"/>
                      </a:lnTo>
                      <a:lnTo>
                        <a:pt x="92" y="229"/>
                      </a:lnTo>
                      <a:lnTo>
                        <a:pt x="90" y="254"/>
                      </a:lnTo>
                      <a:lnTo>
                        <a:pt x="91" y="280"/>
                      </a:lnTo>
                      <a:lnTo>
                        <a:pt x="90" y="306"/>
                      </a:lnTo>
                      <a:lnTo>
                        <a:pt x="86" y="329"/>
                      </a:lnTo>
                      <a:lnTo>
                        <a:pt x="62" y="293"/>
                      </a:lnTo>
                      <a:lnTo>
                        <a:pt x="40" y="250"/>
                      </a:lnTo>
                      <a:lnTo>
                        <a:pt x="21" y="203"/>
                      </a:lnTo>
                      <a:lnTo>
                        <a:pt x="5" y="158"/>
                      </a:lnTo>
                      <a:lnTo>
                        <a:pt x="3" y="178"/>
                      </a:lnTo>
                      <a:lnTo>
                        <a:pt x="0" y="196"/>
                      </a:lnTo>
                      <a:lnTo>
                        <a:pt x="9" y="211"/>
                      </a:lnTo>
                      <a:lnTo>
                        <a:pt x="22" y="238"/>
                      </a:lnTo>
                      <a:lnTo>
                        <a:pt x="52" y="311"/>
                      </a:lnTo>
                      <a:lnTo>
                        <a:pt x="92" y="413"/>
                      </a:lnTo>
                      <a:lnTo>
                        <a:pt x="105" y="431"/>
                      </a:lnTo>
                      <a:lnTo>
                        <a:pt x="111" y="449"/>
                      </a:lnTo>
                      <a:lnTo>
                        <a:pt x="112" y="467"/>
                      </a:lnTo>
                      <a:lnTo>
                        <a:pt x="109" y="485"/>
                      </a:lnTo>
                      <a:lnTo>
                        <a:pt x="99" y="521"/>
                      </a:lnTo>
                      <a:lnTo>
                        <a:pt x="94" y="539"/>
                      </a:lnTo>
                      <a:lnTo>
                        <a:pt x="93" y="557"/>
                      </a:lnTo>
                      <a:lnTo>
                        <a:pt x="87" y="574"/>
                      </a:lnTo>
                      <a:lnTo>
                        <a:pt x="80" y="590"/>
                      </a:lnTo>
                      <a:lnTo>
                        <a:pt x="62" y="626"/>
                      </a:lnTo>
                      <a:lnTo>
                        <a:pt x="56" y="643"/>
                      </a:lnTo>
                      <a:lnTo>
                        <a:pt x="52" y="660"/>
                      </a:lnTo>
                      <a:lnTo>
                        <a:pt x="55" y="675"/>
                      </a:lnTo>
                      <a:lnTo>
                        <a:pt x="63" y="688"/>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rtlCol="0"/>
                <a:lstStyle/>
                <a:p>
                  <a:pPr rtl="0"/>
                  <a:endParaRPr lang="en-US"/>
                </a:p>
              </p:txBody>
            </p:sp>
            <p:sp>
              <p:nvSpPr>
                <p:cNvPr id="761" name="Freeform 953">
                  <a:extLst>
                    <a:ext uri="{FF2B5EF4-FFF2-40B4-BE49-F238E27FC236}">
                      <a16:creationId xmlns:a16="http://schemas.microsoft.com/office/drawing/2014/main" id="{D399E71C-C734-F12A-2A02-1E7D7D961A30}"/>
                    </a:ext>
                  </a:extLst>
                </p:cNvPr>
                <p:cNvSpPr>
                  <a:spLocks/>
                </p:cNvSpPr>
                <p:nvPr/>
              </p:nvSpPr>
              <p:spPr bwMode="auto">
                <a:xfrm>
                  <a:off x="991" y="1774"/>
                  <a:ext cx="76" cy="260"/>
                </a:xfrm>
                <a:custGeom>
                  <a:avLst/>
                  <a:gdLst>
                    <a:gd name="T0" fmla="*/ 0 w 108"/>
                    <a:gd name="T1" fmla="*/ 0 h 366"/>
                    <a:gd name="T2" fmla="*/ 0 w 108"/>
                    <a:gd name="T3" fmla="*/ 185 h 366"/>
                    <a:gd name="T4" fmla="*/ 18 w 108"/>
                    <a:gd name="T5" fmla="*/ 177 h 366"/>
                    <a:gd name="T6" fmla="*/ 37 w 108"/>
                    <a:gd name="T7" fmla="*/ 167 h 366"/>
                    <a:gd name="T8" fmla="*/ 53 w 108"/>
                    <a:gd name="T9" fmla="*/ 158 h 366"/>
                    <a:gd name="T10" fmla="*/ 49 w 108"/>
                    <a:gd name="T11" fmla="*/ 153 h 366"/>
                    <a:gd name="T12" fmla="*/ 51 w 108"/>
                    <a:gd name="T13" fmla="*/ 147 h 366"/>
                    <a:gd name="T14" fmla="*/ 53 w 108"/>
                    <a:gd name="T15" fmla="*/ 142 h 366"/>
                    <a:gd name="T16" fmla="*/ 53 w 108"/>
                    <a:gd name="T17" fmla="*/ 135 h 366"/>
                    <a:gd name="T18" fmla="*/ 53 w 108"/>
                    <a:gd name="T19" fmla="*/ 129 h 366"/>
                    <a:gd name="T20" fmla="*/ 48 w 108"/>
                    <a:gd name="T21" fmla="*/ 122 h 366"/>
                    <a:gd name="T22" fmla="*/ 43 w 108"/>
                    <a:gd name="T23" fmla="*/ 115 h 366"/>
                    <a:gd name="T24" fmla="*/ 49 w 108"/>
                    <a:gd name="T25" fmla="*/ 107 h 366"/>
                    <a:gd name="T26" fmla="*/ 53 w 108"/>
                    <a:gd name="T27" fmla="*/ 100 h 366"/>
                    <a:gd name="T28" fmla="*/ 48 w 108"/>
                    <a:gd name="T29" fmla="*/ 96 h 366"/>
                    <a:gd name="T30" fmla="*/ 41 w 108"/>
                    <a:gd name="T31" fmla="*/ 93 h 366"/>
                    <a:gd name="T32" fmla="*/ 35 w 108"/>
                    <a:gd name="T33" fmla="*/ 89 h 366"/>
                    <a:gd name="T34" fmla="*/ 34 w 108"/>
                    <a:gd name="T35" fmla="*/ 86 h 366"/>
                    <a:gd name="T36" fmla="*/ 32 w 108"/>
                    <a:gd name="T37" fmla="*/ 82 h 366"/>
                    <a:gd name="T38" fmla="*/ 27 w 108"/>
                    <a:gd name="T39" fmla="*/ 75 h 366"/>
                    <a:gd name="T40" fmla="*/ 24 w 108"/>
                    <a:gd name="T41" fmla="*/ 68 h 366"/>
                    <a:gd name="T42" fmla="*/ 23 w 108"/>
                    <a:gd name="T43" fmla="*/ 62 h 366"/>
                    <a:gd name="T44" fmla="*/ 21 w 108"/>
                    <a:gd name="T45" fmla="*/ 55 h 366"/>
                    <a:gd name="T46" fmla="*/ 20 w 108"/>
                    <a:gd name="T47" fmla="*/ 42 h 366"/>
                    <a:gd name="T48" fmla="*/ 21 w 108"/>
                    <a:gd name="T49" fmla="*/ 24 h 366"/>
                    <a:gd name="T50" fmla="*/ 14 w 108"/>
                    <a:gd name="T51" fmla="*/ 15 h 366"/>
                    <a:gd name="T52" fmla="*/ 8 w 108"/>
                    <a:gd name="T53" fmla="*/ 6 h 366"/>
                    <a:gd name="T54" fmla="*/ 4 w 108"/>
                    <a:gd name="T55" fmla="*/ 2 h 366"/>
                    <a:gd name="T56" fmla="*/ 0 w 108"/>
                    <a:gd name="T57" fmla="*/ 0 h 3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8" h="366">
                      <a:moveTo>
                        <a:pt x="0" y="0"/>
                      </a:moveTo>
                      <a:lnTo>
                        <a:pt x="0" y="366"/>
                      </a:lnTo>
                      <a:lnTo>
                        <a:pt x="36" y="351"/>
                      </a:lnTo>
                      <a:lnTo>
                        <a:pt x="76" y="331"/>
                      </a:lnTo>
                      <a:lnTo>
                        <a:pt x="108" y="313"/>
                      </a:lnTo>
                      <a:lnTo>
                        <a:pt x="100" y="304"/>
                      </a:lnTo>
                      <a:lnTo>
                        <a:pt x="103" y="291"/>
                      </a:lnTo>
                      <a:lnTo>
                        <a:pt x="108" y="282"/>
                      </a:lnTo>
                      <a:lnTo>
                        <a:pt x="106" y="267"/>
                      </a:lnTo>
                      <a:lnTo>
                        <a:pt x="108" y="255"/>
                      </a:lnTo>
                      <a:lnTo>
                        <a:pt x="96" y="242"/>
                      </a:lnTo>
                      <a:lnTo>
                        <a:pt x="86" y="228"/>
                      </a:lnTo>
                      <a:lnTo>
                        <a:pt x="98" y="213"/>
                      </a:lnTo>
                      <a:lnTo>
                        <a:pt x="108" y="198"/>
                      </a:lnTo>
                      <a:lnTo>
                        <a:pt x="96" y="190"/>
                      </a:lnTo>
                      <a:lnTo>
                        <a:pt x="83" y="184"/>
                      </a:lnTo>
                      <a:lnTo>
                        <a:pt x="71" y="176"/>
                      </a:lnTo>
                      <a:lnTo>
                        <a:pt x="68" y="170"/>
                      </a:lnTo>
                      <a:lnTo>
                        <a:pt x="66" y="162"/>
                      </a:lnTo>
                      <a:lnTo>
                        <a:pt x="56" y="149"/>
                      </a:lnTo>
                      <a:lnTo>
                        <a:pt x="49" y="135"/>
                      </a:lnTo>
                      <a:lnTo>
                        <a:pt x="45" y="123"/>
                      </a:lnTo>
                      <a:lnTo>
                        <a:pt x="42" y="110"/>
                      </a:lnTo>
                      <a:lnTo>
                        <a:pt x="41" y="83"/>
                      </a:lnTo>
                      <a:lnTo>
                        <a:pt x="42" y="48"/>
                      </a:lnTo>
                      <a:lnTo>
                        <a:pt x="29" y="30"/>
                      </a:lnTo>
                      <a:lnTo>
                        <a:pt x="15" y="11"/>
                      </a:lnTo>
                      <a:lnTo>
                        <a:pt x="7" y="4"/>
                      </a:lnTo>
                      <a:lnTo>
                        <a:pt x="0" y="0"/>
                      </a:lnTo>
                      <a:close/>
                    </a:path>
                  </a:pathLst>
                </a:custGeom>
                <a:solidFill>
                  <a:srgbClr val="0066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62" name="Freeform 954">
                  <a:extLst>
                    <a:ext uri="{FF2B5EF4-FFF2-40B4-BE49-F238E27FC236}">
                      <a16:creationId xmlns:a16="http://schemas.microsoft.com/office/drawing/2014/main" id="{75C9FFB5-0D15-C44D-2C2A-4AFF18007EA4}"/>
                    </a:ext>
                  </a:extLst>
                </p:cNvPr>
                <p:cNvSpPr>
                  <a:spLocks/>
                </p:cNvSpPr>
                <p:nvPr/>
              </p:nvSpPr>
              <p:spPr bwMode="auto">
                <a:xfrm>
                  <a:off x="991" y="1190"/>
                  <a:ext cx="165" cy="583"/>
                </a:xfrm>
                <a:custGeom>
                  <a:avLst/>
                  <a:gdLst>
                    <a:gd name="T0" fmla="*/ 0 w 235"/>
                    <a:gd name="T1" fmla="*/ 383 h 819"/>
                    <a:gd name="T2" fmla="*/ 13 w 235"/>
                    <a:gd name="T3" fmla="*/ 387 h 819"/>
                    <a:gd name="T4" fmla="*/ 23 w 235"/>
                    <a:gd name="T5" fmla="*/ 395 h 819"/>
                    <a:gd name="T6" fmla="*/ 51 w 235"/>
                    <a:gd name="T7" fmla="*/ 401 h 819"/>
                    <a:gd name="T8" fmla="*/ 61 w 235"/>
                    <a:gd name="T9" fmla="*/ 412 h 819"/>
                    <a:gd name="T10" fmla="*/ 74 w 235"/>
                    <a:gd name="T11" fmla="*/ 415 h 819"/>
                    <a:gd name="T12" fmla="*/ 91 w 235"/>
                    <a:gd name="T13" fmla="*/ 398 h 819"/>
                    <a:gd name="T14" fmla="*/ 106 w 235"/>
                    <a:gd name="T15" fmla="*/ 367 h 819"/>
                    <a:gd name="T16" fmla="*/ 102 w 235"/>
                    <a:gd name="T17" fmla="*/ 358 h 819"/>
                    <a:gd name="T18" fmla="*/ 93 w 235"/>
                    <a:gd name="T19" fmla="*/ 352 h 819"/>
                    <a:gd name="T20" fmla="*/ 85 w 235"/>
                    <a:gd name="T21" fmla="*/ 349 h 819"/>
                    <a:gd name="T22" fmla="*/ 95 w 235"/>
                    <a:gd name="T23" fmla="*/ 347 h 819"/>
                    <a:gd name="T24" fmla="*/ 112 w 235"/>
                    <a:gd name="T25" fmla="*/ 342 h 819"/>
                    <a:gd name="T26" fmla="*/ 113 w 235"/>
                    <a:gd name="T27" fmla="*/ 340 h 819"/>
                    <a:gd name="T28" fmla="*/ 102 w 235"/>
                    <a:gd name="T29" fmla="*/ 332 h 819"/>
                    <a:gd name="T30" fmla="*/ 95 w 235"/>
                    <a:gd name="T31" fmla="*/ 320 h 819"/>
                    <a:gd name="T32" fmla="*/ 105 w 235"/>
                    <a:gd name="T33" fmla="*/ 319 h 819"/>
                    <a:gd name="T34" fmla="*/ 114 w 235"/>
                    <a:gd name="T35" fmla="*/ 315 h 819"/>
                    <a:gd name="T36" fmla="*/ 115 w 235"/>
                    <a:gd name="T37" fmla="*/ 309 h 819"/>
                    <a:gd name="T38" fmla="*/ 102 w 235"/>
                    <a:gd name="T39" fmla="*/ 303 h 819"/>
                    <a:gd name="T40" fmla="*/ 91 w 235"/>
                    <a:gd name="T41" fmla="*/ 295 h 819"/>
                    <a:gd name="T42" fmla="*/ 102 w 235"/>
                    <a:gd name="T43" fmla="*/ 269 h 819"/>
                    <a:gd name="T44" fmla="*/ 100 w 235"/>
                    <a:gd name="T45" fmla="*/ 261 h 819"/>
                    <a:gd name="T46" fmla="*/ 95 w 235"/>
                    <a:gd name="T47" fmla="*/ 258 h 819"/>
                    <a:gd name="T48" fmla="*/ 90 w 235"/>
                    <a:gd name="T49" fmla="*/ 259 h 819"/>
                    <a:gd name="T50" fmla="*/ 88 w 235"/>
                    <a:gd name="T51" fmla="*/ 269 h 819"/>
                    <a:gd name="T52" fmla="*/ 86 w 235"/>
                    <a:gd name="T53" fmla="*/ 259 h 819"/>
                    <a:gd name="T54" fmla="*/ 81 w 235"/>
                    <a:gd name="T55" fmla="*/ 256 h 819"/>
                    <a:gd name="T56" fmla="*/ 92 w 235"/>
                    <a:gd name="T57" fmla="*/ 238 h 819"/>
                    <a:gd name="T58" fmla="*/ 97 w 235"/>
                    <a:gd name="T59" fmla="*/ 222 h 819"/>
                    <a:gd name="T60" fmla="*/ 95 w 235"/>
                    <a:gd name="T61" fmla="*/ 204 h 819"/>
                    <a:gd name="T62" fmla="*/ 90 w 235"/>
                    <a:gd name="T63" fmla="*/ 175 h 819"/>
                    <a:gd name="T64" fmla="*/ 89 w 235"/>
                    <a:gd name="T65" fmla="*/ 150 h 819"/>
                    <a:gd name="T66" fmla="*/ 84 w 235"/>
                    <a:gd name="T67" fmla="*/ 142 h 819"/>
                    <a:gd name="T68" fmla="*/ 69 w 235"/>
                    <a:gd name="T69" fmla="*/ 126 h 819"/>
                    <a:gd name="T70" fmla="*/ 70 w 235"/>
                    <a:gd name="T71" fmla="*/ 123 h 819"/>
                    <a:gd name="T72" fmla="*/ 72 w 235"/>
                    <a:gd name="T73" fmla="*/ 115 h 819"/>
                    <a:gd name="T74" fmla="*/ 68 w 235"/>
                    <a:gd name="T75" fmla="*/ 103 h 819"/>
                    <a:gd name="T76" fmla="*/ 60 w 235"/>
                    <a:gd name="T77" fmla="*/ 96 h 819"/>
                    <a:gd name="T78" fmla="*/ 47 w 235"/>
                    <a:gd name="T79" fmla="*/ 97 h 819"/>
                    <a:gd name="T80" fmla="*/ 34 w 235"/>
                    <a:gd name="T81" fmla="*/ 96 h 819"/>
                    <a:gd name="T82" fmla="*/ 30 w 235"/>
                    <a:gd name="T83" fmla="*/ 91 h 819"/>
                    <a:gd name="T84" fmla="*/ 29 w 235"/>
                    <a:gd name="T85" fmla="*/ 46 h 819"/>
                    <a:gd name="T86" fmla="*/ 25 w 235"/>
                    <a:gd name="T87" fmla="*/ 27 h 819"/>
                    <a:gd name="T88" fmla="*/ 15 w 235"/>
                    <a:gd name="T89" fmla="*/ 11 h 819"/>
                    <a:gd name="T90" fmla="*/ 2 w 235"/>
                    <a:gd name="T91" fmla="*/ 1 h 81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35" h="819">
                      <a:moveTo>
                        <a:pt x="0" y="0"/>
                      </a:moveTo>
                      <a:lnTo>
                        <a:pt x="0" y="756"/>
                      </a:lnTo>
                      <a:lnTo>
                        <a:pt x="14" y="761"/>
                      </a:lnTo>
                      <a:lnTo>
                        <a:pt x="26" y="764"/>
                      </a:lnTo>
                      <a:lnTo>
                        <a:pt x="37" y="771"/>
                      </a:lnTo>
                      <a:lnTo>
                        <a:pt x="47" y="780"/>
                      </a:lnTo>
                      <a:lnTo>
                        <a:pt x="55" y="793"/>
                      </a:lnTo>
                      <a:lnTo>
                        <a:pt x="104" y="793"/>
                      </a:lnTo>
                      <a:lnTo>
                        <a:pt x="114" y="805"/>
                      </a:lnTo>
                      <a:lnTo>
                        <a:pt x="124" y="813"/>
                      </a:lnTo>
                      <a:lnTo>
                        <a:pt x="135" y="817"/>
                      </a:lnTo>
                      <a:lnTo>
                        <a:pt x="149" y="819"/>
                      </a:lnTo>
                      <a:lnTo>
                        <a:pt x="174" y="794"/>
                      </a:lnTo>
                      <a:lnTo>
                        <a:pt x="185" y="785"/>
                      </a:lnTo>
                      <a:lnTo>
                        <a:pt x="194" y="768"/>
                      </a:lnTo>
                      <a:lnTo>
                        <a:pt x="215" y="723"/>
                      </a:lnTo>
                      <a:lnTo>
                        <a:pt x="213" y="714"/>
                      </a:lnTo>
                      <a:lnTo>
                        <a:pt x="207" y="706"/>
                      </a:lnTo>
                      <a:lnTo>
                        <a:pt x="198" y="700"/>
                      </a:lnTo>
                      <a:lnTo>
                        <a:pt x="188" y="695"/>
                      </a:lnTo>
                      <a:lnTo>
                        <a:pt x="173" y="689"/>
                      </a:lnTo>
                      <a:lnTo>
                        <a:pt x="172" y="688"/>
                      </a:lnTo>
                      <a:lnTo>
                        <a:pt x="179" y="687"/>
                      </a:lnTo>
                      <a:lnTo>
                        <a:pt x="194" y="686"/>
                      </a:lnTo>
                      <a:lnTo>
                        <a:pt x="218" y="680"/>
                      </a:lnTo>
                      <a:lnTo>
                        <a:pt x="226" y="676"/>
                      </a:lnTo>
                      <a:lnTo>
                        <a:pt x="229" y="673"/>
                      </a:lnTo>
                      <a:lnTo>
                        <a:pt x="229" y="670"/>
                      </a:lnTo>
                      <a:lnTo>
                        <a:pt x="223" y="663"/>
                      </a:lnTo>
                      <a:lnTo>
                        <a:pt x="207" y="654"/>
                      </a:lnTo>
                      <a:lnTo>
                        <a:pt x="187" y="639"/>
                      </a:lnTo>
                      <a:lnTo>
                        <a:pt x="192" y="632"/>
                      </a:lnTo>
                      <a:lnTo>
                        <a:pt x="198" y="629"/>
                      </a:lnTo>
                      <a:lnTo>
                        <a:pt x="212" y="629"/>
                      </a:lnTo>
                      <a:lnTo>
                        <a:pt x="225" y="629"/>
                      </a:lnTo>
                      <a:lnTo>
                        <a:pt x="231" y="623"/>
                      </a:lnTo>
                      <a:lnTo>
                        <a:pt x="235" y="614"/>
                      </a:lnTo>
                      <a:lnTo>
                        <a:pt x="233" y="609"/>
                      </a:lnTo>
                      <a:lnTo>
                        <a:pt x="227" y="604"/>
                      </a:lnTo>
                      <a:lnTo>
                        <a:pt x="207" y="597"/>
                      </a:lnTo>
                      <a:lnTo>
                        <a:pt x="189" y="588"/>
                      </a:lnTo>
                      <a:lnTo>
                        <a:pt x="185" y="583"/>
                      </a:lnTo>
                      <a:lnTo>
                        <a:pt x="187" y="578"/>
                      </a:lnTo>
                      <a:lnTo>
                        <a:pt x="207" y="531"/>
                      </a:lnTo>
                      <a:lnTo>
                        <a:pt x="206" y="523"/>
                      </a:lnTo>
                      <a:lnTo>
                        <a:pt x="202" y="516"/>
                      </a:lnTo>
                      <a:lnTo>
                        <a:pt x="198" y="510"/>
                      </a:lnTo>
                      <a:lnTo>
                        <a:pt x="193" y="508"/>
                      </a:lnTo>
                      <a:lnTo>
                        <a:pt x="187" y="508"/>
                      </a:lnTo>
                      <a:lnTo>
                        <a:pt x="183" y="512"/>
                      </a:lnTo>
                      <a:lnTo>
                        <a:pt x="180" y="520"/>
                      </a:lnTo>
                      <a:lnTo>
                        <a:pt x="179" y="531"/>
                      </a:lnTo>
                      <a:lnTo>
                        <a:pt x="177" y="519"/>
                      </a:lnTo>
                      <a:lnTo>
                        <a:pt x="174" y="512"/>
                      </a:lnTo>
                      <a:lnTo>
                        <a:pt x="167" y="508"/>
                      </a:lnTo>
                      <a:lnTo>
                        <a:pt x="165" y="505"/>
                      </a:lnTo>
                      <a:lnTo>
                        <a:pt x="167" y="499"/>
                      </a:lnTo>
                      <a:lnTo>
                        <a:pt x="187" y="470"/>
                      </a:lnTo>
                      <a:lnTo>
                        <a:pt x="194" y="455"/>
                      </a:lnTo>
                      <a:lnTo>
                        <a:pt x="196" y="439"/>
                      </a:lnTo>
                      <a:lnTo>
                        <a:pt x="195" y="421"/>
                      </a:lnTo>
                      <a:lnTo>
                        <a:pt x="192" y="403"/>
                      </a:lnTo>
                      <a:lnTo>
                        <a:pt x="184" y="365"/>
                      </a:lnTo>
                      <a:lnTo>
                        <a:pt x="183" y="346"/>
                      </a:lnTo>
                      <a:lnTo>
                        <a:pt x="187" y="327"/>
                      </a:lnTo>
                      <a:lnTo>
                        <a:pt x="181" y="296"/>
                      </a:lnTo>
                      <a:lnTo>
                        <a:pt x="178" y="289"/>
                      </a:lnTo>
                      <a:lnTo>
                        <a:pt x="169" y="280"/>
                      </a:lnTo>
                      <a:lnTo>
                        <a:pt x="143" y="254"/>
                      </a:lnTo>
                      <a:lnTo>
                        <a:pt x="140" y="248"/>
                      </a:lnTo>
                      <a:lnTo>
                        <a:pt x="140" y="246"/>
                      </a:lnTo>
                      <a:lnTo>
                        <a:pt x="142" y="243"/>
                      </a:lnTo>
                      <a:lnTo>
                        <a:pt x="144" y="238"/>
                      </a:lnTo>
                      <a:lnTo>
                        <a:pt x="145" y="227"/>
                      </a:lnTo>
                      <a:lnTo>
                        <a:pt x="141" y="209"/>
                      </a:lnTo>
                      <a:lnTo>
                        <a:pt x="138" y="202"/>
                      </a:lnTo>
                      <a:lnTo>
                        <a:pt x="133" y="196"/>
                      </a:lnTo>
                      <a:lnTo>
                        <a:pt x="122" y="190"/>
                      </a:lnTo>
                      <a:lnTo>
                        <a:pt x="109" y="189"/>
                      </a:lnTo>
                      <a:lnTo>
                        <a:pt x="95" y="191"/>
                      </a:lnTo>
                      <a:lnTo>
                        <a:pt x="81" y="191"/>
                      </a:lnTo>
                      <a:lnTo>
                        <a:pt x="69" y="189"/>
                      </a:lnTo>
                      <a:lnTo>
                        <a:pt x="65" y="185"/>
                      </a:lnTo>
                      <a:lnTo>
                        <a:pt x="61" y="180"/>
                      </a:lnTo>
                      <a:lnTo>
                        <a:pt x="58" y="163"/>
                      </a:lnTo>
                      <a:lnTo>
                        <a:pt x="58" y="91"/>
                      </a:lnTo>
                      <a:lnTo>
                        <a:pt x="56" y="72"/>
                      </a:lnTo>
                      <a:lnTo>
                        <a:pt x="51" y="53"/>
                      </a:lnTo>
                      <a:lnTo>
                        <a:pt x="42" y="37"/>
                      </a:lnTo>
                      <a:lnTo>
                        <a:pt x="31" y="23"/>
                      </a:lnTo>
                      <a:lnTo>
                        <a:pt x="18" y="11"/>
                      </a:lnTo>
                      <a:lnTo>
                        <a:pt x="4" y="2"/>
                      </a:lnTo>
                      <a:lnTo>
                        <a:pt x="0" y="0"/>
                      </a:lnTo>
                      <a:close/>
                    </a:path>
                  </a:pathLst>
                </a:custGeom>
                <a:solidFill>
                  <a:srgbClr val="0066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63" name="Freeform 955">
                  <a:extLst>
                    <a:ext uri="{FF2B5EF4-FFF2-40B4-BE49-F238E27FC236}">
                      <a16:creationId xmlns:a16="http://schemas.microsoft.com/office/drawing/2014/main" id="{D6C54B03-674A-8D25-8F94-496D00483B8B}"/>
                    </a:ext>
                  </a:extLst>
                </p:cNvPr>
                <p:cNvSpPr>
                  <a:spLocks/>
                </p:cNvSpPr>
                <p:nvPr/>
              </p:nvSpPr>
              <p:spPr bwMode="auto">
                <a:xfrm>
                  <a:off x="917" y="1771"/>
                  <a:ext cx="74" cy="269"/>
                </a:xfrm>
                <a:custGeom>
                  <a:avLst/>
                  <a:gdLst>
                    <a:gd name="T0" fmla="*/ 51 w 107"/>
                    <a:gd name="T1" fmla="*/ 187 h 379"/>
                    <a:gd name="T2" fmla="*/ 51 w 107"/>
                    <a:gd name="T3" fmla="*/ 3 h 379"/>
                    <a:gd name="T4" fmla="*/ 50 w 107"/>
                    <a:gd name="T5" fmla="*/ 1 h 379"/>
                    <a:gd name="T6" fmla="*/ 44 w 107"/>
                    <a:gd name="T7" fmla="*/ 0 h 379"/>
                    <a:gd name="T8" fmla="*/ 38 w 107"/>
                    <a:gd name="T9" fmla="*/ 0 h 379"/>
                    <a:gd name="T10" fmla="*/ 27 w 107"/>
                    <a:gd name="T11" fmla="*/ 7 h 379"/>
                    <a:gd name="T12" fmla="*/ 19 w 107"/>
                    <a:gd name="T13" fmla="*/ 16 h 379"/>
                    <a:gd name="T14" fmla="*/ 12 w 107"/>
                    <a:gd name="T15" fmla="*/ 16 h 379"/>
                    <a:gd name="T16" fmla="*/ 4 w 107"/>
                    <a:gd name="T17" fmla="*/ 26 h 379"/>
                    <a:gd name="T18" fmla="*/ 1 w 107"/>
                    <a:gd name="T19" fmla="*/ 33 h 379"/>
                    <a:gd name="T20" fmla="*/ 0 w 107"/>
                    <a:gd name="T21" fmla="*/ 43 h 379"/>
                    <a:gd name="T22" fmla="*/ 1 w 107"/>
                    <a:gd name="T23" fmla="*/ 58 h 379"/>
                    <a:gd name="T24" fmla="*/ 15 w 107"/>
                    <a:gd name="T25" fmla="*/ 55 h 379"/>
                    <a:gd name="T26" fmla="*/ 24 w 107"/>
                    <a:gd name="T27" fmla="*/ 65 h 379"/>
                    <a:gd name="T28" fmla="*/ 33 w 107"/>
                    <a:gd name="T29" fmla="*/ 73 h 379"/>
                    <a:gd name="T30" fmla="*/ 33 w 107"/>
                    <a:gd name="T31" fmla="*/ 82 h 379"/>
                    <a:gd name="T32" fmla="*/ 27 w 107"/>
                    <a:gd name="T33" fmla="*/ 91 h 379"/>
                    <a:gd name="T34" fmla="*/ 29 w 107"/>
                    <a:gd name="T35" fmla="*/ 92 h 379"/>
                    <a:gd name="T36" fmla="*/ 32 w 107"/>
                    <a:gd name="T37" fmla="*/ 93 h 379"/>
                    <a:gd name="T38" fmla="*/ 30 w 107"/>
                    <a:gd name="T39" fmla="*/ 104 h 379"/>
                    <a:gd name="T40" fmla="*/ 30 w 107"/>
                    <a:gd name="T41" fmla="*/ 107 h 379"/>
                    <a:gd name="T42" fmla="*/ 32 w 107"/>
                    <a:gd name="T43" fmla="*/ 111 h 379"/>
                    <a:gd name="T44" fmla="*/ 30 w 107"/>
                    <a:gd name="T45" fmla="*/ 117 h 379"/>
                    <a:gd name="T46" fmla="*/ 27 w 107"/>
                    <a:gd name="T47" fmla="*/ 123 h 379"/>
                    <a:gd name="T48" fmla="*/ 24 w 107"/>
                    <a:gd name="T49" fmla="*/ 130 h 379"/>
                    <a:gd name="T50" fmla="*/ 24 w 107"/>
                    <a:gd name="T51" fmla="*/ 136 h 379"/>
                    <a:gd name="T52" fmla="*/ 20 w 107"/>
                    <a:gd name="T53" fmla="*/ 138 h 379"/>
                    <a:gd name="T54" fmla="*/ 19 w 107"/>
                    <a:gd name="T55" fmla="*/ 140 h 379"/>
                    <a:gd name="T56" fmla="*/ 19 w 107"/>
                    <a:gd name="T57" fmla="*/ 148 h 379"/>
                    <a:gd name="T58" fmla="*/ 23 w 107"/>
                    <a:gd name="T59" fmla="*/ 156 h 379"/>
                    <a:gd name="T60" fmla="*/ 25 w 107"/>
                    <a:gd name="T61" fmla="*/ 165 h 379"/>
                    <a:gd name="T62" fmla="*/ 26 w 107"/>
                    <a:gd name="T63" fmla="*/ 175 h 379"/>
                    <a:gd name="T64" fmla="*/ 27 w 107"/>
                    <a:gd name="T65" fmla="*/ 185 h 379"/>
                    <a:gd name="T66" fmla="*/ 32 w 107"/>
                    <a:gd name="T67" fmla="*/ 191 h 379"/>
                    <a:gd name="T68" fmla="*/ 39 w 107"/>
                    <a:gd name="T69" fmla="*/ 190 h 379"/>
                    <a:gd name="T70" fmla="*/ 48 w 107"/>
                    <a:gd name="T71" fmla="*/ 188 h 379"/>
                    <a:gd name="T72" fmla="*/ 51 w 107"/>
                    <a:gd name="T73" fmla="*/ 187 h 3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7" h="379">
                      <a:moveTo>
                        <a:pt x="107" y="371"/>
                      </a:moveTo>
                      <a:lnTo>
                        <a:pt x="107" y="5"/>
                      </a:lnTo>
                      <a:lnTo>
                        <a:pt x="104" y="3"/>
                      </a:lnTo>
                      <a:lnTo>
                        <a:pt x="93" y="0"/>
                      </a:lnTo>
                      <a:lnTo>
                        <a:pt x="80" y="0"/>
                      </a:lnTo>
                      <a:lnTo>
                        <a:pt x="56" y="14"/>
                      </a:lnTo>
                      <a:lnTo>
                        <a:pt x="39" y="31"/>
                      </a:lnTo>
                      <a:lnTo>
                        <a:pt x="24" y="31"/>
                      </a:lnTo>
                      <a:lnTo>
                        <a:pt x="9" y="52"/>
                      </a:lnTo>
                      <a:lnTo>
                        <a:pt x="2" y="66"/>
                      </a:lnTo>
                      <a:lnTo>
                        <a:pt x="0" y="84"/>
                      </a:lnTo>
                      <a:lnTo>
                        <a:pt x="1" y="115"/>
                      </a:lnTo>
                      <a:lnTo>
                        <a:pt x="31" y="110"/>
                      </a:lnTo>
                      <a:lnTo>
                        <a:pt x="50" y="128"/>
                      </a:lnTo>
                      <a:lnTo>
                        <a:pt x="69" y="145"/>
                      </a:lnTo>
                      <a:lnTo>
                        <a:pt x="69" y="163"/>
                      </a:lnTo>
                      <a:lnTo>
                        <a:pt x="56" y="181"/>
                      </a:lnTo>
                      <a:lnTo>
                        <a:pt x="61" y="183"/>
                      </a:lnTo>
                      <a:lnTo>
                        <a:pt x="66" y="185"/>
                      </a:lnTo>
                      <a:lnTo>
                        <a:pt x="64" y="205"/>
                      </a:lnTo>
                      <a:lnTo>
                        <a:pt x="64" y="213"/>
                      </a:lnTo>
                      <a:lnTo>
                        <a:pt x="66" y="220"/>
                      </a:lnTo>
                      <a:lnTo>
                        <a:pt x="63" y="232"/>
                      </a:lnTo>
                      <a:lnTo>
                        <a:pt x="57" y="245"/>
                      </a:lnTo>
                      <a:lnTo>
                        <a:pt x="51" y="258"/>
                      </a:lnTo>
                      <a:lnTo>
                        <a:pt x="49" y="269"/>
                      </a:lnTo>
                      <a:lnTo>
                        <a:pt x="42" y="274"/>
                      </a:lnTo>
                      <a:lnTo>
                        <a:pt x="39" y="277"/>
                      </a:lnTo>
                      <a:lnTo>
                        <a:pt x="39" y="295"/>
                      </a:lnTo>
                      <a:lnTo>
                        <a:pt x="47" y="310"/>
                      </a:lnTo>
                      <a:lnTo>
                        <a:pt x="52" y="328"/>
                      </a:lnTo>
                      <a:lnTo>
                        <a:pt x="54" y="346"/>
                      </a:lnTo>
                      <a:lnTo>
                        <a:pt x="56" y="366"/>
                      </a:lnTo>
                      <a:lnTo>
                        <a:pt x="66" y="379"/>
                      </a:lnTo>
                      <a:lnTo>
                        <a:pt x="83" y="377"/>
                      </a:lnTo>
                      <a:lnTo>
                        <a:pt x="101" y="373"/>
                      </a:lnTo>
                      <a:lnTo>
                        <a:pt x="107" y="371"/>
                      </a:lnTo>
                      <a:close/>
                    </a:path>
                  </a:pathLst>
                </a:custGeom>
                <a:solidFill>
                  <a:srgbClr val="006600"/>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64" name="Oval 956">
                  <a:extLst>
                    <a:ext uri="{FF2B5EF4-FFF2-40B4-BE49-F238E27FC236}">
                      <a16:creationId xmlns:a16="http://schemas.microsoft.com/office/drawing/2014/main" id="{339EC6D9-2B1D-29FE-A4B2-02DD3C549DA9}"/>
                    </a:ext>
                  </a:extLst>
                </p:cNvPr>
                <p:cNvSpPr>
                  <a:spLocks noChangeArrowheads="1"/>
                </p:cNvSpPr>
                <p:nvPr/>
              </p:nvSpPr>
              <p:spPr bwMode="auto">
                <a:xfrm>
                  <a:off x="557" y="1064"/>
                  <a:ext cx="100"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65" name="Oval 957">
                  <a:extLst>
                    <a:ext uri="{FF2B5EF4-FFF2-40B4-BE49-F238E27FC236}">
                      <a16:creationId xmlns:a16="http://schemas.microsoft.com/office/drawing/2014/main" id="{AB6256F9-CE17-1B38-6AE0-08ADB2511F73}"/>
                    </a:ext>
                  </a:extLst>
                </p:cNvPr>
                <p:cNvSpPr>
                  <a:spLocks noChangeArrowheads="1"/>
                </p:cNvSpPr>
                <p:nvPr/>
              </p:nvSpPr>
              <p:spPr bwMode="auto">
                <a:xfrm>
                  <a:off x="423" y="1133"/>
                  <a:ext cx="100"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66" name="Oval 958">
                  <a:extLst>
                    <a:ext uri="{FF2B5EF4-FFF2-40B4-BE49-F238E27FC236}">
                      <a16:creationId xmlns:a16="http://schemas.microsoft.com/office/drawing/2014/main" id="{CF47015F-3261-2D67-E116-58B9B7516C24}"/>
                    </a:ext>
                  </a:extLst>
                </p:cNvPr>
                <p:cNvSpPr>
                  <a:spLocks noChangeArrowheads="1"/>
                </p:cNvSpPr>
                <p:nvPr/>
              </p:nvSpPr>
              <p:spPr bwMode="auto">
                <a:xfrm>
                  <a:off x="790" y="1098"/>
                  <a:ext cx="101"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67" name="Oval 959">
                  <a:extLst>
                    <a:ext uri="{FF2B5EF4-FFF2-40B4-BE49-F238E27FC236}">
                      <a16:creationId xmlns:a16="http://schemas.microsoft.com/office/drawing/2014/main" id="{D005226B-F9AD-8DD6-7BCC-7D9F1A94C2DF}"/>
                    </a:ext>
                  </a:extLst>
                </p:cNvPr>
                <p:cNvSpPr>
                  <a:spLocks noChangeArrowheads="1"/>
                </p:cNvSpPr>
                <p:nvPr/>
              </p:nvSpPr>
              <p:spPr bwMode="auto">
                <a:xfrm>
                  <a:off x="657" y="1201"/>
                  <a:ext cx="100"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68" name="Oval 960">
                  <a:extLst>
                    <a:ext uri="{FF2B5EF4-FFF2-40B4-BE49-F238E27FC236}">
                      <a16:creationId xmlns:a16="http://schemas.microsoft.com/office/drawing/2014/main" id="{8EA3D594-7218-DA74-9A6F-C83307C5AB9C}"/>
                    </a:ext>
                  </a:extLst>
                </p:cNvPr>
                <p:cNvSpPr>
                  <a:spLocks noChangeArrowheads="1"/>
                </p:cNvSpPr>
                <p:nvPr/>
              </p:nvSpPr>
              <p:spPr bwMode="auto">
                <a:xfrm>
                  <a:off x="256" y="1235"/>
                  <a:ext cx="101"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69" name="Oval 961">
                  <a:extLst>
                    <a:ext uri="{FF2B5EF4-FFF2-40B4-BE49-F238E27FC236}">
                      <a16:creationId xmlns:a16="http://schemas.microsoft.com/office/drawing/2014/main" id="{C6BA3D6E-2AA5-3FD0-8592-3C5837C2E77A}"/>
                    </a:ext>
                  </a:extLst>
                </p:cNvPr>
                <p:cNvSpPr>
                  <a:spLocks noChangeArrowheads="1"/>
                </p:cNvSpPr>
                <p:nvPr/>
              </p:nvSpPr>
              <p:spPr bwMode="auto">
                <a:xfrm>
                  <a:off x="290" y="1816"/>
                  <a:ext cx="100"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0" name="Oval 962">
                  <a:extLst>
                    <a:ext uri="{FF2B5EF4-FFF2-40B4-BE49-F238E27FC236}">
                      <a16:creationId xmlns:a16="http://schemas.microsoft.com/office/drawing/2014/main" id="{E7478CC1-37E9-DFB1-4873-21B282A22061}"/>
                    </a:ext>
                  </a:extLst>
                </p:cNvPr>
                <p:cNvSpPr>
                  <a:spLocks noChangeArrowheads="1"/>
                </p:cNvSpPr>
                <p:nvPr/>
              </p:nvSpPr>
              <p:spPr bwMode="auto">
                <a:xfrm>
                  <a:off x="891" y="1747"/>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1" name="Oval 963">
                  <a:extLst>
                    <a:ext uri="{FF2B5EF4-FFF2-40B4-BE49-F238E27FC236}">
                      <a16:creationId xmlns:a16="http://schemas.microsoft.com/office/drawing/2014/main" id="{6559698B-7D62-F114-CD32-0B152A567BAB}"/>
                    </a:ext>
                  </a:extLst>
                </p:cNvPr>
                <p:cNvSpPr>
                  <a:spLocks noChangeArrowheads="1"/>
                </p:cNvSpPr>
                <p:nvPr/>
              </p:nvSpPr>
              <p:spPr bwMode="auto">
                <a:xfrm>
                  <a:off x="457" y="1714"/>
                  <a:ext cx="100"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2" name="Freeform 964">
                  <a:extLst>
                    <a:ext uri="{FF2B5EF4-FFF2-40B4-BE49-F238E27FC236}">
                      <a16:creationId xmlns:a16="http://schemas.microsoft.com/office/drawing/2014/main" id="{5ACB809A-47F2-7B8A-FFBF-B23B16CD8AB2}"/>
                    </a:ext>
                  </a:extLst>
                </p:cNvPr>
                <p:cNvSpPr>
                  <a:spLocks/>
                </p:cNvSpPr>
                <p:nvPr/>
              </p:nvSpPr>
              <p:spPr bwMode="auto">
                <a:xfrm>
                  <a:off x="357" y="1724"/>
                  <a:ext cx="578" cy="1271"/>
                </a:xfrm>
                <a:custGeom>
                  <a:avLst/>
                  <a:gdLst>
                    <a:gd name="T0" fmla="*/ 207 w 831"/>
                    <a:gd name="T1" fmla="*/ 713 h 1785"/>
                    <a:gd name="T2" fmla="*/ 205 w 831"/>
                    <a:gd name="T3" fmla="*/ 515 h 1785"/>
                    <a:gd name="T4" fmla="*/ 269 w 831"/>
                    <a:gd name="T5" fmla="*/ 431 h 1785"/>
                    <a:gd name="T6" fmla="*/ 303 w 831"/>
                    <a:gd name="T7" fmla="*/ 414 h 1785"/>
                    <a:gd name="T8" fmla="*/ 302 w 831"/>
                    <a:gd name="T9" fmla="*/ 394 h 1785"/>
                    <a:gd name="T10" fmla="*/ 207 w 831"/>
                    <a:gd name="T11" fmla="*/ 434 h 1785"/>
                    <a:gd name="T12" fmla="*/ 244 w 831"/>
                    <a:gd name="T13" fmla="*/ 367 h 1785"/>
                    <a:gd name="T14" fmla="*/ 305 w 831"/>
                    <a:gd name="T15" fmla="*/ 368 h 1785"/>
                    <a:gd name="T16" fmla="*/ 318 w 831"/>
                    <a:gd name="T17" fmla="*/ 344 h 1785"/>
                    <a:gd name="T18" fmla="*/ 293 w 831"/>
                    <a:gd name="T19" fmla="*/ 334 h 1785"/>
                    <a:gd name="T20" fmla="*/ 324 w 831"/>
                    <a:gd name="T21" fmla="*/ 260 h 1785"/>
                    <a:gd name="T22" fmla="*/ 369 w 831"/>
                    <a:gd name="T23" fmla="*/ 298 h 1785"/>
                    <a:gd name="T24" fmla="*/ 362 w 831"/>
                    <a:gd name="T25" fmla="*/ 260 h 1785"/>
                    <a:gd name="T26" fmla="*/ 364 w 831"/>
                    <a:gd name="T27" fmla="*/ 241 h 1785"/>
                    <a:gd name="T28" fmla="*/ 339 w 831"/>
                    <a:gd name="T29" fmla="*/ 207 h 1785"/>
                    <a:gd name="T30" fmla="*/ 351 w 831"/>
                    <a:gd name="T31" fmla="*/ 196 h 1785"/>
                    <a:gd name="T32" fmla="*/ 336 w 831"/>
                    <a:gd name="T33" fmla="*/ 198 h 1785"/>
                    <a:gd name="T34" fmla="*/ 337 w 831"/>
                    <a:gd name="T35" fmla="*/ 153 h 1785"/>
                    <a:gd name="T36" fmla="*/ 373 w 831"/>
                    <a:gd name="T37" fmla="*/ 95 h 1785"/>
                    <a:gd name="T38" fmla="*/ 330 w 831"/>
                    <a:gd name="T39" fmla="*/ 133 h 1785"/>
                    <a:gd name="T40" fmla="*/ 392 w 831"/>
                    <a:gd name="T41" fmla="*/ 6 h 1785"/>
                    <a:gd name="T42" fmla="*/ 336 w 831"/>
                    <a:gd name="T43" fmla="*/ 64 h 1785"/>
                    <a:gd name="T44" fmla="*/ 320 w 831"/>
                    <a:gd name="T45" fmla="*/ 164 h 1785"/>
                    <a:gd name="T46" fmla="*/ 298 w 831"/>
                    <a:gd name="T47" fmla="*/ 145 h 1785"/>
                    <a:gd name="T48" fmla="*/ 295 w 831"/>
                    <a:gd name="T49" fmla="*/ 95 h 1785"/>
                    <a:gd name="T50" fmla="*/ 255 w 831"/>
                    <a:gd name="T51" fmla="*/ 103 h 1785"/>
                    <a:gd name="T52" fmla="*/ 294 w 831"/>
                    <a:gd name="T53" fmla="*/ 216 h 1785"/>
                    <a:gd name="T54" fmla="*/ 252 w 831"/>
                    <a:gd name="T55" fmla="*/ 340 h 1785"/>
                    <a:gd name="T56" fmla="*/ 207 w 831"/>
                    <a:gd name="T57" fmla="*/ 344 h 1785"/>
                    <a:gd name="T58" fmla="*/ 249 w 831"/>
                    <a:gd name="T59" fmla="*/ 155 h 1785"/>
                    <a:gd name="T60" fmla="*/ 230 w 831"/>
                    <a:gd name="T61" fmla="*/ 111 h 1785"/>
                    <a:gd name="T62" fmla="*/ 241 w 831"/>
                    <a:gd name="T63" fmla="*/ 147 h 1785"/>
                    <a:gd name="T64" fmla="*/ 224 w 831"/>
                    <a:gd name="T65" fmla="*/ 261 h 1785"/>
                    <a:gd name="T66" fmla="*/ 211 w 831"/>
                    <a:gd name="T67" fmla="*/ 202 h 1785"/>
                    <a:gd name="T68" fmla="*/ 211 w 831"/>
                    <a:gd name="T69" fmla="*/ 306 h 1785"/>
                    <a:gd name="T70" fmla="*/ 161 w 831"/>
                    <a:gd name="T71" fmla="*/ 354 h 1785"/>
                    <a:gd name="T72" fmla="*/ 140 w 831"/>
                    <a:gd name="T73" fmla="*/ 314 h 1785"/>
                    <a:gd name="T74" fmla="*/ 191 w 831"/>
                    <a:gd name="T75" fmla="*/ 220 h 1785"/>
                    <a:gd name="T76" fmla="*/ 172 w 831"/>
                    <a:gd name="T77" fmla="*/ 233 h 1785"/>
                    <a:gd name="T78" fmla="*/ 129 w 831"/>
                    <a:gd name="T79" fmla="*/ 226 h 1785"/>
                    <a:gd name="T80" fmla="*/ 131 w 831"/>
                    <a:gd name="T81" fmla="*/ 284 h 1785"/>
                    <a:gd name="T82" fmla="*/ 95 w 831"/>
                    <a:gd name="T83" fmla="*/ 242 h 1785"/>
                    <a:gd name="T84" fmla="*/ 86 w 831"/>
                    <a:gd name="T85" fmla="*/ 213 h 1785"/>
                    <a:gd name="T86" fmla="*/ 30 w 831"/>
                    <a:gd name="T87" fmla="*/ 232 h 1785"/>
                    <a:gd name="T88" fmla="*/ 33 w 831"/>
                    <a:gd name="T89" fmla="*/ 246 h 1785"/>
                    <a:gd name="T90" fmla="*/ 102 w 831"/>
                    <a:gd name="T91" fmla="*/ 295 h 1785"/>
                    <a:gd name="T92" fmla="*/ 40 w 831"/>
                    <a:gd name="T93" fmla="*/ 325 h 1785"/>
                    <a:gd name="T94" fmla="*/ 105 w 831"/>
                    <a:gd name="T95" fmla="*/ 321 h 1785"/>
                    <a:gd name="T96" fmla="*/ 152 w 831"/>
                    <a:gd name="T97" fmla="*/ 370 h 1785"/>
                    <a:gd name="T98" fmla="*/ 168 w 831"/>
                    <a:gd name="T99" fmla="*/ 478 h 1785"/>
                    <a:gd name="T100" fmla="*/ 117 w 831"/>
                    <a:gd name="T101" fmla="*/ 425 h 1785"/>
                    <a:gd name="T102" fmla="*/ 174 w 831"/>
                    <a:gd name="T103" fmla="*/ 617 h 1785"/>
                    <a:gd name="T104" fmla="*/ 163 w 831"/>
                    <a:gd name="T105" fmla="*/ 811 h 1785"/>
                    <a:gd name="T106" fmla="*/ 115 w 831"/>
                    <a:gd name="T107" fmla="*/ 904 h 1785"/>
                    <a:gd name="T108" fmla="*/ 179 w 831"/>
                    <a:gd name="T109" fmla="*/ 905 h 1785"/>
                    <a:gd name="T110" fmla="*/ 235 w 831"/>
                    <a:gd name="T111" fmla="*/ 905 h 17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31" h="1785">
                      <a:moveTo>
                        <a:pt x="450" y="1709"/>
                      </a:moveTo>
                      <a:lnTo>
                        <a:pt x="454" y="1666"/>
                      </a:lnTo>
                      <a:lnTo>
                        <a:pt x="453" y="1623"/>
                      </a:lnTo>
                      <a:lnTo>
                        <a:pt x="448" y="1580"/>
                      </a:lnTo>
                      <a:lnTo>
                        <a:pt x="441" y="1536"/>
                      </a:lnTo>
                      <a:lnTo>
                        <a:pt x="435" y="1492"/>
                      </a:lnTo>
                      <a:lnTo>
                        <a:pt x="430" y="1449"/>
                      </a:lnTo>
                      <a:lnTo>
                        <a:pt x="429" y="1407"/>
                      </a:lnTo>
                      <a:lnTo>
                        <a:pt x="433" y="1366"/>
                      </a:lnTo>
                      <a:lnTo>
                        <a:pt x="438" y="1322"/>
                      </a:lnTo>
                      <a:lnTo>
                        <a:pt x="438" y="1278"/>
                      </a:lnTo>
                      <a:lnTo>
                        <a:pt x="435" y="1234"/>
                      </a:lnTo>
                      <a:lnTo>
                        <a:pt x="431" y="1189"/>
                      </a:lnTo>
                      <a:lnTo>
                        <a:pt x="422" y="1101"/>
                      </a:lnTo>
                      <a:lnTo>
                        <a:pt x="421" y="1057"/>
                      </a:lnTo>
                      <a:lnTo>
                        <a:pt x="424" y="1015"/>
                      </a:lnTo>
                      <a:lnTo>
                        <a:pt x="427" y="979"/>
                      </a:lnTo>
                      <a:lnTo>
                        <a:pt x="432" y="945"/>
                      </a:lnTo>
                      <a:lnTo>
                        <a:pt x="437" y="930"/>
                      </a:lnTo>
                      <a:lnTo>
                        <a:pt x="445" y="915"/>
                      </a:lnTo>
                      <a:lnTo>
                        <a:pt x="456" y="903"/>
                      </a:lnTo>
                      <a:lnTo>
                        <a:pt x="472" y="891"/>
                      </a:lnTo>
                      <a:lnTo>
                        <a:pt x="525" y="862"/>
                      </a:lnTo>
                      <a:lnTo>
                        <a:pt x="557" y="849"/>
                      </a:lnTo>
                      <a:lnTo>
                        <a:pt x="570" y="846"/>
                      </a:lnTo>
                      <a:lnTo>
                        <a:pt x="582" y="846"/>
                      </a:lnTo>
                      <a:lnTo>
                        <a:pt x="596" y="847"/>
                      </a:lnTo>
                      <a:lnTo>
                        <a:pt x="609" y="844"/>
                      </a:lnTo>
                      <a:lnTo>
                        <a:pt x="625" y="832"/>
                      </a:lnTo>
                      <a:lnTo>
                        <a:pt x="652" y="809"/>
                      </a:lnTo>
                      <a:lnTo>
                        <a:pt x="643" y="800"/>
                      </a:lnTo>
                      <a:lnTo>
                        <a:pt x="626" y="817"/>
                      </a:lnTo>
                      <a:lnTo>
                        <a:pt x="606" y="832"/>
                      </a:lnTo>
                      <a:lnTo>
                        <a:pt x="599" y="835"/>
                      </a:lnTo>
                      <a:lnTo>
                        <a:pt x="593" y="833"/>
                      </a:lnTo>
                      <a:lnTo>
                        <a:pt x="592" y="826"/>
                      </a:lnTo>
                      <a:lnTo>
                        <a:pt x="595" y="812"/>
                      </a:lnTo>
                      <a:lnTo>
                        <a:pt x="612" y="798"/>
                      </a:lnTo>
                      <a:lnTo>
                        <a:pt x="632" y="786"/>
                      </a:lnTo>
                      <a:lnTo>
                        <a:pt x="624" y="776"/>
                      </a:lnTo>
                      <a:lnTo>
                        <a:pt x="615" y="784"/>
                      </a:lnTo>
                      <a:lnTo>
                        <a:pt x="603" y="792"/>
                      </a:lnTo>
                      <a:lnTo>
                        <a:pt x="590" y="801"/>
                      </a:lnTo>
                      <a:lnTo>
                        <a:pt x="581" y="815"/>
                      </a:lnTo>
                      <a:lnTo>
                        <a:pt x="505" y="853"/>
                      </a:lnTo>
                      <a:lnTo>
                        <a:pt x="429" y="888"/>
                      </a:lnTo>
                      <a:lnTo>
                        <a:pt x="430" y="870"/>
                      </a:lnTo>
                      <a:lnTo>
                        <a:pt x="428" y="856"/>
                      </a:lnTo>
                      <a:lnTo>
                        <a:pt x="424" y="843"/>
                      </a:lnTo>
                      <a:lnTo>
                        <a:pt x="427" y="827"/>
                      </a:lnTo>
                      <a:lnTo>
                        <a:pt x="440" y="805"/>
                      </a:lnTo>
                      <a:lnTo>
                        <a:pt x="451" y="781"/>
                      </a:lnTo>
                      <a:lnTo>
                        <a:pt x="465" y="758"/>
                      </a:lnTo>
                      <a:lnTo>
                        <a:pt x="474" y="749"/>
                      </a:lnTo>
                      <a:lnTo>
                        <a:pt x="485" y="741"/>
                      </a:lnTo>
                      <a:lnTo>
                        <a:pt x="504" y="725"/>
                      </a:lnTo>
                      <a:lnTo>
                        <a:pt x="524" y="706"/>
                      </a:lnTo>
                      <a:lnTo>
                        <a:pt x="535" y="697"/>
                      </a:lnTo>
                      <a:lnTo>
                        <a:pt x="547" y="690"/>
                      </a:lnTo>
                      <a:lnTo>
                        <a:pt x="558" y="687"/>
                      </a:lnTo>
                      <a:lnTo>
                        <a:pt x="570" y="688"/>
                      </a:lnTo>
                      <a:lnTo>
                        <a:pt x="590" y="694"/>
                      </a:lnTo>
                      <a:lnTo>
                        <a:pt x="611" y="708"/>
                      </a:lnTo>
                      <a:lnTo>
                        <a:pt x="630" y="726"/>
                      </a:lnTo>
                      <a:lnTo>
                        <a:pt x="642" y="746"/>
                      </a:lnTo>
                      <a:lnTo>
                        <a:pt x="658" y="727"/>
                      </a:lnTo>
                      <a:lnTo>
                        <a:pt x="634" y="702"/>
                      </a:lnTo>
                      <a:lnTo>
                        <a:pt x="619" y="690"/>
                      </a:lnTo>
                      <a:lnTo>
                        <a:pt x="604" y="680"/>
                      </a:lnTo>
                      <a:lnTo>
                        <a:pt x="617" y="683"/>
                      </a:lnTo>
                      <a:lnTo>
                        <a:pt x="630" y="683"/>
                      </a:lnTo>
                      <a:lnTo>
                        <a:pt x="657" y="678"/>
                      </a:lnTo>
                      <a:lnTo>
                        <a:pt x="682" y="672"/>
                      </a:lnTo>
                      <a:lnTo>
                        <a:pt x="707" y="670"/>
                      </a:lnTo>
                      <a:lnTo>
                        <a:pt x="722" y="652"/>
                      </a:lnTo>
                      <a:lnTo>
                        <a:pt x="707" y="650"/>
                      </a:lnTo>
                      <a:lnTo>
                        <a:pt x="691" y="650"/>
                      </a:lnTo>
                      <a:lnTo>
                        <a:pt x="659" y="656"/>
                      </a:lnTo>
                      <a:lnTo>
                        <a:pt x="625" y="661"/>
                      </a:lnTo>
                      <a:lnTo>
                        <a:pt x="605" y="659"/>
                      </a:lnTo>
                      <a:lnTo>
                        <a:pt x="585" y="654"/>
                      </a:lnTo>
                      <a:lnTo>
                        <a:pt x="585" y="639"/>
                      </a:lnTo>
                      <a:lnTo>
                        <a:pt x="590" y="622"/>
                      </a:lnTo>
                      <a:lnTo>
                        <a:pt x="601" y="594"/>
                      </a:lnTo>
                      <a:lnTo>
                        <a:pt x="612" y="569"/>
                      </a:lnTo>
                      <a:lnTo>
                        <a:pt x="623" y="550"/>
                      </a:lnTo>
                      <a:lnTo>
                        <a:pt x="649" y="514"/>
                      </a:lnTo>
                      <a:lnTo>
                        <a:pt x="670" y="513"/>
                      </a:lnTo>
                      <a:lnTo>
                        <a:pt x="691" y="512"/>
                      </a:lnTo>
                      <a:lnTo>
                        <a:pt x="701" y="514"/>
                      </a:lnTo>
                      <a:lnTo>
                        <a:pt x="712" y="519"/>
                      </a:lnTo>
                      <a:lnTo>
                        <a:pt x="724" y="527"/>
                      </a:lnTo>
                      <a:lnTo>
                        <a:pt x="736" y="539"/>
                      </a:lnTo>
                      <a:lnTo>
                        <a:pt x="748" y="553"/>
                      </a:lnTo>
                      <a:lnTo>
                        <a:pt x="757" y="569"/>
                      </a:lnTo>
                      <a:lnTo>
                        <a:pt x="763" y="587"/>
                      </a:lnTo>
                      <a:lnTo>
                        <a:pt x="765" y="609"/>
                      </a:lnTo>
                      <a:lnTo>
                        <a:pt x="780" y="596"/>
                      </a:lnTo>
                      <a:lnTo>
                        <a:pt x="761" y="547"/>
                      </a:lnTo>
                      <a:lnTo>
                        <a:pt x="760" y="540"/>
                      </a:lnTo>
                      <a:lnTo>
                        <a:pt x="758" y="535"/>
                      </a:lnTo>
                      <a:lnTo>
                        <a:pt x="751" y="527"/>
                      </a:lnTo>
                      <a:lnTo>
                        <a:pt x="746" y="518"/>
                      </a:lnTo>
                      <a:lnTo>
                        <a:pt x="747" y="513"/>
                      </a:lnTo>
                      <a:lnTo>
                        <a:pt x="751" y="507"/>
                      </a:lnTo>
                      <a:lnTo>
                        <a:pt x="768" y="504"/>
                      </a:lnTo>
                      <a:lnTo>
                        <a:pt x="786" y="497"/>
                      </a:lnTo>
                      <a:lnTo>
                        <a:pt x="804" y="489"/>
                      </a:lnTo>
                      <a:lnTo>
                        <a:pt x="824" y="487"/>
                      </a:lnTo>
                      <a:lnTo>
                        <a:pt x="811" y="460"/>
                      </a:lnTo>
                      <a:lnTo>
                        <a:pt x="779" y="467"/>
                      </a:lnTo>
                      <a:lnTo>
                        <a:pt x="754" y="476"/>
                      </a:lnTo>
                      <a:lnTo>
                        <a:pt x="739" y="479"/>
                      </a:lnTo>
                      <a:lnTo>
                        <a:pt x="716" y="481"/>
                      </a:lnTo>
                      <a:lnTo>
                        <a:pt x="686" y="480"/>
                      </a:lnTo>
                      <a:lnTo>
                        <a:pt x="644" y="476"/>
                      </a:lnTo>
                      <a:lnTo>
                        <a:pt x="652" y="459"/>
                      </a:lnTo>
                      <a:lnTo>
                        <a:pt x="661" y="445"/>
                      </a:lnTo>
                      <a:lnTo>
                        <a:pt x="680" y="422"/>
                      </a:lnTo>
                      <a:lnTo>
                        <a:pt x="702" y="408"/>
                      </a:lnTo>
                      <a:lnTo>
                        <a:pt x="726" y="400"/>
                      </a:lnTo>
                      <a:lnTo>
                        <a:pt x="751" y="396"/>
                      </a:lnTo>
                      <a:lnTo>
                        <a:pt x="778" y="395"/>
                      </a:lnTo>
                      <a:lnTo>
                        <a:pt x="831" y="394"/>
                      </a:lnTo>
                      <a:lnTo>
                        <a:pt x="825" y="381"/>
                      </a:lnTo>
                      <a:lnTo>
                        <a:pt x="778" y="381"/>
                      </a:lnTo>
                      <a:lnTo>
                        <a:pt x="752" y="383"/>
                      </a:lnTo>
                      <a:lnTo>
                        <a:pt x="726" y="386"/>
                      </a:lnTo>
                      <a:lnTo>
                        <a:pt x="764" y="340"/>
                      </a:lnTo>
                      <a:lnTo>
                        <a:pt x="787" y="316"/>
                      </a:lnTo>
                      <a:lnTo>
                        <a:pt x="808" y="300"/>
                      </a:lnTo>
                      <a:lnTo>
                        <a:pt x="799" y="289"/>
                      </a:lnTo>
                      <a:lnTo>
                        <a:pt x="768" y="320"/>
                      </a:lnTo>
                      <a:lnTo>
                        <a:pt x="740" y="352"/>
                      </a:lnTo>
                      <a:lnTo>
                        <a:pt x="711" y="379"/>
                      </a:lnTo>
                      <a:lnTo>
                        <a:pt x="695" y="391"/>
                      </a:lnTo>
                      <a:lnTo>
                        <a:pt x="677" y="400"/>
                      </a:lnTo>
                      <a:lnTo>
                        <a:pt x="672" y="391"/>
                      </a:lnTo>
                      <a:lnTo>
                        <a:pt x="670" y="381"/>
                      </a:lnTo>
                      <a:lnTo>
                        <a:pt x="671" y="372"/>
                      </a:lnTo>
                      <a:lnTo>
                        <a:pt x="675" y="364"/>
                      </a:lnTo>
                      <a:lnTo>
                        <a:pt x="684" y="344"/>
                      </a:lnTo>
                      <a:lnTo>
                        <a:pt x="696" y="321"/>
                      </a:lnTo>
                      <a:lnTo>
                        <a:pt x="698" y="302"/>
                      </a:lnTo>
                      <a:lnTo>
                        <a:pt x="706" y="285"/>
                      </a:lnTo>
                      <a:lnTo>
                        <a:pt x="716" y="270"/>
                      </a:lnTo>
                      <a:lnTo>
                        <a:pt x="730" y="256"/>
                      </a:lnTo>
                      <a:lnTo>
                        <a:pt x="760" y="233"/>
                      </a:lnTo>
                      <a:lnTo>
                        <a:pt x="787" y="216"/>
                      </a:lnTo>
                      <a:lnTo>
                        <a:pt x="781" y="201"/>
                      </a:lnTo>
                      <a:lnTo>
                        <a:pt x="779" y="185"/>
                      </a:lnTo>
                      <a:lnTo>
                        <a:pt x="770" y="188"/>
                      </a:lnTo>
                      <a:lnTo>
                        <a:pt x="766" y="194"/>
                      </a:lnTo>
                      <a:lnTo>
                        <a:pt x="763" y="202"/>
                      </a:lnTo>
                      <a:lnTo>
                        <a:pt x="756" y="210"/>
                      </a:lnTo>
                      <a:lnTo>
                        <a:pt x="721" y="235"/>
                      </a:lnTo>
                      <a:lnTo>
                        <a:pt x="702" y="251"/>
                      </a:lnTo>
                      <a:lnTo>
                        <a:pt x="689" y="266"/>
                      </a:lnTo>
                      <a:lnTo>
                        <a:pt x="685" y="264"/>
                      </a:lnTo>
                      <a:lnTo>
                        <a:pt x="683" y="262"/>
                      </a:lnTo>
                      <a:lnTo>
                        <a:pt x="682" y="252"/>
                      </a:lnTo>
                      <a:lnTo>
                        <a:pt x="684" y="238"/>
                      </a:lnTo>
                      <a:lnTo>
                        <a:pt x="689" y="223"/>
                      </a:lnTo>
                      <a:lnTo>
                        <a:pt x="703" y="190"/>
                      </a:lnTo>
                      <a:lnTo>
                        <a:pt x="713" y="170"/>
                      </a:lnTo>
                      <a:lnTo>
                        <a:pt x="764" y="89"/>
                      </a:lnTo>
                      <a:lnTo>
                        <a:pt x="815" y="4"/>
                      </a:lnTo>
                      <a:lnTo>
                        <a:pt x="809" y="11"/>
                      </a:lnTo>
                      <a:lnTo>
                        <a:pt x="803" y="11"/>
                      </a:lnTo>
                      <a:lnTo>
                        <a:pt x="798" y="6"/>
                      </a:lnTo>
                      <a:lnTo>
                        <a:pt x="795" y="0"/>
                      </a:lnTo>
                      <a:lnTo>
                        <a:pt x="755" y="72"/>
                      </a:lnTo>
                      <a:lnTo>
                        <a:pt x="723" y="127"/>
                      </a:lnTo>
                      <a:lnTo>
                        <a:pt x="698" y="166"/>
                      </a:lnTo>
                      <a:lnTo>
                        <a:pt x="695" y="146"/>
                      </a:lnTo>
                      <a:lnTo>
                        <a:pt x="695" y="127"/>
                      </a:lnTo>
                      <a:lnTo>
                        <a:pt x="700" y="83"/>
                      </a:lnTo>
                      <a:lnTo>
                        <a:pt x="676" y="108"/>
                      </a:lnTo>
                      <a:lnTo>
                        <a:pt x="676" y="166"/>
                      </a:lnTo>
                      <a:lnTo>
                        <a:pt x="674" y="193"/>
                      </a:lnTo>
                      <a:lnTo>
                        <a:pt x="669" y="221"/>
                      </a:lnTo>
                      <a:lnTo>
                        <a:pt x="661" y="271"/>
                      </a:lnTo>
                      <a:lnTo>
                        <a:pt x="659" y="299"/>
                      </a:lnTo>
                      <a:lnTo>
                        <a:pt x="661" y="323"/>
                      </a:lnTo>
                      <a:lnTo>
                        <a:pt x="653" y="345"/>
                      </a:lnTo>
                      <a:lnTo>
                        <a:pt x="647" y="369"/>
                      </a:lnTo>
                      <a:lnTo>
                        <a:pt x="640" y="393"/>
                      </a:lnTo>
                      <a:lnTo>
                        <a:pt x="632" y="418"/>
                      </a:lnTo>
                      <a:lnTo>
                        <a:pt x="621" y="378"/>
                      </a:lnTo>
                      <a:lnTo>
                        <a:pt x="618" y="356"/>
                      </a:lnTo>
                      <a:lnTo>
                        <a:pt x="620" y="339"/>
                      </a:lnTo>
                      <a:lnTo>
                        <a:pt x="615" y="285"/>
                      </a:lnTo>
                      <a:lnTo>
                        <a:pt x="615" y="230"/>
                      </a:lnTo>
                      <a:lnTo>
                        <a:pt x="628" y="187"/>
                      </a:lnTo>
                      <a:lnTo>
                        <a:pt x="634" y="164"/>
                      </a:lnTo>
                      <a:lnTo>
                        <a:pt x="635" y="140"/>
                      </a:lnTo>
                      <a:lnTo>
                        <a:pt x="625" y="145"/>
                      </a:lnTo>
                      <a:lnTo>
                        <a:pt x="615" y="148"/>
                      </a:lnTo>
                      <a:lnTo>
                        <a:pt x="613" y="169"/>
                      </a:lnTo>
                      <a:lnTo>
                        <a:pt x="609" y="188"/>
                      </a:lnTo>
                      <a:lnTo>
                        <a:pt x="599" y="229"/>
                      </a:lnTo>
                      <a:lnTo>
                        <a:pt x="597" y="253"/>
                      </a:lnTo>
                      <a:lnTo>
                        <a:pt x="598" y="280"/>
                      </a:lnTo>
                      <a:lnTo>
                        <a:pt x="597" y="305"/>
                      </a:lnTo>
                      <a:lnTo>
                        <a:pt x="593" y="329"/>
                      </a:lnTo>
                      <a:lnTo>
                        <a:pt x="569" y="293"/>
                      </a:lnTo>
                      <a:lnTo>
                        <a:pt x="548" y="249"/>
                      </a:lnTo>
                      <a:lnTo>
                        <a:pt x="528" y="203"/>
                      </a:lnTo>
                      <a:lnTo>
                        <a:pt x="512" y="158"/>
                      </a:lnTo>
                      <a:lnTo>
                        <a:pt x="510" y="178"/>
                      </a:lnTo>
                      <a:lnTo>
                        <a:pt x="508" y="195"/>
                      </a:lnTo>
                      <a:lnTo>
                        <a:pt x="516" y="211"/>
                      </a:lnTo>
                      <a:lnTo>
                        <a:pt x="529" y="238"/>
                      </a:lnTo>
                      <a:lnTo>
                        <a:pt x="560" y="311"/>
                      </a:lnTo>
                      <a:lnTo>
                        <a:pt x="599" y="413"/>
                      </a:lnTo>
                      <a:lnTo>
                        <a:pt x="607" y="427"/>
                      </a:lnTo>
                      <a:lnTo>
                        <a:pt x="610" y="445"/>
                      </a:lnTo>
                      <a:lnTo>
                        <a:pt x="610" y="463"/>
                      </a:lnTo>
                      <a:lnTo>
                        <a:pt x="606" y="484"/>
                      </a:lnTo>
                      <a:lnTo>
                        <a:pt x="595" y="524"/>
                      </a:lnTo>
                      <a:lnTo>
                        <a:pt x="585" y="557"/>
                      </a:lnTo>
                      <a:lnTo>
                        <a:pt x="566" y="602"/>
                      </a:lnTo>
                      <a:lnTo>
                        <a:pt x="538" y="650"/>
                      </a:lnTo>
                      <a:lnTo>
                        <a:pt x="522" y="672"/>
                      </a:lnTo>
                      <a:lnTo>
                        <a:pt x="504" y="692"/>
                      </a:lnTo>
                      <a:lnTo>
                        <a:pt x="486" y="708"/>
                      </a:lnTo>
                      <a:lnTo>
                        <a:pt x="468" y="720"/>
                      </a:lnTo>
                      <a:lnTo>
                        <a:pt x="441" y="737"/>
                      </a:lnTo>
                      <a:lnTo>
                        <a:pt x="426" y="747"/>
                      </a:lnTo>
                      <a:lnTo>
                        <a:pt x="414" y="751"/>
                      </a:lnTo>
                      <a:lnTo>
                        <a:pt x="418" y="719"/>
                      </a:lnTo>
                      <a:lnTo>
                        <a:pt x="428" y="679"/>
                      </a:lnTo>
                      <a:lnTo>
                        <a:pt x="441" y="635"/>
                      </a:lnTo>
                      <a:lnTo>
                        <a:pt x="458" y="589"/>
                      </a:lnTo>
                      <a:lnTo>
                        <a:pt x="490" y="503"/>
                      </a:lnTo>
                      <a:lnTo>
                        <a:pt x="502" y="467"/>
                      </a:lnTo>
                      <a:lnTo>
                        <a:pt x="509" y="442"/>
                      </a:lnTo>
                      <a:lnTo>
                        <a:pt x="514" y="399"/>
                      </a:lnTo>
                      <a:lnTo>
                        <a:pt x="516" y="352"/>
                      </a:lnTo>
                      <a:lnTo>
                        <a:pt x="515" y="305"/>
                      </a:lnTo>
                      <a:lnTo>
                        <a:pt x="509" y="263"/>
                      </a:lnTo>
                      <a:lnTo>
                        <a:pt x="502" y="250"/>
                      </a:lnTo>
                      <a:lnTo>
                        <a:pt x="500" y="240"/>
                      </a:lnTo>
                      <a:lnTo>
                        <a:pt x="499" y="209"/>
                      </a:lnTo>
                      <a:lnTo>
                        <a:pt x="494" y="209"/>
                      </a:lnTo>
                      <a:lnTo>
                        <a:pt x="488" y="207"/>
                      </a:lnTo>
                      <a:lnTo>
                        <a:pt x="480" y="200"/>
                      </a:lnTo>
                      <a:lnTo>
                        <a:pt x="476" y="219"/>
                      </a:lnTo>
                      <a:lnTo>
                        <a:pt x="494" y="234"/>
                      </a:lnTo>
                      <a:lnTo>
                        <a:pt x="491" y="238"/>
                      </a:lnTo>
                      <a:lnTo>
                        <a:pt x="485" y="240"/>
                      </a:lnTo>
                      <a:lnTo>
                        <a:pt x="472" y="241"/>
                      </a:lnTo>
                      <a:lnTo>
                        <a:pt x="483" y="249"/>
                      </a:lnTo>
                      <a:lnTo>
                        <a:pt x="490" y="261"/>
                      </a:lnTo>
                      <a:lnTo>
                        <a:pt x="496" y="274"/>
                      </a:lnTo>
                      <a:lnTo>
                        <a:pt x="499" y="289"/>
                      </a:lnTo>
                      <a:lnTo>
                        <a:pt x="502" y="322"/>
                      </a:lnTo>
                      <a:lnTo>
                        <a:pt x="504" y="352"/>
                      </a:lnTo>
                      <a:lnTo>
                        <a:pt x="501" y="386"/>
                      </a:lnTo>
                      <a:lnTo>
                        <a:pt x="497" y="418"/>
                      </a:lnTo>
                      <a:lnTo>
                        <a:pt x="491" y="448"/>
                      </a:lnTo>
                      <a:lnTo>
                        <a:pt x="483" y="475"/>
                      </a:lnTo>
                      <a:lnTo>
                        <a:pt x="473" y="497"/>
                      </a:lnTo>
                      <a:lnTo>
                        <a:pt x="463" y="514"/>
                      </a:lnTo>
                      <a:lnTo>
                        <a:pt x="453" y="526"/>
                      </a:lnTo>
                      <a:lnTo>
                        <a:pt x="443" y="530"/>
                      </a:lnTo>
                      <a:lnTo>
                        <a:pt x="437" y="504"/>
                      </a:lnTo>
                      <a:lnTo>
                        <a:pt x="435" y="471"/>
                      </a:lnTo>
                      <a:lnTo>
                        <a:pt x="439" y="440"/>
                      </a:lnTo>
                      <a:lnTo>
                        <a:pt x="443" y="428"/>
                      </a:lnTo>
                      <a:lnTo>
                        <a:pt x="448" y="420"/>
                      </a:lnTo>
                      <a:lnTo>
                        <a:pt x="435" y="399"/>
                      </a:lnTo>
                      <a:lnTo>
                        <a:pt x="428" y="410"/>
                      </a:lnTo>
                      <a:lnTo>
                        <a:pt x="423" y="421"/>
                      </a:lnTo>
                      <a:lnTo>
                        <a:pt x="418" y="447"/>
                      </a:lnTo>
                      <a:lnTo>
                        <a:pt x="417" y="474"/>
                      </a:lnTo>
                      <a:lnTo>
                        <a:pt x="419" y="504"/>
                      </a:lnTo>
                      <a:lnTo>
                        <a:pt x="429" y="559"/>
                      </a:lnTo>
                      <a:lnTo>
                        <a:pt x="433" y="584"/>
                      </a:lnTo>
                      <a:lnTo>
                        <a:pt x="435" y="604"/>
                      </a:lnTo>
                      <a:lnTo>
                        <a:pt x="417" y="632"/>
                      </a:lnTo>
                      <a:lnTo>
                        <a:pt x="403" y="665"/>
                      </a:lnTo>
                      <a:lnTo>
                        <a:pt x="378" y="736"/>
                      </a:lnTo>
                      <a:lnTo>
                        <a:pt x="372" y="737"/>
                      </a:lnTo>
                      <a:lnTo>
                        <a:pt x="367" y="737"/>
                      </a:lnTo>
                      <a:lnTo>
                        <a:pt x="356" y="729"/>
                      </a:lnTo>
                      <a:lnTo>
                        <a:pt x="344" y="715"/>
                      </a:lnTo>
                      <a:lnTo>
                        <a:pt x="332" y="698"/>
                      </a:lnTo>
                      <a:lnTo>
                        <a:pt x="314" y="667"/>
                      </a:lnTo>
                      <a:lnTo>
                        <a:pt x="309" y="658"/>
                      </a:lnTo>
                      <a:lnTo>
                        <a:pt x="309" y="656"/>
                      </a:lnTo>
                      <a:lnTo>
                        <a:pt x="309" y="657"/>
                      </a:lnTo>
                      <a:lnTo>
                        <a:pt x="304" y="647"/>
                      </a:lnTo>
                      <a:lnTo>
                        <a:pt x="299" y="638"/>
                      </a:lnTo>
                      <a:lnTo>
                        <a:pt x="292" y="629"/>
                      </a:lnTo>
                      <a:lnTo>
                        <a:pt x="289" y="620"/>
                      </a:lnTo>
                      <a:lnTo>
                        <a:pt x="287" y="605"/>
                      </a:lnTo>
                      <a:lnTo>
                        <a:pt x="290" y="588"/>
                      </a:lnTo>
                      <a:lnTo>
                        <a:pt x="299" y="557"/>
                      </a:lnTo>
                      <a:lnTo>
                        <a:pt x="309" y="538"/>
                      </a:lnTo>
                      <a:lnTo>
                        <a:pt x="322" y="518"/>
                      </a:lnTo>
                      <a:lnTo>
                        <a:pt x="358" y="479"/>
                      </a:lnTo>
                      <a:lnTo>
                        <a:pt x="376" y="457"/>
                      </a:lnTo>
                      <a:lnTo>
                        <a:pt x="394" y="434"/>
                      </a:lnTo>
                      <a:lnTo>
                        <a:pt x="408" y="410"/>
                      </a:lnTo>
                      <a:lnTo>
                        <a:pt x="418" y="383"/>
                      </a:lnTo>
                      <a:lnTo>
                        <a:pt x="411" y="384"/>
                      </a:lnTo>
                      <a:lnTo>
                        <a:pt x="404" y="389"/>
                      </a:lnTo>
                      <a:lnTo>
                        <a:pt x="393" y="403"/>
                      </a:lnTo>
                      <a:lnTo>
                        <a:pt x="383" y="418"/>
                      </a:lnTo>
                      <a:lnTo>
                        <a:pt x="371" y="432"/>
                      </a:lnTo>
                      <a:lnTo>
                        <a:pt x="355" y="459"/>
                      </a:lnTo>
                      <a:lnTo>
                        <a:pt x="328" y="491"/>
                      </a:lnTo>
                      <a:lnTo>
                        <a:pt x="300" y="518"/>
                      </a:lnTo>
                      <a:lnTo>
                        <a:pt x="279" y="534"/>
                      </a:lnTo>
                      <a:lnTo>
                        <a:pt x="273" y="514"/>
                      </a:lnTo>
                      <a:lnTo>
                        <a:pt x="267" y="489"/>
                      </a:lnTo>
                      <a:lnTo>
                        <a:pt x="264" y="464"/>
                      </a:lnTo>
                      <a:lnTo>
                        <a:pt x="265" y="454"/>
                      </a:lnTo>
                      <a:lnTo>
                        <a:pt x="267" y="446"/>
                      </a:lnTo>
                      <a:lnTo>
                        <a:pt x="258" y="436"/>
                      </a:lnTo>
                      <a:lnTo>
                        <a:pt x="249" y="427"/>
                      </a:lnTo>
                      <a:lnTo>
                        <a:pt x="248" y="442"/>
                      </a:lnTo>
                      <a:lnTo>
                        <a:pt x="246" y="451"/>
                      </a:lnTo>
                      <a:lnTo>
                        <a:pt x="243" y="465"/>
                      </a:lnTo>
                      <a:lnTo>
                        <a:pt x="244" y="477"/>
                      </a:lnTo>
                      <a:lnTo>
                        <a:pt x="249" y="494"/>
                      </a:lnTo>
                      <a:lnTo>
                        <a:pt x="270" y="560"/>
                      </a:lnTo>
                      <a:lnTo>
                        <a:pt x="264" y="597"/>
                      </a:lnTo>
                      <a:lnTo>
                        <a:pt x="261" y="606"/>
                      </a:lnTo>
                      <a:lnTo>
                        <a:pt x="257" y="610"/>
                      </a:lnTo>
                      <a:lnTo>
                        <a:pt x="254" y="609"/>
                      </a:lnTo>
                      <a:lnTo>
                        <a:pt x="250" y="604"/>
                      </a:lnTo>
                      <a:lnTo>
                        <a:pt x="241" y="583"/>
                      </a:lnTo>
                      <a:lnTo>
                        <a:pt x="205" y="504"/>
                      </a:lnTo>
                      <a:lnTo>
                        <a:pt x="195" y="478"/>
                      </a:lnTo>
                      <a:lnTo>
                        <a:pt x="191" y="457"/>
                      </a:lnTo>
                      <a:lnTo>
                        <a:pt x="192" y="440"/>
                      </a:lnTo>
                      <a:lnTo>
                        <a:pt x="196" y="425"/>
                      </a:lnTo>
                      <a:lnTo>
                        <a:pt x="205" y="409"/>
                      </a:lnTo>
                      <a:lnTo>
                        <a:pt x="218" y="391"/>
                      </a:lnTo>
                      <a:lnTo>
                        <a:pt x="213" y="368"/>
                      </a:lnTo>
                      <a:lnTo>
                        <a:pt x="183" y="407"/>
                      </a:lnTo>
                      <a:lnTo>
                        <a:pt x="177" y="420"/>
                      </a:lnTo>
                      <a:lnTo>
                        <a:pt x="174" y="430"/>
                      </a:lnTo>
                      <a:lnTo>
                        <a:pt x="175" y="457"/>
                      </a:lnTo>
                      <a:lnTo>
                        <a:pt x="177" y="506"/>
                      </a:lnTo>
                      <a:lnTo>
                        <a:pt x="161" y="504"/>
                      </a:lnTo>
                      <a:lnTo>
                        <a:pt x="144" y="498"/>
                      </a:lnTo>
                      <a:lnTo>
                        <a:pt x="111" y="481"/>
                      </a:lnTo>
                      <a:lnTo>
                        <a:pt x="78" y="464"/>
                      </a:lnTo>
                      <a:lnTo>
                        <a:pt x="62" y="458"/>
                      </a:lnTo>
                      <a:lnTo>
                        <a:pt x="46" y="456"/>
                      </a:lnTo>
                      <a:lnTo>
                        <a:pt x="39" y="459"/>
                      </a:lnTo>
                      <a:lnTo>
                        <a:pt x="28" y="460"/>
                      </a:lnTo>
                      <a:lnTo>
                        <a:pt x="0" y="461"/>
                      </a:lnTo>
                      <a:lnTo>
                        <a:pt x="30" y="464"/>
                      </a:lnTo>
                      <a:lnTo>
                        <a:pt x="52" y="470"/>
                      </a:lnTo>
                      <a:lnTo>
                        <a:pt x="65" y="480"/>
                      </a:lnTo>
                      <a:lnTo>
                        <a:pt x="69" y="486"/>
                      </a:lnTo>
                      <a:lnTo>
                        <a:pt x="70" y="492"/>
                      </a:lnTo>
                      <a:lnTo>
                        <a:pt x="86" y="494"/>
                      </a:lnTo>
                      <a:lnTo>
                        <a:pt x="107" y="503"/>
                      </a:lnTo>
                      <a:lnTo>
                        <a:pt x="130" y="514"/>
                      </a:lnTo>
                      <a:lnTo>
                        <a:pt x="155" y="530"/>
                      </a:lnTo>
                      <a:lnTo>
                        <a:pt x="178" y="547"/>
                      </a:lnTo>
                      <a:lnTo>
                        <a:pt x="197" y="565"/>
                      </a:lnTo>
                      <a:lnTo>
                        <a:pt x="210" y="582"/>
                      </a:lnTo>
                      <a:lnTo>
                        <a:pt x="213" y="590"/>
                      </a:lnTo>
                      <a:lnTo>
                        <a:pt x="214" y="599"/>
                      </a:lnTo>
                      <a:lnTo>
                        <a:pt x="213" y="604"/>
                      </a:lnTo>
                      <a:lnTo>
                        <a:pt x="208" y="610"/>
                      </a:lnTo>
                      <a:lnTo>
                        <a:pt x="192" y="620"/>
                      </a:lnTo>
                      <a:lnTo>
                        <a:pt x="167" y="627"/>
                      </a:lnTo>
                      <a:lnTo>
                        <a:pt x="138" y="633"/>
                      </a:lnTo>
                      <a:lnTo>
                        <a:pt x="84" y="641"/>
                      </a:lnTo>
                      <a:lnTo>
                        <a:pt x="57" y="642"/>
                      </a:lnTo>
                      <a:lnTo>
                        <a:pt x="65" y="654"/>
                      </a:lnTo>
                      <a:lnTo>
                        <a:pt x="96" y="653"/>
                      </a:lnTo>
                      <a:lnTo>
                        <a:pt x="129" y="648"/>
                      </a:lnTo>
                      <a:lnTo>
                        <a:pt x="162" y="642"/>
                      </a:lnTo>
                      <a:lnTo>
                        <a:pt x="192" y="633"/>
                      </a:lnTo>
                      <a:lnTo>
                        <a:pt x="204" y="631"/>
                      </a:lnTo>
                      <a:lnTo>
                        <a:pt x="217" y="634"/>
                      </a:lnTo>
                      <a:lnTo>
                        <a:pt x="231" y="639"/>
                      </a:lnTo>
                      <a:lnTo>
                        <a:pt x="244" y="648"/>
                      </a:lnTo>
                      <a:lnTo>
                        <a:pt x="269" y="670"/>
                      </a:lnTo>
                      <a:lnTo>
                        <a:pt x="279" y="682"/>
                      </a:lnTo>
                      <a:lnTo>
                        <a:pt x="284" y="694"/>
                      </a:lnTo>
                      <a:lnTo>
                        <a:pt x="289" y="703"/>
                      </a:lnTo>
                      <a:lnTo>
                        <a:pt x="296" y="712"/>
                      </a:lnTo>
                      <a:lnTo>
                        <a:pt x="314" y="729"/>
                      </a:lnTo>
                      <a:lnTo>
                        <a:pt x="332" y="745"/>
                      </a:lnTo>
                      <a:lnTo>
                        <a:pt x="339" y="754"/>
                      </a:lnTo>
                      <a:lnTo>
                        <a:pt x="343" y="763"/>
                      </a:lnTo>
                      <a:lnTo>
                        <a:pt x="368" y="826"/>
                      </a:lnTo>
                      <a:lnTo>
                        <a:pt x="366" y="889"/>
                      </a:lnTo>
                      <a:lnTo>
                        <a:pt x="364" y="922"/>
                      </a:lnTo>
                      <a:lnTo>
                        <a:pt x="365" y="954"/>
                      </a:lnTo>
                      <a:lnTo>
                        <a:pt x="347" y="943"/>
                      </a:lnTo>
                      <a:lnTo>
                        <a:pt x="330" y="927"/>
                      </a:lnTo>
                      <a:lnTo>
                        <a:pt x="299" y="888"/>
                      </a:lnTo>
                      <a:lnTo>
                        <a:pt x="267" y="844"/>
                      </a:lnTo>
                      <a:lnTo>
                        <a:pt x="248" y="821"/>
                      </a:lnTo>
                      <a:lnTo>
                        <a:pt x="227" y="800"/>
                      </a:lnTo>
                      <a:lnTo>
                        <a:pt x="232" y="808"/>
                      </a:lnTo>
                      <a:lnTo>
                        <a:pt x="235" y="818"/>
                      </a:lnTo>
                      <a:lnTo>
                        <a:pt x="241" y="838"/>
                      </a:lnTo>
                      <a:lnTo>
                        <a:pt x="277" y="889"/>
                      </a:lnTo>
                      <a:lnTo>
                        <a:pt x="308" y="943"/>
                      </a:lnTo>
                      <a:lnTo>
                        <a:pt x="334" y="1000"/>
                      </a:lnTo>
                      <a:lnTo>
                        <a:pt x="356" y="1060"/>
                      </a:lnTo>
                      <a:lnTo>
                        <a:pt x="365" y="1099"/>
                      </a:lnTo>
                      <a:lnTo>
                        <a:pt x="367" y="1138"/>
                      </a:lnTo>
                      <a:lnTo>
                        <a:pt x="366" y="1177"/>
                      </a:lnTo>
                      <a:lnTo>
                        <a:pt x="360" y="1216"/>
                      </a:lnTo>
                      <a:lnTo>
                        <a:pt x="345" y="1292"/>
                      </a:lnTo>
                      <a:lnTo>
                        <a:pt x="339" y="1330"/>
                      </a:lnTo>
                      <a:lnTo>
                        <a:pt x="333" y="1366"/>
                      </a:lnTo>
                      <a:lnTo>
                        <a:pt x="332" y="1460"/>
                      </a:lnTo>
                      <a:lnTo>
                        <a:pt x="334" y="1523"/>
                      </a:lnTo>
                      <a:lnTo>
                        <a:pt x="336" y="1564"/>
                      </a:lnTo>
                      <a:lnTo>
                        <a:pt x="338" y="1582"/>
                      </a:lnTo>
                      <a:lnTo>
                        <a:pt x="337" y="1600"/>
                      </a:lnTo>
                      <a:lnTo>
                        <a:pt x="332" y="1638"/>
                      </a:lnTo>
                      <a:lnTo>
                        <a:pt x="324" y="1677"/>
                      </a:lnTo>
                      <a:lnTo>
                        <a:pt x="317" y="1713"/>
                      </a:lnTo>
                      <a:lnTo>
                        <a:pt x="307" y="1716"/>
                      </a:lnTo>
                      <a:lnTo>
                        <a:pt x="295" y="1724"/>
                      </a:lnTo>
                      <a:lnTo>
                        <a:pt x="273" y="1749"/>
                      </a:lnTo>
                      <a:lnTo>
                        <a:pt x="250" y="1773"/>
                      </a:lnTo>
                      <a:lnTo>
                        <a:pt x="237" y="1782"/>
                      </a:lnTo>
                      <a:lnTo>
                        <a:pt x="224" y="1785"/>
                      </a:lnTo>
                      <a:lnTo>
                        <a:pt x="238" y="1785"/>
                      </a:lnTo>
                      <a:lnTo>
                        <a:pt x="250" y="1784"/>
                      </a:lnTo>
                      <a:lnTo>
                        <a:pt x="273" y="1777"/>
                      </a:lnTo>
                      <a:lnTo>
                        <a:pt x="295" y="1768"/>
                      </a:lnTo>
                      <a:lnTo>
                        <a:pt x="320" y="1765"/>
                      </a:lnTo>
                      <a:lnTo>
                        <a:pt x="348" y="1778"/>
                      </a:lnTo>
                      <a:lnTo>
                        <a:pt x="369" y="1785"/>
                      </a:lnTo>
                      <a:lnTo>
                        <a:pt x="378" y="1785"/>
                      </a:lnTo>
                      <a:lnTo>
                        <a:pt x="387" y="1783"/>
                      </a:lnTo>
                      <a:lnTo>
                        <a:pt x="397" y="1778"/>
                      </a:lnTo>
                      <a:lnTo>
                        <a:pt x="407" y="1770"/>
                      </a:lnTo>
                      <a:lnTo>
                        <a:pt x="428" y="1772"/>
                      </a:lnTo>
                      <a:lnTo>
                        <a:pt x="446" y="1777"/>
                      </a:lnTo>
                      <a:lnTo>
                        <a:pt x="465" y="1783"/>
                      </a:lnTo>
                      <a:lnTo>
                        <a:pt x="486" y="1785"/>
                      </a:lnTo>
                      <a:lnTo>
                        <a:pt x="470" y="1771"/>
                      </a:lnTo>
                      <a:lnTo>
                        <a:pt x="461" y="1754"/>
                      </a:lnTo>
                      <a:lnTo>
                        <a:pt x="456" y="1734"/>
                      </a:lnTo>
                      <a:lnTo>
                        <a:pt x="450" y="1709"/>
                      </a:lnTo>
                      <a:close/>
                    </a:path>
                  </a:pathLst>
                </a:custGeom>
                <a:solidFill>
                  <a:srgbClr val="CC9C7F"/>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73" name="Freeform 965">
                  <a:extLst>
                    <a:ext uri="{FF2B5EF4-FFF2-40B4-BE49-F238E27FC236}">
                      <a16:creationId xmlns:a16="http://schemas.microsoft.com/office/drawing/2014/main" id="{A276BEC5-BD18-B811-C608-12C5F9045F2F}"/>
                    </a:ext>
                  </a:extLst>
                </p:cNvPr>
                <p:cNvSpPr>
                  <a:spLocks/>
                </p:cNvSpPr>
                <p:nvPr/>
              </p:nvSpPr>
              <p:spPr bwMode="auto">
                <a:xfrm>
                  <a:off x="626" y="2277"/>
                  <a:ext cx="185" cy="718"/>
                </a:xfrm>
                <a:custGeom>
                  <a:avLst/>
                  <a:gdLst>
                    <a:gd name="T0" fmla="*/ 10 w 266"/>
                    <a:gd name="T1" fmla="*/ 453 h 1009"/>
                    <a:gd name="T2" fmla="*/ 7 w 266"/>
                    <a:gd name="T3" fmla="*/ 403 h 1009"/>
                    <a:gd name="T4" fmla="*/ 1 w 266"/>
                    <a:gd name="T5" fmla="*/ 366 h 1009"/>
                    <a:gd name="T6" fmla="*/ 1 w 266"/>
                    <a:gd name="T7" fmla="*/ 327 h 1009"/>
                    <a:gd name="T8" fmla="*/ 6 w 266"/>
                    <a:gd name="T9" fmla="*/ 287 h 1009"/>
                    <a:gd name="T10" fmla="*/ 4 w 266"/>
                    <a:gd name="T11" fmla="*/ 204 h 1009"/>
                    <a:gd name="T12" fmla="*/ 1 w 266"/>
                    <a:gd name="T13" fmla="*/ 156 h 1009"/>
                    <a:gd name="T14" fmla="*/ 4 w 266"/>
                    <a:gd name="T15" fmla="*/ 132 h 1009"/>
                    <a:gd name="T16" fmla="*/ 7 w 266"/>
                    <a:gd name="T17" fmla="*/ 110 h 1009"/>
                    <a:gd name="T18" fmla="*/ 8 w 266"/>
                    <a:gd name="T19" fmla="*/ 95 h 1009"/>
                    <a:gd name="T20" fmla="*/ 13 w 266"/>
                    <a:gd name="T21" fmla="*/ 75 h 1009"/>
                    <a:gd name="T22" fmla="*/ 29 w 266"/>
                    <a:gd name="T23" fmla="*/ 60 h 1009"/>
                    <a:gd name="T24" fmla="*/ 67 w 266"/>
                    <a:gd name="T25" fmla="*/ 39 h 1009"/>
                    <a:gd name="T26" fmla="*/ 92 w 266"/>
                    <a:gd name="T27" fmla="*/ 23 h 1009"/>
                    <a:gd name="T28" fmla="*/ 99 w 266"/>
                    <a:gd name="T29" fmla="*/ 13 h 1009"/>
                    <a:gd name="T30" fmla="*/ 111 w 266"/>
                    <a:gd name="T31" fmla="*/ 4 h 1009"/>
                    <a:gd name="T32" fmla="*/ 119 w 266"/>
                    <a:gd name="T33" fmla="*/ 5 h 1009"/>
                    <a:gd name="T34" fmla="*/ 101 w 266"/>
                    <a:gd name="T35" fmla="*/ 19 h 1009"/>
                    <a:gd name="T36" fmla="*/ 101 w 266"/>
                    <a:gd name="T37" fmla="*/ 29 h 1009"/>
                    <a:gd name="T38" fmla="*/ 107 w 266"/>
                    <a:gd name="T39" fmla="*/ 28 h 1009"/>
                    <a:gd name="T40" fmla="*/ 124 w 266"/>
                    <a:gd name="T41" fmla="*/ 12 h 1009"/>
                    <a:gd name="T42" fmla="*/ 116 w 266"/>
                    <a:gd name="T43" fmla="*/ 28 h 1009"/>
                    <a:gd name="T44" fmla="*/ 102 w 266"/>
                    <a:gd name="T45" fmla="*/ 36 h 1009"/>
                    <a:gd name="T46" fmla="*/ 90 w 266"/>
                    <a:gd name="T47" fmla="*/ 36 h 1009"/>
                    <a:gd name="T48" fmla="*/ 67 w 266"/>
                    <a:gd name="T49" fmla="*/ 43 h 1009"/>
                    <a:gd name="T50" fmla="*/ 34 w 266"/>
                    <a:gd name="T51" fmla="*/ 64 h 1009"/>
                    <a:gd name="T52" fmla="*/ 25 w 266"/>
                    <a:gd name="T53" fmla="*/ 78 h 1009"/>
                    <a:gd name="T54" fmla="*/ 20 w 266"/>
                    <a:gd name="T55" fmla="*/ 102 h 1009"/>
                    <a:gd name="T56" fmla="*/ 17 w 266"/>
                    <a:gd name="T57" fmla="*/ 142 h 1009"/>
                    <a:gd name="T58" fmla="*/ 22 w 266"/>
                    <a:gd name="T59" fmla="*/ 209 h 1009"/>
                    <a:gd name="T60" fmla="*/ 26 w 266"/>
                    <a:gd name="T61" fmla="*/ 254 h 1009"/>
                    <a:gd name="T62" fmla="*/ 23 w 266"/>
                    <a:gd name="T63" fmla="*/ 299 h 1009"/>
                    <a:gd name="T64" fmla="*/ 22 w 266"/>
                    <a:gd name="T65" fmla="*/ 341 h 1009"/>
                    <a:gd name="T66" fmla="*/ 27 w 266"/>
                    <a:gd name="T67" fmla="*/ 384 h 1009"/>
                    <a:gd name="T68" fmla="*/ 33 w 266"/>
                    <a:gd name="T69" fmla="*/ 429 h 1009"/>
                    <a:gd name="T70" fmla="*/ 31 w 266"/>
                    <a:gd name="T71" fmla="*/ 472 h 1009"/>
                    <a:gd name="T72" fmla="*/ 37 w 266"/>
                    <a:gd name="T73" fmla="*/ 495 h 1009"/>
                    <a:gd name="T74" fmla="*/ 49 w 266"/>
                    <a:gd name="T75" fmla="*/ 511 h 1009"/>
                    <a:gd name="T76" fmla="*/ 29 w 266"/>
                    <a:gd name="T77" fmla="*/ 507 h 1009"/>
                    <a:gd name="T78" fmla="*/ 10 w 266"/>
                    <a:gd name="T79" fmla="*/ 503 h 10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6" h="1009">
                      <a:moveTo>
                        <a:pt x="22" y="994"/>
                      </a:moveTo>
                      <a:lnTo>
                        <a:pt x="22" y="895"/>
                      </a:lnTo>
                      <a:lnTo>
                        <a:pt x="20" y="843"/>
                      </a:lnTo>
                      <a:lnTo>
                        <a:pt x="15" y="796"/>
                      </a:lnTo>
                      <a:lnTo>
                        <a:pt x="8" y="761"/>
                      </a:lnTo>
                      <a:lnTo>
                        <a:pt x="2" y="722"/>
                      </a:lnTo>
                      <a:lnTo>
                        <a:pt x="0" y="683"/>
                      </a:lnTo>
                      <a:lnTo>
                        <a:pt x="3" y="646"/>
                      </a:lnTo>
                      <a:lnTo>
                        <a:pt x="8" y="607"/>
                      </a:lnTo>
                      <a:lnTo>
                        <a:pt x="11" y="567"/>
                      </a:lnTo>
                      <a:lnTo>
                        <a:pt x="13" y="485"/>
                      </a:lnTo>
                      <a:lnTo>
                        <a:pt x="8" y="403"/>
                      </a:lnTo>
                      <a:lnTo>
                        <a:pt x="2" y="323"/>
                      </a:lnTo>
                      <a:lnTo>
                        <a:pt x="1" y="308"/>
                      </a:lnTo>
                      <a:lnTo>
                        <a:pt x="2" y="293"/>
                      </a:lnTo>
                      <a:lnTo>
                        <a:pt x="8" y="262"/>
                      </a:lnTo>
                      <a:lnTo>
                        <a:pt x="14" y="233"/>
                      </a:lnTo>
                      <a:lnTo>
                        <a:pt x="15" y="218"/>
                      </a:lnTo>
                      <a:lnTo>
                        <a:pt x="15" y="205"/>
                      </a:lnTo>
                      <a:lnTo>
                        <a:pt x="16" y="189"/>
                      </a:lnTo>
                      <a:lnTo>
                        <a:pt x="20" y="168"/>
                      </a:lnTo>
                      <a:lnTo>
                        <a:pt x="28" y="147"/>
                      </a:lnTo>
                      <a:lnTo>
                        <a:pt x="35" y="135"/>
                      </a:lnTo>
                      <a:lnTo>
                        <a:pt x="60" y="118"/>
                      </a:lnTo>
                      <a:lnTo>
                        <a:pt x="86" y="103"/>
                      </a:lnTo>
                      <a:lnTo>
                        <a:pt x="138" y="77"/>
                      </a:lnTo>
                      <a:lnTo>
                        <a:pt x="178" y="56"/>
                      </a:lnTo>
                      <a:lnTo>
                        <a:pt x="190" y="47"/>
                      </a:lnTo>
                      <a:lnTo>
                        <a:pt x="196" y="39"/>
                      </a:lnTo>
                      <a:lnTo>
                        <a:pt x="205" y="25"/>
                      </a:lnTo>
                      <a:lnTo>
                        <a:pt x="218" y="16"/>
                      </a:lnTo>
                      <a:lnTo>
                        <a:pt x="229" y="8"/>
                      </a:lnTo>
                      <a:lnTo>
                        <a:pt x="238" y="0"/>
                      </a:lnTo>
                      <a:lnTo>
                        <a:pt x="246" y="10"/>
                      </a:lnTo>
                      <a:lnTo>
                        <a:pt x="226" y="22"/>
                      </a:lnTo>
                      <a:lnTo>
                        <a:pt x="209" y="36"/>
                      </a:lnTo>
                      <a:lnTo>
                        <a:pt x="206" y="50"/>
                      </a:lnTo>
                      <a:lnTo>
                        <a:pt x="208" y="57"/>
                      </a:lnTo>
                      <a:lnTo>
                        <a:pt x="213" y="59"/>
                      </a:lnTo>
                      <a:lnTo>
                        <a:pt x="221" y="56"/>
                      </a:lnTo>
                      <a:lnTo>
                        <a:pt x="241" y="41"/>
                      </a:lnTo>
                      <a:lnTo>
                        <a:pt x="258" y="24"/>
                      </a:lnTo>
                      <a:lnTo>
                        <a:pt x="266" y="32"/>
                      </a:lnTo>
                      <a:lnTo>
                        <a:pt x="240" y="56"/>
                      </a:lnTo>
                      <a:lnTo>
                        <a:pt x="223" y="68"/>
                      </a:lnTo>
                      <a:lnTo>
                        <a:pt x="211" y="71"/>
                      </a:lnTo>
                      <a:lnTo>
                        <a:pt x="197" y="70"/>
                      </a:lnTo>
                      <a:lnTo>
                        <a:pt x="185" y="70"/>
                      </a:lnTo>
                      <a:lnTo>
                        <a:pt x="171" y="73"/>
                      </a:lnTo>
                      <a:lnTo>
                        <a:pt x="140" y="86"/>
                      </a:lnTo>
                      <a:lnTo>
                        <a:pt x="87" y="115"/>
                      </a:lnTo>
                      <a:lnTo>
                        <a:pt x="71" y="127"/>
                      </a:lnTo>
                      <a:lnTo>
                        <a:pt x="60" y="139"/>
                      </a:lnTo>
                      <a:lnTo>
                        <a:pt x="52" y="154"/>
                      </a:lnTo>
                      <a:lnTo>
                        <a:pt x="47" y="169"/>
                      </a:lnTo>
                      <a:lnTo>
                        <a:pt x="42" y="203"/>
                      </a:lnTo>
                      <a:lnTo>
                        <a:pt x="38" y="239"/>
                      </a:lnTo>
                      <a:lnTo>
                        <a:pt x="36" y="281"/>
                      </a:lnTo>
                      <a:lnTo>
                        <a:pt x="37" y="325"/>
                      </a:lnTo>
                      <a:lnTo>
                        <a:pt x="45" y="413"/>
                      </a:lnTo>
                      <a:lnTo>
                        <a:pt x="50" y="458"/>
                      </a:lnTo>
                      <a:lnTo>
                        <a:pt x="53" y="502"/>
                      </a:lnTo>
                      <a:lnTo>
                        <a:pt x="53" y="546"/>
                      </a:lnTo>
                      <a:lnTo>
                        <a:pt x="48" y="590"/>
                      </a:lnTo>
                      <a:lnTo>
                        <a:pt x="44" y="631"/>
                      </a:lnTo>
                      <a:lnTo>
                        <a:pt x="45" y="673"/>
                      </a:lnTo>
                      <a:lnTo>
                        <a:pt x="50" y="716"/>
                      </a:lnTo>
                      <a:lnTo>
                        <a:pt x="56" y="759"/>
                      </a:lnTo>
                      <a:lnTo>
                        <a:pt x="63" y="804"/>
                      </a:lnTo>
                      <a:lnTo>
                        <a:pt x="67" y="847"/>
                      </a:lnTo>
                      <a:lnTo>
                        <a:pt x="69" y="890"/>
                      </a:lnTo>
                      <a:lnTo>
                        <a:pt x="64" y="933"/>
                      </a:lnTo>
                      <a:lnTo>
                        <a:pt x="70" y="958"/>
                      </a:lnTo>
                      <a:lnTo>
                        <a:pt x="76" y="978"/>
                      </a:lnTo>
                      <a:lnTo>
                        <a:pt x="85" y="995"/>
                      </a:lnTo>
                      <a:lnTo>
                        <a:pt x="100" y="1009"/>
                      </a:lnTo>
                      <a:lnTo>
                        <a:pt x="80" y="1007"/>
                      </a:lnTo>
                      <a:lnTo>
                        <a:pt x="61" y="1001"/>
                      </a:lnTo>
                      <a:lnTo>
                        <a:pt x="42" y="996"/>
                      </a:lnTo>
                      <a:lnTo>
                        <a:pt x="22" y="994"/>
                      </a:lnTo>
                      <a:close/>
                    </a:path>
                  </a:pathLst>
                </a:custGeom>
                <a:solidFill>
                  <a:srgbClr val="8C5C3F"/>
                </a:solidFill>
                <a:ln>
                  <a:noFill/>
                </a:ln>
                <a:extLst>
                  <a:ext uri="{91240B29-F687-4F45-9708-019B960494DF}">
                    <a14:hiddenLine xmlns:a14="http://schemas.microsoft.com/office/drawing/2010/main" w="9525">
                      <a:solidFill>
                        <a:srgbClr val="000000"/>
                      </a:solidFill>
                      <a:round/>
                      <a:headEnd/>
                      <a:tailEnd/>
                    </a14:hiddenLine>
                  </a:ext>
                </a:extLst>
              </p:spPr>
              <p:txBody>
                <a:bodyPr rtlCol="0"/>
                <a:lstStyle/>
                <a:p>
                  <a:pPr rtl="0"/>
                  <a:endParaRPr lang="en-US"/>
                </a:p>
              </p:txBody>
            </p:sp>
            <p:sp>
              <p:nvSpPr>
                <p:cNvPr id="774" name="Freeform 966">
                  <a:extLst>
                    <a:ext uri="{FF2B5EF4-FFF2-40B4-BE49-F238E27FC236}">
                      <a16:creationId xmlns:a16="http://schemas.microsoft.com/office/drawing/2014/main" id="{54383276-9B12-0CDD-3BA9-E03240FB6E9A}"/>
                    </a:ext>
                  </a:extLst>
                </p:cNvPr>
                <p:cNvSpPr>
                  <a:spLocks/>
                </p:cNvSpPr>
                <p:nvPr/>
              </p:nvSpPr>
              <p:spPr bwMode="auto">
                <a:xfrm>
                  <a:off x="357" y="1724"/>
                  <a:ext cx="578" cy="1271"/>
                </a:xfrm>
                <a:custGeom>
                  <a:avLst/>
                  <a:gdLst>
                    <a:gd name="T0" fmla="*/ 207 w 831"/>
                    <a:gd name="T1" fmla="*/ 713 h 1785"/>
                    <a:gd name="T2" fmla="*/ 205 w 831"/>
                    <a:gd name="T3" fmla="*/ 515 h 1785"/>
                    <a:gd name="T4" fmla="*/ 269 w 831"/>
                    <a:gd name="T5" fmla="*/ 431 h 1785"/>
                    <a:gd name="T6" fmla="*/ 303 w 831"/>
                    <a:gd name="T7" fmla="*/ 414 h 1785"/>
                    <a:gd name="T8" fmla="*/ 302 w 831"/>
                    <a:gd name="T9" fmla="*/ 394 h 1785"/>
                    <a:gd name="T10" fmla="*/ 207 w 831"/>
                    <a:gd name="T11" fmla="*/ 434 h 1785"/>
                    <a:gd name="T12" fmla="*/ 244 w 831"/>
                    <a:gd name="T13" fmla="*/ 367 h 1785"/>
                    <a:gd name="T14" fmla="*/ 305 w 831"/>
                    <a:gd name="T15" fmla="*/ 368 h 1785"/>
                    <a:gd name="T16" fmla="*/ 318 w 831"/>
                    <a:gd name="T17" fmla="*/ 344 h 1785"/>
                    <a:gd name="T18" fmla="*/ 293 w 831"/>
                    <a:gd name="T19" fmla="*/ 334 h 1785"/>
                    <a:gd name="T20" fmla="*/ 324 w 831"/>
                    <a:gd name="T21" fmla="*/ 260 h 1785"/>
                    <a:gd name="T22" fmla="*/ 369 w 831"/>
                    <a:gd name="T23" fmla="*/ 298 h 1785"/>
                    <a:gd name="T24" fmla="*/ 362 w 831"/>
                    <a:gd name="T25" fmla="*/ 260 h 1785"/>
                    <a:gd name="T26" fmla="*/ 364 w 831"/>
                    <a:gd name="T27" fmla="*/ 241 h 1785"/>
                    <a:gd name="T28" fmla="*/ 339 w 831"/>
                    <a:gd name="T29" fmla="*/ 207 h 1785"/>
                    <a:gd name="T30" fmla="*/ 351 w 831"/>
                    <a:gd name="T31" fmla="*/ 196 h 1785"/>
                    <a:gd name="T32" fmla="*/ 336 w 831"/>
                    <a:gd name="T33" fmla="*/ 198 h 1785"/>
                    <a:gd name="T34" fmla="*/ 337 w 831"/>
                    <a:gd name="T35" fmla="*/ 153 h 1785"/>
                    <a:gd name="T36" fmla="*/ 373 w 831"/>
                    <a:gd name="T37" fmla="*/ 95 h 1785"/>
                    <a:gd name="T38" fmla="*/ 330 w 831"/>
                    <a:gd name="T39" fmla="*/ 133 h 1785"/>
                    <a:gd name="T40" fmla="*/ 392 w 831"/>
                    <a:gd name="T41" fmla="*/ 6 h 1785"/>
                    <a:gd name="T42" fmla="*/ 336 w 831"/>
                    <a:gd name="T43" fmla="*/ 64 h 1785"/>
                    <a:gd name="T44" fmla="*/ 320 w 831"/>
                    <a:gd name="T45" fmla="*/ 164 h 1785"/>
                    <a:gd name="T46" fmla="*/ 298 w 831"/>
                    <a:gd name="T47" fmla="*/ 145 h 1785"/>
                    <a:gd name="T48" fmla="*/ 295 w 831"/>
                    <a:gd name="T49" fmla="*/ 95 h 1785"/>
                    <a:gd name="T50" fmla="*/ 255 w 831"/>
                    <a:gd name="T51" fmla="*/ 103 h 1785"/>
                    <a:gd name="T52" fmla="*/ 294 w 831"/>
                    <a:gd name="T53" fmla="*/ 216 h 1785"/>
                    <a:gd name="T54" fmla="*/ 252 w 831"/>
                    <a:gd name="T55" fmla="*/ 340 h 1785"/>
                    <a:gd name="T56" fmla="*/ 207 w 831"/>
                    <a:gd name="T57" fmla="*/ 344 h 1785"/>
                    <a:gd name="T58" fmla="*/ 249 w 831"/>
                    <a:gd name="T59" fmla="*/ 155 h 1785"/>
                    <a:gd name="T60" fmla="*/ 230 w 831"/>
                    <a:gd name="T61" fmla="*/ 111 h 1785"/>
                    <a:gd name="T62" fmla="*/ 241 w 831"/>
                    <a:gd name="T63" fmla="*/ 147 h 1785"/>
                    <a:gd name="T64" fmla="*/ 224 w 831"/>
                    <a:gd name="T65" fmla="*/ 261 h 1785"/>
                    <a:gd name="T66" fmla="*/ 211 w 831"/>
                    <a:gd name="T67" fmla="*/ 202 h 1785"/>
                    <a:gd name="T68" fmla="*/ 211 w 831"/>
                    <a:gd name="T69" fmla="*/ 306 h 1785"/>
                    <a:gd name="T70" fmla="*/ 161 w 831"/>
                    <a:gd name="T71" fmla="*/ 354 h 1785"/>
                    <a:gd name="T72" fmla="*/ 140 w 831"/>
                    <a:gd name="T73" fmla="*/ 314 h 1785"/>
                    <a:gd name="T74" fmla="*/ 191 w 831"/>
                    <a:gd name="T75" fmla="*/ 220 h 1785"/>
                    <a:gd name="T76" fmla="*/ 172 w 831"/>
                    <a:gd name="T77" fmla="*/ 233 h 1785"/>
                    <a:gd name="T78" fmla="*/ 129 w 831"/>
                    <a:gd name="T79" fmla="*/ 226 h 1785"/>
                    <a:gd name="T80" fmla="*/ 131 w 831"/>
                    <a:gd name="T81" fmla="*/ 284 h 1785"/>
                    <a:gd name="T82" fmla="*/ 95 w 831"/>
                    <a:gd name="T83" fmla="*/ 242 h 1785"/>
                    <a:gd name="T84" fmla="*/ 86 w 831"/>
                    <a:gd name="T85" fmla="*/ 213 h 1785"/>
                    <a:gd name="T86" fmla="*/ 30 w 831"/>
                    <a:gd name="T87" fmla="*/ 232 h 1785"/>
                    <a:gd name="T88" fmla="*/ 33 w 831"/>
                    <a:gd name="T89" fmla="*/ 246 h 1785"/>
                    <a:gd name="T90" fmla="*/ 102 w 831"/>
                    <a:gd name="T91" fmla="*/ 295 h 1785"/>
                    <a:gd name="T92" fmla="*/ 40 w 831"/>
                    <a:gd name="T93" fmla="*/ 325 h 1785"/>
                    <a:gd name="T94" fmla="*/ 105 w 831"/>
                    <a:gd name="T95" fmla="*/ 321 h 1785"/>
                    <a:gd name="T96" fmla="*/ 152 w 831"/>
                    <a:gd name="T97" fmla="*/ 370 h 1785"/>
                    <a:gd name="T98" fmla="*/ 168 w 831"/>
                    <a:gd name="T99" fmla="*/ 478 h 1785"/>
                    <a:gd name="T100" fmla="*/ 117 w 831"/>
                    <a:gd name="T101" fmla="*/ 425 h 1785"/>
                    <a:gd name="T102" fmla="*/ 174 w 831"/>
                    <a:gd name="T103" fmla="*/ 617 h 1785"/>
                    <a:gd name="T104" fmla="*/ 163 w 831"/>
                    <a:gd name="T105" fmla="*/ 811 h 1785"/>
                    <a:gd name="T106" fmla="*/ 115 w 831"/>
                    <a:gd name="T107" fmla="*/ 904 h 1785"/>
                    <a:gd name="T108" fmla="*/ 179 w 831"/>
                    <a:gd name="T109" fmla="*/ 905 h 1785"/>
                    <a:gd name="T110" fmla="*/ 235 w 831"/>
                    <a:gd name="T111" fmla="*/ 905 h 17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31" h="1785">
                      <a:moveTo>
                        <a:pt x="450" y="1709"/>
                      </a:moveTo>
                      <a:lnTo>
                        <a:pt x="454" y="1666"/>
                      </a:lnTo>
                      <a:lnTo>
                        <a:pt x="453" y="1623"/>
                      </a:lnTo>
                      <a:lnTo>
                        <a:pt x="448" y="1580"/>
                      </a:lnTo>
                      <a:lnTo>
                        <a:pt x="441" y="1536"/>
                      </a:lnTo>
                      <a:lnTo>
                        <a:pt x="435" y="1492"/>
                      </a:lnTo>
                      <a:lnTo>
                        <a:pt x="430" y="1449"/>
                      </a:lnTo>
                      <a:lnTo>
                        <a:pt x="429" y="1407"/>
                      </a:lnTo>
                      <a:lnTo>
                        <a:pt x="433" y="1366"/>
                      </a:lnTo>
                      <a:lnTo>
                        <a:pt x="438" y="1322"/>
                      </a:lnTo>
                      <a:lnTo>
                        <a:pt x="438" y="1278"/>
                      </a:lnTo>
                      <a:lnTo>
                        <a:pt x="435" y="1234"/>
                      </a:lnTo>
                      <a:lnTo>
                        <a:pt x="431" y="1189"/>
                      </a:lnTo>
                      <a:lnTo>
                        <a:pt x="422" y="1101"/>
                      </a:lnTo>
                      <a:lnTo>
                        <a:pt x="421" y="1057"/>
                      </a:lnTo>
                      <a:lnTo>
                        <a:pt x="424" y="1015"/>
                      </a:lnTo>
                      <a:lnTo>
                        <a:pt x="427" y="979"/>
                      </a:lnTo>
                      <a:lnTo>
                        <a:pt x="432" y="945"/>
                      </a:lnTo>
                      <a:lnTo>
                        <a:pt x="437" y="930"/>
                      </a:lnTo>
                      <a:lnTo>
                        <a:pt x="445" y="915"/>
                      </a:lnTo>
                      <a:lnTo>
                        <a:pt x="456" y="903"/>
                      </a:lnTo>
                      <a:lnTo>
                        <a:pt x="472" y="891"/>
                      </a:lnTo>
                      <a:lnTo>
                        <a:pt x="525" y="862"/>
                      </a:lnTo>
                      <a:lnTo>
                        <a:pt x="557" y="849"/>
                      </a:lnTo>
                      <a:lnTo>
                        <a:pt x="570" y="846"/>
                      </a:lnTo>
                      <a:lnTo>
                        <a:pt x="582" y="846"/>
                      </a:lnTo>
                      <a:lnTo>
                        <a:pt x="596" y="847"/>
                      </a:lnTo>
                      <a:lnTo>
                        <a:pt x="609" y="844"/>
                      </a:lnTo>
                      <a:lnTo>
                        <a:pt x="625" y="832"/>
                      </a:lnTo>
                      <a:lnTo>
                        <a:pt x="652" y="809"/>
                      </a:lnTo>
                      <a:lnTo>
                        <a:pt x="643" y="800"/>
                      </a:lnTo>
                      <a:lnTo>
                        <a:pt x="626" y="817"/>
                      </a:lnTo>
                      <a:lnTo>
                        <a:pt x="606" y="832"/>
                      </a:lnTo>
                      <a:lnTo>
                        <a:pt x="599" y="835"/>
                      </a:lnTo>
                      <a:lnTo>
                        <a:pt x="593" y="833"/>
                      </a:lnTo>
                      <a:lnTo>
                        <a:pt x="592" y="826"/>
                      </a:lnTo>
                      <a:lnTo>
                        <a:pt x="595" y="812"/>
                      </a:lnTo>
                      <a:lnTo>
                        <a:pt x="612" y="798"/>
                      </a:lnTo>
                      <a:lnTo>
                        <a:pt x="632" y="786"/>
                      </a:lnTo>
                      <a:lnTo>
                        <a:pt x="624" y="776"/>
                      </a:lnTo>
                      <a:lnTo>
                        <a:pt x="615" y="784"/>
                      </a:lnTo>
                      <a:lnTo>
                        <a:pt x="603" y="792"/>
                      </a:lnTo>
                      <a:lnTo>
                        <a:pt x="590" y="801"/>
                      </a:lnTo>
                      <a:lnTo>
                        <a:pt x="581" y="815"/>
                      </a:lnTo>
                      <a:lnTo>
                        <a:pt x="505" y="853"/>
                      </a:lnTo>
                      <a:lnTo>
                        <a:pt x="429" y="888"/>
                      </a:lnTo>
                      <a:lnTo>
                        <a:pt x="430" y="870"/>
                      </a:lnTo>
                      <a:lnTo>
                        <a:pt x="428" y="856"/>
                      </a:lnTo>
                      <a:lnTo>
                        <a:pt x="424" y="843"/>
                      </a:lnTo>
                      <a:lnTo>
                        <a:pt x="427" y="827"/>
                      </a:lnTo>
                      <a:lnTo>
                        <a:pt x="440" y="805"/>
                      </a:lnTo>
                      <a:lnTo>
                        <a:pt x="451" y="781"/>
                      </a:lnTo>
                      <a:lnTo>
                        <a:pt x="465" y="758"/>
                      </a:lnTo>
                      <a:lnTo>
                        <a:pt x="474" y="749"/>
                      </a:lnTo>
                      <a:lnTo>
                        <a:pt x="485" y="741"/>
                      </a:lnTo>
                      <a:lnTo>
                        <a:pt x="504" y="725"/>
                      </a:lnTo>
                      <a:lnTo>
                        <a:pt x="524" y="706"/>
                      </a:lnTo>
                      <a:lnTo>
                        <a:pt x="535" y="697"/>
                      </a:lnTo>
                      <a:lnTo>
                        <a:pt x="547" y="690"/>
                      </a:lnTo>
                      <a:lnTo>
                        <a:pt x="558" y="687"/>
                      </a:lnTo>
                      <a:lnTo>
                        <a:pt x="570" y="688"/>
                      </a:lnTo>
                      <a:lnTo>
                        <a:pt x="590" y="694"/>
                      </a:lnTo>
                      <a:lnTo>
                        <a:pt x="611" y="708"/>
                      </a:lnTo>
                      <a:lnTo>
                        <a:pt x="630" y="726"/>
                      </a:lnTo>
                      <a:lnTo>
                        <a:pt x="642" y="746"/>
                      </a:lnTo>
                      <a:lnTo>
                        <a:pt x="658" y="727"/>
                      </a:lnTo>
                      <a:lnTo>
                        <a:pt x="634" y="702"/>
                      </a:lnTo>
                      <a:lnTo>
                        <a:pt x="619" y="690"/>
                      </a:lnTo>
                      <a:lnTo>
                        <a:pt x="604" y="680"/>
                      </a:lnTo>
                      <a:lnTo>
                        <a:pt x="617" y="683"/>
                      </a:lnTo>
                      <a:lnTo>
                        <a:pt x="630" y="683"/>
                      </a:lnTo>
                      <a:lnTo>
                        <a:pt x="657" y="678"/>
                      </a:lnTo>
                      <a:lnTo>
                        <a:pt x="682" y="672"/>
                      </a:lnTo>
                      <a:lnTo>
                        <a:pt x="707" y="670"/>
                      </a:lnTo>
                      <a:lnTo>
                        <a:pt x="722" y="652"/>
                      </a:lnTo>
                      <a:lnTo>
                        <a:pt x="707" y="650"/>
                      </a:lnTo>
                      <a:lnTo>
                        <a:pt x="691" y="650"/>
                      </a:lnTo>
                      <a:lnTo>
                        <a:pt x="659" y="656"/>
                      </a:lnTo>
                      <a:lnTo>
                        <a:pt x="625" y="661"/>
                      </a:lnTo>
                      <a:lnTo>
                        <a:pt x="605" y="659"/>
                      </a:lnTo>
                      <a:lnTo>
                        <a:pt x="585" y="654"/>
                      </a:lnTo>
                      <a:lnTo>
                        <a:pt x="585" y="639"/>
                      </a:lnTo>
                      <a:lnTo>
                        <a:pt x="590" y="622"/>
                      </a:lnTo>
                      <a:lnTo>
                        <a:pt x="601" y="594"/>
                      </a:lnTo>
                      <a:lnTo>
                        <a:pt x="612" y="569"/>
                      </a:lnTo>
                      <a:lnTo>
                        <a:pt x="623" y="550"/>
                      </a:lnTo>
                      <a:lnTo>
                        <a:pt x="649" y="514"/>
                      </a:lnTo>
                      <a:lnTo>
                        <a:pt x="670" y="513"/>
                      </a:lnTo>
                      <a:lnTo>
                        <a:pt x="691" y="512"/>
                      </a:lnTo>
                      <a:lnTo>
                        <a:pt x="701" y="514"/>
                      </a:lnTo>
                      <a:lnTo>
                        <a:pt x="712" y="519"/>
                      </a:lnTo>
                      <a:lnTo>
                        <a:pt x="724" y="527"/>
                      </a:lnTo>
                      <a:lnTo>
                        <a:pt x="736" y="539"/>
                      </a:lnTo>
                      <a:lnTo>
                        <a:pt x="748" y="553"/>
                      </a:lnTo>
                      <a:lnTo>
                        <a:pt x="757" y="569"/>
                      </a:lnTo>
                      <a:lnTo>
                        <a:pt x="763" y="587"/>
                      </a:lnTo>
                      <a:lnTo>
                        <a:pt x="765" y="609"/>
                      </a:lnTo>
                      <a:lnTo>
                        <a:pt x="780" y="596"/>
                      </a:lnTo>
                      <a:lnTo>
                        <a:pt x="761" y="547"/>
                      </a:lnTo>
                      <a:lnTo>
                        <a:pt x="760" y="540"/>
                      </a:lnTo>
                      <a:lnTo>
                        <a:pt x="758" y="535"/>
                      </a:lnTo>
                      <a:lnTo>
                        <a:pt x="751" y="527"/>
                      </a:lnTo>
                      <a:lnTo>
                        <a:pt x="746" y="518"/>
                      </a:lnTo>
                      <a:lnTo>
                        <a:pt x="747" y="513"/>
                      </a:lnTo>
                      <a:lnTo>
                        <a:pt x="751" y="507"/>
                      </a:lnTo>
                      <a:lnTo>
                        <a:pt x="768" y="504"/>
                      </a:lnTo>
                      <a:lnTo>
                        <a:pt x="786" y="497"/>
                      </a:lnTo>
                      <a:lnTo>
                        <a:pt x="804" y="489"/>
                      </a:lnTo>
                      <a:lnTo>
                        <a:pt x="824" y="487"/>
                      </a:lnTo>
                      <a:lnTo>
                        <a:pt x="811" y="460"/>
                      </a:lnTo>
                      <a:lnTo>
                        <a:pt x="779" y="467"/>
                      </a:lnTo>
                      <a:lnTo>
                        <a:pt x="754" y="476"/>
                      </a:lnTo>
                      <a:lnTo>
                        <a:pt x="739" y="479"/>
                      </a:lnTo>
                      <a:lnTo>
                        <a:pt x="716" y="481"/>
                      </a:lnTo>
                      <a:lnTo>
                        <a:pt x="686" y="480"/>
                      </a:lnTo>
                      <a:lnTo>
                        <a:pt x="644" y="476"/>
                      </a:lnTo>
                      <a:lnTo>
                        <a:pt x="652" y="459"/>
                      </a:lnTo>
                      <a:lnTo>
                        <a:pt x="661" y="445"/>
                      </a:lnTo>
                      <a:lnTo>
                        <a:pt x="680" y="422"/>
                      </a:lnTo>
                      <a:lnTo>
                        <a:pt x="702" y="408"/>
                      </a:lnTo>
                      <a:lnTo>
                        <a:pt x="726" y="400"/>
                      </a:lnTo>
                      <a:lnTo>
                        <a:pt x="751" y="396"/>
                      </a:lnTo>
                      <a:lnTo>
                        <a:pt x="778" y="395"/>
                      </a:lnTo>
                      <a:lnTo>
                        <a:pt x="831" y="394"/>
                      </a:lnTo>
                      <a:lnTo>
                        <a:pt x="825" y="381"/>
                      </a:lnTo>
                      <a:lnTo>
                        <a:pt x="778" y="381"/>
                      </a:lnTo>
                      <a:lnTo>
                        <a:pt x="752" y="383"/>
                      </a:lnTo>
                      <a:lnTo>
                        <a:pt x="726" y="386"/>
                      </a:lnTo>
                      <a:lnTo>
                        <a:pt x="764" y="340"/>
                      </a:lnTo>
                      <a:lnTo>
                        <a:pt x="787" y="316"/>
                      </a:lnTo>
                      <a:lnTo>
                        <a:pt x="808" y="300"/>
                      </a:lnTo>
                      <a:lnTo>
                        <a:pt x="799" y="289"/>
                      </a:lnTo>
                      <a:lnTo>
                        <a:pt x="768" y="320"/>
                      </a:lnTo>
                      <a:lnTo>
                        <a:pt x="740" y="352"/>
                      </a:lnTo>
                      <a:lnTo>
                        <a:pt x="711" y="379"/>
                      </a:lnTo>
                      <a:lnTo>
                        <a:pt x="695" y="391"/>
                      </a:lnTo>
                      <a:lnTo>
                        <a:pt x="677" y="400"/>
                      </a:lnTo>
                      <a:lnTo>
                        <a:pt x="672" y="391"/>
                      </a:lnTo>
                      <a:lnTo>
                        <a:pt x="670" y="381"/>
                      </a:lnTo>
                      <a:lnTo>
                        <a:pt x="671" y="372"/>
                      </a:lnTo>
                      <a:lnTo>
                        <a:pt x="675" y="364"/>
                      </a:lnTo>
                      <a:lnTo>
                        <a:pt x="684" y="344"/>
                      </a:lnTo>
                      <a:lnTo>
                        <a:pt x="696" y="321"/>
                      </a:lnTo>
                      <a:lnTo>
                        <a:pt x="698" y="302"/>
                      </a:lnTo>
                      <a:lnTo>
                        <a:pt x="706" y="285"/>
                      </a:lnTo>
                      <a:lnTo>
                        <a:pt x="716" y="270"/>
                      </a:lnTo>
                      <a:lnTo>
                        <a:pt x="730" y="256"/>
                      </a:lnTo>
                      <a:lnTo>
                        <a:pt x="760" y="233"/>
                      </a:lnTo>
                      <a:lnTo>
                        <a:pt x="787" y="216"/>
                      </a:lnTo>
                      <a:lnTo>
                        <a:pt x="781" y="201"/>
                      </a:lnTo>
                      <a:lnTo>
                        <a:pt x="779" y="185"/>
                      </a:lnTo>
                      <a:lnTo>
                        <a:pt x="770" y="188"/>
                      </a:lnTo>
                      <a:lnTo>
                        <a:pt x="766" y="194"/>
                      </a:lnTo>
                      <a:lnTo>
                        <a:pt x="763" y="202"/>
                      </a:lnTo>
                      <a:lnTo>
                        <a:pt x="756" y="210"/>
                      </a:lnTo>
                      <a:lnTo>
                        <a:pt x="721" y="235"/>
                      </a:lnTo>
                      <a:lnTo>
                        <a:pt x="702" y="251"/>
                      </a:lnTo>
                      <a:lnTo>
                        <a:pt x="689" y="266"/>
                      </a:lnTo>
                      <a:lnTo>
                        <a:pt x="685" y="264"/>
                      </a:lnTo>
                      <a:lnTo>
                        <a:pt x="683" y="262"/>
                      </a:lnTo>
                      <a:lnTo>
                        <a:pt x="682" y="252"/>
                      </a:lnTo>
                      <a:lnTo>
                        <a:pt x="684" y="238"/>
                      </a:lnTo>
                      <a:lnTo>
                        <a:pt x="689" y="223"/>
                      </a:lnTo>
                      <a:lnTo>
                        <a:pt x="703" y="190"/>
                      </a:lnTo>
                      <a:lnTo>
                        <a:pt x="713" y="170"/>
                      </a:lnTo>
                      <a:lnTo>
                        <a:pt x="764" y="89"/>
                      </a:lnTo>
                      <a:lnTo>
                        <a:pt x="815" y="4"/>
                      </a:lnTo>
                      <a:lnTo>
                        <a:pt x="809" y="11"/>
                      </a:lnTo>
                      <a:lnTo>
                        <a:pt x="803" y="11"/>
                      </a:lnTo>
                      <a:lnTo>
                        <a:pt x="798" y="6"/>
                      </a:lnTo>
                      <a:lnTo>
                        <a:pt x="795" y="0"/>
                      </a:lnTo>
                      <a:lnTo>
                        <a:pt x="755" y="72"/>
                      </a:lnTo>
                      <a:lnTo>
                        <a:pt x="723" y="127"/>
                      </a:lnTo>
                      <a:lnTo>
                        <a:pt x="698" y="166"/>
                      </a:lnTo>
                      <a:lnTo>
                        <a:pt x="695" y="146"/>
                      </a:lnTo>
                      <a:lnTo>
                        <a:pt x="695" y="127"/>
                      </a:lnTo>
                      <a:lnTo>
                        <a:pt x="700" y="83"/>
                      </a:lnTo>
                      <a:lnTo>
                        <a:pt x="676" y="108"/>
                      </a:lnTo>
                      <a:lnTo>
                        <a:pt x="676" y="166"/>
                      </a:lnTo>
                      <a:lnTo>
                        <a:pt x="674" y="193"/>
                      </a:lnTo>
                      <a:lnTo>
                        <a:pt x="669" y="221"/>
                      </a:lnTo>
                      <a:lnTo>
                        <a:pt x="661" y="271"/>
                      </a:lnTo>
                      <a:lnTo>
                        <a:pt x="659" y="299"/>
                      </a:lnTo>
                      <a:lnTo>
                        <a:pt x="661" y="323"/>
                      </a:lnTo>
                      <a:lnTo>
                        <a:pt x="653" y="345"/>
                      </a:lnTo>
                      <a:lnTo>
                        <a:pt x="647" y="369"/>
                      </a:lnTo>
                      <a:lnTo>
                        <a:pt x="640" y="393"/>
                      </a:lnTo>
                      <a:lnTo>
                        <a:pt x="632" y="418"/>
                      </a:lnTo>
                      <a:lnTo>
                        <a:pt x="621" y="378"/>
                      </a:lnTo>
                      <a:lnTo>
                        <a:pt x="618" y="356"/>
                      </a:lnTo>
                      <a:lnTo>
                        <a:pt x="620" y="339"/>
                      </a:lnTo>
                      <a:lnTo>
                        <a:pt x="615" y="285"/>
                      </a:lnTo>
                      <a:lnTo>
                        <a:pt x="615" y="230"/>
                      </a:lnTo>
                      <a:lnTo>
                        <a:pt x="628" y="187"/>
                      </a:lnTo>
                      <a:lnTo>
                        <a:pt x="634" y="164"/>
                      </a:lnTo>
                      <a:lnTo>
                        <a:pt x="635" y="140"/>
                      </a:lnTo>
                      <a:lnTo>
                        <a:pt x="625" y="145"/>
                      </a:lnTo>
                      <a:lnTo>
                        <a:pt x="615" y="148"/>
                      </a:lnTo>
                      <a:lnTo>
                        <a:pt x="613" y="169"/>
                      </a:lnTo>
                      <a:lnTo>
                        <a:pt x="609" y="188"/>
                      </a:lnTo>
                      <a:lnTo>
                        <a:pt x="599" y="229"/>
                      </a:lnTo>
                      <a:lnTo>
                        <a:pt x="597" y="253"/>
                      </a:lnTo>
                      <a:lnTo>
                        <a:pt x="598" y="280"/>
                      </a:lnTo>
                      <a:lnTo>
                        <a:pt x="597" y="305"/>
                      </a:lnTo>
                      <a:lnTo>
                        <a:pt x="593" y="329"/>
                      </a:lnTo>
                      <a:lnTo>
                        <a:pt x="569" y="293"/>
                      </a:lnTo>
                      <a:lnTo>
                        <a:pt x="548" y="249"/>
                      </a:lnTo>
                      <a:lnTo>
                        <a:pt x="528" y="203"/>
                      </a:lnTo>
                      <a:lnTo>
                        <a:pt x="512" y="158"/>
                      </a:lnTo>
                      <a:lnTo>
                        <a:pt x="510" y="178"/>
                      </a:lnTo>
                      <a:lnTo>
                        <a:pt x="508" y="195"/>
                      </a:lnTo>
                      <a:lnTo>
                        <a:pt x="516" y="211"/>
                      </a:lnTo>
                      <a:lnTo>
                        <a:pt x="529" y="238"/>
                      </a:lnTo>
                      <a:lnTo>
                        <a:pt x="560" y="311"/>
                      </a:lnTo>
                      <a:lnTo>
                        <a:pt x="599" y="413"/>
                      </a:lnTo>
                      <a:lnTo>
                        <a:pt x="607" y="427"/>
                      </a:lnTo>
                      <a:lnTo>
                        <a:pt x="610" y="445"/>
                      </a:lnTo>
                      <a:lnTo>
                        <a:pt x="610" y="463"/>
                      </a:lnTo>
                      <a:lnTo>
                        <a:pt x="606" y="484"/>
                      </a:lnTo>
                      <a:lnTo>
                        <a:pt x="595" y="524"/>
                      </a:lnTo>
                      <a:lnTo>
                        <a:pt x="585" y="557"/>
                      </a:lnTo>
                      <a:lnTo>
                        <a:pt x="566" y="602"/>
                      </a:lnTo>
                      <a:lnTo>
                        <a:pt x="538" y="650"/>
                      </a:lnTo>
                      <a:lnTo>
                        <a:pt x="522" y="672"/>
                      </a:lnTo>
                      <a:lnTo>
                        <a:pt x="504" y="692"/>
                      </a:lnTo>
                      <a:lnTo>
                        <a:pt x="486" y="708"/>
                      </a:lnTo>
                      <a:lnTo>
                        <a:pt x="468" y="720"/>
                      </a:lnTo>
                      <a:lnTo>
                        <a:pt x="441" y="737"/>
                      </a:lnTo>
                      <a:lnTo>
                        <a:pt x="426" y="747"/>
                      </a:lnTo>
                      <a:lnTo>
                        <a:pt x="414" y="751"/>
                      </a:lnTo>
                      <a:lnTo>
                        <a:pt x="418" y="719"/>
                      </a:lnTo>
                      <a:lnTo>
                        <a:pt x="428" y="679"/>
                      </a:lnTo>
                      <a:lnTo>
                        <a:pt x="441" y="635"/>
                      </a:lnTo>
                      <a:lnTo>
                        <a:pt x="458" y="589"/>
                      </a:lnTo>
                      <a:lnTo>
                        <a:pt x="490" y="503"/>
                      </a:lnTo>
                      <a:lnTo>
                        <a:pt x="502" y="467"/>
                      </a:lnTo>
                      <a:lnTo>
                        <a:pt x="509" y="442"/>
                      </a:lnTo>
                      <a:lnTo>
                        <a:pt x="514" y="399"/>
                      </a:lnTo>
                      <a:lnTo>
                        <a:pt x="516" y="352"/>
                      </a:lnTo>
                      <a:lnTo>
                        <a:pt x="515" y="305"/>
                      </a:lnTo>
                      <a:lnTo>
                        <a:pt x="509" y="263"/>
                      </a:lnTo>
                      <a:lnTo>
                        <a:pt x="502" y="250"/>
                      </a:lnTo>
                      <a:lnTo>
                        <a:pt x="500" y="240"/>
                      </a:lnTo>
                      <a:lnTo>
                        <a:pt x="499" y="209"/>
                      </a:lnTo>
                      <a:lnTo>
                        <a:pt x="494" y="209"/>
                      </a:lnTo>
                      <a:lnTo>
                        <a:pt x="488" y="207"/>
                      </a:lnTo>
                      <a:lnTo>
                        <a:pt x="480" y="200"/>
                      </a:lnTo>
                      <a:lnTo>
                        <a:pt x="476" y="219"/>
                      </a:lnTo>
                      <a:lnTo>
                        <a:pt x="494" y="234"/>
                      </a:lnTo>
                      <a:lnTo>
                        <a:pt x="491" y="238"/>
                      </a:lnTo>
                      <a:lnTo>
                        <a:pt x="485" y="240"/>
                      </a:lnTo>
                      <a:lnTo>
                        <a:pt x="472" y="241"/>
                      </a:lnTo>
                      <a:lnTo>
                        <a:pt x="483" y="249"/>
                      </a:lnTo>
                      <a:lnTo>
                        <a:pt x="490" y="261"/>
                      </a:lnTo>
                      <a:lnTo>
                        <a:pt x="496" y="274"/>
                      </a:lnTo>
                      <a:lnTo>
                        <a:pt x="499" y="289"/>
                      </a:lnTo>
                      <a:lnTo>
                        <a:pt x="502" y="322"/>
                      </a:lnTo>
                      <a:lnTo>
                        <a:pt x="504" y="352"/>
                      </a:lnTo>
                      <a:lnTo>
                        <a:pt x="501" y="386"/>
                      </a:lnTo>
                      <a:lnTo>
                        <a:pt x="497" y="418"/>
                      </a:lnTo>
                      <a:lnTo>
                        <a:pt x="491" y="448"/>
                      </a:lnTo>
                      <a:lnTo>
                        <a:pt x="483" y="475"/>
                      </a:lnTo>
                      <a:lnTo>
                        <a:pt x="473" y="497"/>
                      </a:lnTo>
                      <a:lnTo>
                        <a:pt x="463" y="514"/>
                      </a:lnTo>
                      <a:lnTo>
                        <a:pt x="453" y="526"/>
                      </a:lnTo>
                      <a:lnTo>
                        <a:pt x="443" y="530"/>
                      </a:lnTo>
                      <a:lnTo>
                        <a:pt x="437" y="504"/>
                      </a:lnTo>
                      <a:lnTo>
                        <a:pt x="435" y="471"/>
                      </a:lnTo>
                      <a:lnTo>
                        <a:pt x="439" y="440"/>
                      </a:lnTo>
                      <a:lnTo>
                        <a:pt x="443" y="428"/>
                      </a:lnTo>
                      <a:lnTo>
                        <a:pt x="448" y="420"/>
                      </a:lnTo>
                      <a:lnTo>
                        <a:pt x="435" y="399"/>
                      </a:lnTo>
                      <a:lnTo>
                        <a:pt x="428" y="410"/>
                      </a:lnTo>
                      <a:lnTo>
                        <a:pt x="423" y="421"/>
                      </a:lnTo>
                      <a:lnTo>
                        <a:pt x="418" y="447"/>
                      </a:lnTo>
                      <a:lnTo>
                        <a:pt x="417" y="474"/>
                      </a:lnTo>
                      <a:lnTo>
                        <a:pt x="419" y="504"/>
                      </a:lnTo>
                      <a:lnTo>
                        <a:pt x="429" y="559"/>
                      </a:lnTo>
                      <a:lnTo>
                        <a:pt x="433" y="584"/>
                      </a:lnTo>
                      <a:lnTo>
                        <a:pt x="435" y="604"/>
                      </a:lnTo>
                      <a:lnTo>
                        <a:pt x="417" y="632"/>
                      </a:lnTo>
                      <a:lnTo>
                        <a:pt x="403" y="665"/>
                      </a:lnTo>
                      <a:lnTo>
                        <a:pt x="378" y="736"/>
                      </a:lnTo>
                      <a:lnTo>
                        <a:pt x="372" y="737"/>
                      </a:lnTo>
                      <a:lnTo>
                        <a:pt x="367" y="737"/>
                      </a:lnTo>
                      <a:lnTo>
                        <a:pt x="356" y="729"/>
                      </a:lnTo>
                      <a:lnTo>
                        <a:pt x="344" y="715"/>
                      </a:lnTo>
                      <a:lnTo>
                        <a:pt x="332" y="698"/>
                      </a:lnTo>
                      <a:lnTo>
                        <a:pt x="314" y="667"/>
                      </a:lnTo>
                      <a:lnTo>
                        <a:pt x="309" y="658"/>
                      </a:lnTo>
                      <a:lnTo>
                        <a:pt x="309" y="656"/>
                      </a:lnTo>
                      <a:lnTo>
                        <a:pt x="309" y="657"/>
                      </a:lnTo>
                      <a:lnTo>
                        <a:pt x="304" y="647"/>
                      </a:lnTo>
                      <a:lnTo>
                        <a:pt x="299" y="638"/>
                      </a:lnTo>
                      <a:lnTo>
                        <a:pt x="292" y="629"/>
                      </a:lnTo>
                      <a:lnTo>
                        <a:pt x="289" y="620"/>
                      </a:lnTo>
                      <a:lnTo>
                        <a:pt x="287" y="605"/>
                      </a:lnTo>
                      <a:lnTo>
                        <a:pt x="290" y="588"/>
                      </a:lnTo>
                      <a:lnTo>
                        <a:pt x="299" y="557"/>
                      </a:lnTo>
                      <a:lnTo>
                        <a:pt x="309" y="538"/>
                      </a:lnTo>
                      <a:lnTo>
                        <a:pt x="322" y="518"/>
                      </a:lnTo>
                      <a:lnTo>
                        <a:pt x="358" y="479"/>
                      </a:lnTo>
                      <a:lnTo>
                        <a:pt x="376" y="457"/>
                      </a:lnTo>
                      <a:lnTo>
                        <a:pt x="394" y="434"/>
                      </a:lnTo>
                      <a:lnTo>
                        <a:pt x="408" y="410"/>
                      </a:lnTo>
                      <a:lnTo>
                        <a:pt x="418" y="383"/>
                      </a:lnTo>
                      <a:lnTo>
                        <a:pt x="411" y="384"/>
                      </a:lnTo>
                      <a:lnTo>
                        <a:pt x="404" y="389"/>
                      </a:lnTo>
                      <a:lnTo>
                        <a:pt x="393" y="403"/>
                      </a:lnTo>
                      <a:lnTo>
                        <a:pt x="383" y="418"/>
                      </a:lnTo>
                      <a:lnTo>
                        <a:pt x="371" y="432"/>
                      </a:lnTo>
                      <a:lnTo>
                        <a:pt x="355" y="459"/>
                      </a:lnTo>
                      <a:lnTo>
                        <a:pt x="328" y="491"/>
                      </a:lnTo>
                      <a:lnTo>
                        <a:pt x="300" y="518"/>
                      </a:lnTo>
                      <a:lnTo>
                        <a:pt x="279" y="534"/>
                      </a:lnTo>
                      <a:lnTo>
                        <a:pt x="273" y="514"/>
                      </a:lnTo>
                      <a:lnTo>
                        <a:pt x="267" y="489"/>
                      </a:lnTo>
                      <a:lnTo>
                        <a:pt x="264" y="464"/>
                      </a:lnTo>
                      <a:lnTo>
                        <a:pt x="265" y="454"/>
                      </a:lnTo>
                      <a:lnTo>
                        <a:pt x="267" y="446"/>
                      </a:lnTo>
                      <a:lnTo>
                        <a:pt x="258" y="436"/>
                      </a:lnTo>
                      <a:lnTo>
                        <a:pt x="249" y="427"/>
                      </a:lnTo>
                      <a:lnTo>
                        <a:pt x="248" y="442"/>
                      </a:lnTo>
                      <a:lnTo>
                        <a:pt x="246" y="451"/>
                      </a:lnTo>
                      <a:lnTo>
                        <a:pt x="243" y="465"/>
                      </a:lnTo>
                      <a:lnTo>
                        <a:pt x="244" y="477"/>
                      </a:lnTo>
                      <a:lnTo>
                        <a:pt x="249" y="494"/>
                      </a:lnTo>
                      <a:lnTo>
                        <a:pt x="270" y="560"/>
                      </a:lnTo>
                      <a:lnTo>
                        <a:pt x="264" y="597"/>
                      </a:lnTo>
                      <a:lnTo>
                        <a:pt x="261" y="606"/>
                      </a:lnTo>
                      <a:lnTo>
                        <a:pt x="257" y="610"/>
                      </a:lnTo>
                      <a:lnTo>
                        <a:pt x="254" y="609"/>
                      </a:lnTo>
                      <a:lnTo>
                        <a:pt x="250" y="604"/>
                      </a:lnTo>
                      <a:lnTo>
                        <a:pt x="241" y="583"/>
                      </a:lnTo>
                      <a:lnTo>
                        <a:pt x="205" y="504"/>
                      </a:lnTo>
                      <a:lnTo>
                        <a:pt x="195" y="478"/>
                      </a:lnTo>
                      <a:lnTo>
                        <a:pt x="191" y="457"/>
                      </a:lnTo>
                      <a:lnTo>
                        <a:pt x="192" y="440"/>
                      </a:lnTo>
                      <a:lnTo>
                        <a:pt x="196" y="425"/>
                      </a:lnTo>
                      <a:lnTo>
                        <a:pt x="205" y="409"/>
                      </a:lnTo>
                      <a:lnTo>
                        <a:pt x="218" y="391"/>
                      </a:lnTo>
                      <a:lnTo>
                        <a:pt x="213" y="368"/>
                      </a:lnTo>
                      <a:lnTo>
                        <a:pt x="183" y="407"/>
                      </a:lnTo>
                      <a:lnTo>
                        <a:pt x="177" y="420"/>
                      </a:lnTo>
                      <a:lnTo>
                        <a:pt x="174" y="430"/>
                      </a:lnTo>
                      <a:lnTo>
                        <a:pt x="175" y="457"/>
                      </a:lnTo>
                      <a:lnTo>
                        <a:pt x="177" y="506"/>
                      </a:lnTo>
                      <a:lnTo>
                        <a:pt x="161" y="504"/>
                      </a:lnTo>
                      <a:lnTo>
                        <a:pt x="144" y="498"/>
                      </a:lnTo>
                      <a:lnTo>
                        <a:pt x="111" y="481"/>
                      </a:lnTo>
                      <a:lnTo>
                        <a:pt x="78" y="464"/>
                      </a:lnTo>
                      <a:lnTo>
                        <a:pt x="62" y="458"/>
                      </a:lnTo>
                      <a:lnTo>
                        <a:pt x="46" y="456"/>
                      </a:lnTo>
                      <a:lnTo>
                        <a:pt x="39" y="459"/>
                      </a:lnTo>
                      <a:lnTo>
                        <a:pt x="28" y="460"/>
                      </a:lnTo>
                      <a:lnTo>
                        <a:pt x="0" y="461"/>
                      </a:lnTo>
                      <a:lnTo>
                        <a:pt x="30" y="464"/>
                      </a:lnTo>
                      <a:lnTo>
                        <a:pt x="52" y="470"/>
                      </a:lnTo>
                      <a:lnTo>
                        <a:pt x="65" y="480"/>
                      </a:lnTo>
                      <a:lnTo>
                        <a:pt x="69" y="486"/>
                      </a:lnTo>
                      <a:lnTo>
                        <a:pt x="70" y="492"/>
                      </a:lnTo>
                      <a:lnTo>
                        <a:pt x="86" y="494"/>
                      </a:lnTo>
                      <a:lnTo>
                        <a:pt x="107" y="503"/>
                      </a:lnTo>
                      <a:lnTo>
                        <a:pt x="130" y="514"/>
                      </a:lnTo>
                      <a:lnTo>
                        <a:pt x="155" y="530"/>
                      </a:lnTo>
                      <a:lnTo>
                        <a:pt x="178" y="547"/>
                      </a:lnTo>
                      <a:lnTo>
                        <a:pt x="197" y="565"/>
                      </a:lnTo>
                      <a:lnTo>
                        <a:pt x="210" y="582"/>
                      </a:lnTo>
                      <a:lnTo>
                        <a:pt x="213" y="590"/>
                      </a:lnTo>
                      <a:lnTo>
                        <a:pt x="214" y="599"/>
                      </a:lnTo>
                      <a:lnTo>
                        <a:pt x="213" y="604"/>
                      </a:lnTo>
                      <a:lnTo>
                        <a:pt x="208" y="610"/>
                      </a:lnTo>
                      <a:lnTo>
                        <a:pt x="192" y="620"/>
                      </a:lnTo>
                      <a:lnTo>
                        <a:pt x="167" y="627"/>
                      </a:lnTo>
                      <a:lnTo>
                        <a:pt x="138" y="633"/>
                      </a:lnTo>
                      <a:lnTo>
                        <a:pt x="84" y="641"/>
                      </a:lnTo>
                      <a:lnTo>
                        <a:pt x="57" y="642"/>
                      </a:lnTo>
                      <a:lnTo>
                        <a:pt x="65" y="654"/>
                      </a:lnTo>
                      <a:lnTo>
                        <a:pt x="96" y="653"/>
                      </a:lnTo>
                      <a:lnTo>
                        <a:pt x="129" y="648"/>
                      </a:lnTo>
                      <a:lnTo>
                        <a:pt x="162" y="642"/>
                      </a:lnTo>
                      <a:lnTo>
                        <a:pt x="192" y="633"/>
                      </a:lnTo>
                      <a:lnTo>
                        <a:pt x="204" y="631"/>
                      </a:lnTo>
                      <a:lnTo>
                        <a:pt x="217" y="634"/>
                      </a:lnTo>
                      <a:lnTo>
                        <a:pt x="231" y="639"/>
                      </a:lnTo>
                      <a:lnTo>
                        <a:pt x="244" y="648"/>
                      </a:lnTo>
                      <a:lnTo>
                        <a:pt x="269" y="670"/>
                      </a:lnTo>
                      <a:lnTo>
                        <a:pt x="279" y="682"/>
                      </a:lnTo>
                      <a:lnTo>
                        <a:pt x="284" y="694"/>
                      </a:lnTo>
                      <a:lnTo>
                        <a:pt x="289" y="703"/>
                      </a:lnTo>
                      <a:lnTo>
                        <a:pt x="296" y="712"/>
                      </a:lnTo>
                      <a:lnTo>
                        <a:pt x="314" y="729"/>
                      </a:lnTo>
                      <a:lnTo>
                        <a:pt x="332" y="745"/>
                      </a:lnTo>
                      <a:lnTo>
                        <a:pt x="339" y="754"/>
                      </a:lnTo>
                      <a:lnTo>
                        <a:pt x="343" y="763"/>
                      </a:lnTo>
                      <a:lnTo>
                        <a:pt x="368" y="826"/>
                      </a:lnTo>
                      <a:lnTo>
                        <a:pt x="366" y="889"/>
                      </a:lnTo>
                      <a:lnTo>
                        <a:pt x="364" y="922"/>
                      </a:lnTo>
                      <a:lnTo>
                        <a:pt x="365" y="954"/>
                      </a:lnTo>
                      <a:lnTo>
                        <a:pt x="347" y="943"/>
                      </a:lnTo>
                      <a:lnTo>
                        <a:pt x="330" y="927"/>
                      </a:lnTo>
                      <a:lnTo>
                        <a:pt x="299" y="888"/>
                      </a:lnTo>
                      <a:lnTo>
                        <a:pt x="267" y="844"/>
                      </a:lnTo>
                      <a:lnTo>
                        <a:pt x="248" y="821"/>
                      </a:lnTo>
                      <a:lnTo>
                        <a:pt x="227" y="800"/>
                      </a:lnTo>
                      <a:lnTo>
                        <a:pt x="232" y="808"/>
                      </a:lnTo>
                      <a:lnTo>
                        <a:pt x="235" y="818"/>
                      </a:lnTo>
                      <a:lnTo>
                        <a:pt x="241" y="838"/>
                      </a:lnTo>
                      <a:lnTo>
                        <a:pt x="277" y="889"/>
                      </a:lnTo>
                      <a:lnTo>
                        <a:pt x="308" y="943"/>
                      </a:lnTo>
                      <a:lnTo>
                        <a:pt x="334" y="1000"/>
                      </a:lnTo>
                      <a:lnTo>
                        <a:pt x="356" y="1060"/>
                      </a:lnTo>
                      <a:lnTo>
                        <a:pt x="365" y="1099"/>
                      </a:lnTo>
                      <a:lnTo>
                        <a:pt x="367" y="1138"/>
                      </a:lnTo>
                      <a:lnTo>
                        <a:pt x="366" y="1177"/>
                      </a:lnTo>
                      <a:lnTo>
                        <a:pt x="360" y="1216"/>
                      </a:lnTo>
                      <a:lnTo>
                        <a:pt x="345" y="1292"/>
                      </a:lnTo>
                      <a:lnTo>
                        <a:pt x="339" y="1330"/>
                      </a:lnTo>
                      <a:lnTo>
                        <a:pt x="333" y="1366"/>
                      </a:lnTo>
                      <a:lnTo>
                        <a:pt x="332" y="1460"/>
                      </a:lnTo>
                      <a:lnTo>
                        <a:pt x="334" y="1523"/>
                      </a:lnTo>
                      <a:lnTo>
                        <a:pt x="336" y="1564"/>
                      </a:lnTo>
                      <a:lnTo>
                        <a:pt x="338" y="1582"/>
                      </a:lnTo>
                      <a:lnTo>
                        <a:pt x="337" y="1600"/>
                      </a:lnTo>
                      <a:lnTo>
                        <a:pt x="332" y="1638"/>
                      </a:lnTo>
                      <a:lnTo>
                        <a:pt x="324" y="1677"/>
                      </a:lnTo>
                      <a:lnTo>
                        <a:pt x="317" y="1713"/>
                      </a:lnTo>
                      <a:lnTo>
                        <a:pt x="307" y="1716"/>
                      </a:lnTo>
                      <a:lnTo>
                        <a:pt x="295" y="1724"/>
                      </a:lnTo>
                      <a:lnTo>
                        <a:pt x="273" y="1749"/>
                      </a:lnTo>
                      <a:lnTo>
                        <a:pt x="250" y="1773"/>
                      </a:lnTo>
                      <a:lnTo>
                        <a:pt x="237" y="1782"/>
                      </a:lnTo>
                      <a:lnTo>
                        <a:pt x="224" y="1785"/>
                      </a:lnTo>
                      <a:lnTo>
                        <a:pt x="238" y="1785"/>
                      </a:lnTo>
                      <a:lnTo>
                        <a:pt x="250" y="1784"/>
                      </a:lnTo>
                      <a:lnTo>
                        <a:pt x="273" y="1777"/>
                      </a:lnTo>
                      <a:lnTo>
                        <a:pt x="295" y="1768"/>
                      </a:lnTo>
                      <a:lnTo>
                        <a:pt x="320" y="1765"/>
                      </a:lnTo>
                      <a:lnTo>
                        <a:pt x="348" y="1778"/>
                      </a:lnTo>
                      <a:lnTo>
                        <a:pt x="369" y="1785"/>
                      </a:lnTo>
                      <a:lnTo>
                        <a:pt x="378" y="1785"/>
                      </a:lnTo>
                      <a:lnTo>
                        <a:pt x="387" y="1783"/>
                      </a:lnTo>
                      <a:lnTo>
                        <a:pt x="397" y="1778"/>
                      </a:lnTo>
                      <a:lnTo>
                        <a:pt x="407" y="1770"/>
                      </a:lnTo>
                      <a:lnTo>
                        <a:pt x="428" y="1772"/>
                      </a:lnTo>
                      <a:lnTo>
                        <a:pt x="446" y="1777"/>
                      </a:lnTo>
                      <a:lnTo>
                        <a:pt x="465" y="1783"/>
                      </a:lnTo>
                      <a:lnTo>
                        <a:pt x="486" y="1785"/>
                      </a:lnTo>
                      <a:lnTo>
                        <a:pt x="470" y="1771"/>
                      </a:lnTo>
                      <a:lnTo>
                        <a:pt x="461" y="1754"/>
                      </a:lnTo>
                      <a:lnTo>
                        <a:pt x="456" y="1734"/>
                      </a:lnTo>
                      <a:lnTo>
                        <a:pt x="450" y="170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rtlCol="0"/>
                <a:lstStyle/>
                <a:p>
                  <a:pPr rtl="0"/>
                  <a:endParaRPr lang="en-US"/>
                </a:p>
              </p:txBody>
            </p:sp>
            <p:sp>
              <p:nvSpPr>
                <p:cNvPr id="775" name="Oval 967">
                  <a:extLst>
                    <a:ext uri="{FF2B5EF4-FFF2-40B4-BE49-F238E27FC236}">
                      <a16:creationId xmlns:a16="http://schemas.microsoft.com/office/drawing/2014/main" id="{C8690824-3677-2974-D3FA-8544C44F84A6}"/>
                    </a:ext>
                  </a:extLst>
                </p:cNvPr>
                <p:cNvSpPr>
                  <a:spLocks noChangeArrowheads="1"/>
                </p:cNvSpPr>
                <p:nvPr/>
              </p:nvSpPr>
              <p:spPr bwMode="auto">
                <a:xfrm>
                  <a:off x="430" y="1338"/>
                  <a:ext cx="99" cy="102"/>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6" name="Oval 968">
                  <a:extLst>
                    <a:ext uri="{FF2B5EF4-FFF2-40B4-BE49-F238E27FC236}">
                      <a16:creationId xmlns:a16="http://schemas.microsoft.com/office/drawing/2014/main" id="{E5662CF8-5497-677D-C179-C5C4276F13DB}"/>
                    </a:ext>
                  </a:extLst>
                </p:cNvPr>
                <p:cNvSpPr>
                  <a:spLocks noChangeArrowheads="1"/>
                </p:cNvSpPr>
                <p:nvPr/>
              </p:nvSpPr>
              <p:spPr bwMode="auto">
                <a:xfrm>
                  <a:off x="296" y="1468"/>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7" name="Oval 969">
                  <a:extLst>
                    <a:ext uri="{FF2B5EF4-FFF2-40B4-BE49-F238E27FC236}">
                      <a16:creationId xmlns:a16="http://schemas.microsoft.com/office/drawing/2014/main" id="{AFF0DE29-C3BE-E48A-A7E1-FC7BDBD60D71}"/>
                    </a:ext>
                  </a:extLst>
                </p:cNvPr>
                <p:cNvSpPr>
                  <a:spLocks noChangeArrowheads="1"/>
                </p:cNvSpPr>
                <p:nvPr/>
              </p:nvSpPr>
              <p:spPr bwMode="auto">
                <a:xfrm>
                  <a:off x="474" y="1508"/>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8" name="Oval 970">
                  <a:extLst>
                    <a:ext uri="{FF2B5EF4-FFF2-40B4-BE49-F238E27FC236}">
                      <a16:creationId xmlns:a16="http://schemas.microsoft.com/office/drawing/2014/main" id="{7D8FA19B-93E8-31F4-DDE5-C9449D1DAAD1}"/>
                    </a:ext>
                  </a:extLst>
                </p:cNvPr>
                <p:cNvSpPr>
                  <a:spLocks noChangeArrowheads="1"/>
                </p:cNvSpPr>
                <p:nvPr/>
              </p:nvSpPr>
              <p:spPr bwMode="auto">
                <a:xfrm>
                  <a:off x="642" y="1360"/>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79" name="Oval 971">
                  <a:extLst>
                    <a:ext uri="{FF2B5EF4-FFF2-40B4-BE49-F238E27FC236}">
                      <a16:creationId xmlns:a16="http://schemas.microsoft.com/office/drawing/2014/main" id="{DA973916-AA7E-AFE8-AD10-D7AE1A7CDF2B}"/>
                    </a:ext>
                  </a:extLst>
                </p:cNvPr>
                <p:cNvSpPr>
                  <a:spLocks noChangeArrowheads="1"/>
                </p:cNvSpPr>
                <p:nvPr/>
              </p:nvSpPr>
              <p:spPr bwMode="auto">
                <a:xfrm>
                  <a:off x="816" y="1303"/>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80" name="Oval 972">
                  <a:extLst>
                    <a:ext uri="{FF2B5EF4-FFF2-40B4-BE49-F238E27FC236}">
                      <a16:creationId xmlns:a16="http://schemas.microsoft.com/office/drawing/2014/main" id="{12D7FEA2-F8B4-7A66-8E01-F9FAA222D90D}"/>
                    </a:ext>
                  </a:extLst>
                </p:cNvPr>
                <p:cNvSpPr>
                  <a:spLocks noChangeArrowheads="1"/>
                </p:cNvSpPr>
                <p:nvPr/>
              </p:nvSpPr>
              <p:spPr bwMode="auto">
                <a:xfrm>
                  <a:off x="766" y="1497"/>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81" name="Oval 973">
                  <a:extLst>
                    <a:ext uri="{FF2B5EF4-FFF2-40B4-BE49-F238E27FC236}">
                      <a16:creationId xmlns:a16="http://schemas.microsoft.com/office/drawing/2014/main" id="{F8F1BC08-5D12-D117-FD1B-3358AA094AAD}"/>
                    </a:ext>
                  </a:extLst>
                </p:cNvPr>
                <p:cNvSpPr>
                  <a:spLocks noChangeArrowheads="1"/>
                </p:cNvSpPr>
                <p:nvPr/>
              </p:nvSpPr>
              <p:spPr bwMode="auto">
                <a:xfrm>
                  <a:off x="618" y="1565"/>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sp>
              <p:nvSpPr>
                <p:cNvPr id="782" name="Oval 974">
                  <a:extLst>
                    <a:ext uri="{FF2B5EF4-FFF2-40B4-BE49-F238E27FC236}">
                      <a16:creationId xmlns:a16="http://schemas.microsoft.com/office/drawing/2014/main" id="{A2787E35-2E27-C672-5BD9-28EC320D5A3A}"/>
                    </a:ext>
                  </a:extLst>
                </p:cNvPr>
                <p:cNvSpPr>
                  <a:spLocks noChangeArrowheads="1"/>
                </p:cNvSpPr>
                <p:nvPr/>
              </p:nvSpPr>
              <p:spPr bwMode="auto">
                <a:xfrm>
                  <a:off x="925" y="1468"/>
                  <a:ext cx="100" cy="103"/>
                </a:xfrm>
                <a:prstGeom prst="ellipse">
                  <a:avLst/>
                </a:prstGeom>
                <a:solidFill>
                  <a:srgbClr val="FFFFCC"/>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rtl="0"/>
                  <a:endParaRPr lang="en-US"/>
                </a:p>
              </p:txBody>
            </p:sp>
          </p:grpSp>
          <p:pic>
            <p:nvPicPr>
              <p:cNvPr id="611" name="Picture 219" descr="D:\@A-Datas120326\ZoologyMammalia\Phacochere1.jpg">
                <a:extLst>
                  <a:ext uri="{FF2B5EF4-FFF2-40B4-BE49-F238E27FC236}">
                    <a16:creationId xmlns:a16="http://schemas.microsoft.com/office/drawing/2014/main" id="{8C830A90-54DD-8DFA-8143-5AD6821B6C3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473" y="3884603"/>
                <a:ext cx="877391" cy="479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2" name="Picture 505" descr="bush buck">
                <a:extLst>
                  <a:ext uri="{FF2B5EF4-FFF2-40B4-BE49-F238E27FC236}">
                    <a16:creationId xmlns:a16="http://schemas.microsoft.com/office/drawing/2014/main" id="{177B3B30-DC68-D7BA-79A6-FA42FADB7A8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3356" y="3410844"/>
                <a:ext cx="6223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3" name="Picture 506" descr="gorille2">
                <a:extLst>
                  <a:ext uri="{FF2B5EF4-FFF2-40B4-BE49-F238E27FC236}">
                    <a16:creationId xmlns:a16="http://schemas.microsoft.com/office/drawing/2014/main" id="{F38DAB2D-7400-5099-C22B-B39A23C1FC68}"/>
                  </a:ext>
                </a:extLst>
              </p:cNvPr>
              <p:cNvPicPr>
                <a:picLocks noChangeAspect="1" noChangeArrowheads="1"/>
              </p:cNvPicPr>
              <p:nvPr/>
            </p:nvPicPr>
            <p:blipFill>
              <a:blip r:embed="rId12">
                <a:lum contrast="6000"/>
                <a:extLst>
                  <a:ext uri="{28A0092B-C50C-407E-A947-70E740481C1C}">
                    <a14:useLocalDpi xmlns:a14="http://schemas.microsoft.com/office/drawing/2010/main" val="0"/>
                  </a:ext>
                </a:extLst>
              </a:blip>
              <a:srcRect/>
              <a:stretch>
                <a:fillRect/>
              </a:stretch>
            </p:blipFill>
            <p:spPr bwMode="auto">
              <a:xfrm>
                <a:off x="1311640" y="3585630"/>
                <a:ext cx="758825" cy="7762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14" name="Freeform 782">
                <a:extLst>
                  <a:ext uri="{FF2B5EF4-FFF2-40B4-BE49-F238E27FC236}">
                    <a16:creationId xmlns:a16="http://schemas.microsoft.com/office/drawing/2014/main" id="{690E691F-E8BA-0C23-AAC5-C8307C866BB3}"/>
                  </a:ext>
                </a:extLst>
              </p:cNvPr>
              <p:cNvSpPr>
                <a:spLocks noChangeAspect="1"/>
              </p:cNvSpPr>
              <p:nvPr/>
            </p:nvSpPr>
            <p:spPr bwMode="auto">
              <a:xfrm>
                <a:off x="2266153" y="3998903"/>
                <a:ext cx="731838" cy="458788"/>
              </a:xfrm>
              <a:custGeom>
                <a:avLst/>
                <a:gdLst>
                  <a:gd name="T0" fmla="*/ 89870598 w 4432"/>
                  <a:gd name="T1" fmla="*/ 3933248 h 2776"/>
                  <a:gd name="T2" fmla="*/ 94233224 w 4432"/>
                  <a:gd name="T3" fmla="*/ 655459 h 2776"/>
                  <a:gd name="T4" fmla="*/ 109502582 w 4432"/>
                  <a:gd name="T5" fmla="*/ 2185193 h 2776"/>
                  <a:gd name="T6" fmla="*/ 113865208 w 4432"/>
                  <a:gd name="T7" fmla="*/ 8084982 h 2776"/>
                  <a:gd name="T8" fmla="*/ 114083339 w 4432"/>
                  <a:gd name="T9" fmla="*/ 15951312 h 2776"/>
                  <a:gd name="T10" fmla="*/ 106666875 w 4432"/>
                  <a:gd name="T11" fmla="*/ 30810192 h 2776"/>
                  <a:gd name="T12" fmla="*/ 95978275 w 4432"/>
                  <a:gd name="T13" fmla="*/ 26658458 h 2776"/>
                  <a:gd name="T14" fmla="*/ 101213427 w 4432"/>
                  <a:gd name="T15" fmla="*/ 36709981 h 2776"/>
                  <a:gd name="T16" fmla="*/ 111683895 w 4432"/>
                  <a:gd name="T17" fmla="*/ 44357990 h 2776"/>
                  <a:gd name="T18" fmla="*/ 119318491 w 4432"/>
                  <a:gd name="T19" fmla="*/ 55283458 h 2776"/>
                  <a:gd name="T20" fmla="*/ 118664097 w 4432"/>
                  <a:gd name="T21" fmla="*/ 69268229 h 2776"/>
                  <a:gd name="T22" fmla="*/ 111247632 w 4432"/>
                  <a:gd name="T23" fmla="*/ 69923853 h 2776"/>
                  <a:gd name="T24" fmla="*/ 114955865 w 4432"/>
                  <a:gd name="T25" fmla="*/ 63368440 h 2776"/>
                  <a:gd name="T26" fmla="*/ 111683895 w 4432"/>
                  <a:gd name="T27" fmla="*/ 59872330 h 2776"/>
                  <a:gd name="T28" fmla="*/ 106012481 w 4432"/>
                  <a:gd name="T29" fmla="*/ 54409513 h 2776"/>
                  <a:gd name="T30" fmla="*/ 95978275 w 4432"/>
                  <a:gd name="T31" fmla="*/ 49602155 h 2776"/>
                  <a:gd name="T32" fmla="*/ 88561810 w 4432"/>
                  <a:gd name="T33" fmla="*/ 44139339 h 2776"/>
                  <a:gd name="T34" fmla="*/ 85507972 w 4432"/>
                  <a:gd name="T35" fmla="*/ 49602155 h 2776"/>
                  <a:gd name="T36" fmla="*/ 89434335 w 4432"/>
                  <a:gd name="T37" fmla="*/ 66427577 h 2776"/>
                  <a:gd name="T38" fmla="*/ 77655244 w 4432"/>
                  <a:gd name="T39" fmla="*/ 74949531 h 2776"/>
                  <a:gd name="T40" fmla="*/ 79618426 w 4432"/>
                  <a:gd name="T41" fmla="*/ 65116495 h 2776"/>
                  <a:gd name="T42" fmla="*/ 73510584 w 4432"/>
                  <a:gd name="T43" fmla="*/ 54409513 h 2776"/>
                  <a:gd name="T44" fmla="*/ 71111140 w 4432"/>
                  <a:gd name="T45" fmla="*/ 42609770 h 2776"/>
                  <a:gd name="T46" fmla="*/ 60858968 w 4432"/>
                  <a:gd name="T47" fmla="*/ 39987605 h 2776"/>
                  <a:gd name="T48" fmla="*/ 61513362 w 4432"/>
                  <a:gd name="T49" fmla="*/ 42828422 h 2776"/>
                  <a:gd name="T50" fmla="*/ 61949624 w 4432"/>
                  <a:gd name="T51" fmla="*/ 58998220 h 2776"/>
                  <a:gd name="T52" fmla="*/ 60422705 w 4432"/>
                  <a:gd name="T53" fmla="*/ 60964761 h 2776"/>
                  <a:gd name="T54" fmla="*/ 54969422 w 4432"/>
                  <a:gd name="T55" fmla="*/ 67301688 h 2776"/>
                  <a:gd name="T56" fmla="*/ 61513362 w 4432"/>
                  <a:gd name="T57" fmla="*/ 68612770 h 2776"/>
                  <a:gd name="T58" fmla="*/ 64130938 w 4432"/>
                  <a:gd name="T59" fmla="*/ 71234935 h 2776"/>
                  <a:gd name="T60" fmla="*/ 55187554 w 4432"/>
                  <a:gd name="T61" fmla="*/ 73201476 h 2776"/>
                  <a:gd name="T62" fmla="*/ 42972035 w 4432"/>
                  <a:gd name="T63" fmla="*/ 70142339 h 2776"/>
                  <a:gd name="T64" fmla="*/ 47116695 w 4432"/>
                  <a:gd name="T65" fmla="*/ 54191027 h 2776"/>
                  <a:gd name="T66" fmla="*/ 49079877 w 4432"/>
                  <a:gd name="T67" fmla="*/ 49383669 h 2776"/>
                  <a:gd name="T68" fmla="*/ 38391277 w 4432"/>
                  <a:gd name="T69" fmla="*/ 48946697 h 2776"/>
                  <a:gd name="T70" fmla="*/ 32065469 w 4432"/>
                  <a:gd name="T71" fmla="*/ 56813027 h 2776"/>
                  <a:gd name="T72" fmla="*/ 23340216 w 4432"/>
                  <a:gd name="T73" fmla="*/ 60090816 h 2776"/>
                  <a:gd name="T74" fmla="*/ 12869748 w 4432"/>
                  <a:gd name="T75" fmla="*/ 62057357 h 2776"/>
                  <a:gd name="T76" fmla="*/ 15269357 w 4432"/>
                  <a:gd name="T77" fmla="*/ 75823642 h 2776"/>
                  <a:gd name="T78" fmla="*/ 4798889 w 4432"/>
                  <a:gd name="T79" fmla="*/ 67301688 h 2776"/>
                  <a:gd name="T80" fmla="*/ 1526919 w 4432"/>
                  <a:gd name="T81" fmla="*/ 58779733 h 2776"/>
                  <a:gd name="T82" fmla="*/ 9815909 w 4432"/>
                  <a:gd name="T83" fmla="*/ 54191027 h 2776"/>
                  <a:gd name="T84" fmla="*/ 17014408 w 4432"/>
                  <a:gd name="T85" fmla="*/ 48946697 h 2776"/>
                  <a:gd name="T86" fmla="*/ 21377034 w 4432"/>
                  <a:gd name="T87" fmla="*/ 43702367 h 2776"/>
                  <a:gd name="T88" fmla="*/ 24649004 w 4432"/>
                  <a:gd name="T89" fmla="*/ 33213871 h 2776"/>
                  <a:gd name="T90" fmla="*/ 29011630 w 4432"/>
                  <a:gd name="T91" fmla="*/ 24473266 h 2776"/>
                  <a:gd name="T92" fmla="*/ 46026038 w 4432"/>
                  <a:gd name="T93" fmla="*/ 13547798 h 2776"/>
                  <a:gd name="T94" fmla="*/ 61077099 w 4432"/>
                  <a:gd name="T95" fmla="*/ 6336927 h 2776"/>
                  <a:gd name="T96" fmla="*/ 71983665 w 4432"/>
                  <a:gd name="T97" fmla="*/ 3277624 h 2776"/>
                  <a:gd name="T98" fmla="*/ 82672265 w 4432"/>
                  <a:gd name="T99" fmla="*/ 2622165 h 27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432" h="2776">
                    <a:moveTo>
                      <a:pt x="3032" y="96"/>
                    </a:moveTo>
                    <a:cubicBezTo>
                      <a:pt x="3051" y="211"/>
                      <a:pt x="3111" y="158"/>
                      <a:pt x="3248" y="152"/>
                    </a:cubicBezTo>
                    <a:cubicBezTo>
                      <a:pt x="3264" y="149"/>
                      <a:pt x="3280" y="148"/>
                      <a:pt x="3296" y="144"/>
                    </a:cubicBezTo>
                    <a:cubicBezTo>
                      <a:pt x="3312" y="140"/>
                      <a:pt x="3344" y="128"/>
                      <a:pt x="3344" y="128"/>
                    </a:cubicBezTo>
                    <a:cubicBezTo>
                      <a:pt x="3380" y="74"/>
                      <a:pt x="3338" y="127"/>
                      <a:pt x="3384" y="96"/>
                    </a:cubicBezTo>
                    <a:cubicBezTo>
                      <a:pt x="3415" y="75"/>
                      <a:pt x="3420" y="42"/>
                      <a:pt x="3456" y="24"/>
                    </a:cubicBezTo>
                    <a:cubicBezTo>
                      <a:pt x="3487" y="8"/>
                      <a:pt x="3527" y="11"/>
                      <a:pt x="3560" y="0"/>
                    </a:cubicBezTo>
                    <a:cubicBezTo>
                      <a:pt x="3675" y="23"/>
                      <a:pt x="3795" y="12"/>
                      <a:pt x="3912" y="24"/>
                    </a:cubicBezTo>
                    <a:cubicBezTo>
                      <a:pt x="3945" y="46"/>
                      <a:pt x="3982" y="61"/>
                      <a:pt x="4016" y="80"/>
                    </a:cubicBezTo>
                    <a:cubicBezTo>
                      <a:pt x="4033" y="89"/>
                      <a:pt x="4064" y="112"/>
                      <a:pt x="4064" y="112"/>
                    </a:cubicBezTo>
                    <a:cubicBezTo>
                      <a:pt x="4080" y="136"/>
                      <a:pt x="4103" y="157"/>
                      <a:pt x="4112" y="184"/>
                    </a:cubicBezTo>
                    <a:cubicBezTo>
                      <a:pt x="4126" y="226"/>
                      <a:pt x="4139" y="271"/>
                      <a:pt x="4176" y="296"/>
                    </a:cubicBezTo>
                    <a:cubicBezTo>
                      <a:pt x="4196" y="326"/>
                      <a:pt x="4205" y="358"/>
                      <a:pt x="4216" y="392"/>
                    </a:cubicBezTo>
                    <a:cubicBezTo>
                      <a:pt x="4221" y="408"/>
                      <a:pt x="4232" y="440"/>
                      <a:pt x="4232" y="440"/>
                    </a:cubicBezTo>
                    <a:cubicBezTo>
                      <a:pt x="4219" y="606"/>
                      <a:pt x="4241" y="499"/>
                      <a:pt x="4184" y="584"/>
                    </a:cubicBezTo>
                    <a:cubicBezTo>
                      <a:pt x="4211" y="691"/>
                      <a:pt x="4265" y="978"/>
                      <a:pt x="4128" y="1024"/>
                    </a:cubicBezTo>
                    <a:cubicBezTo>
                      <a:pt x="4077" y="1075"/>
                      <a:pt x="4026" y="1090"/>
                      <a:pt x="3960" y="1112"/>
                    </a:cubicBezTo>
                    <a:cubicBezTo>
                      <a:pt x="3944" y="1117"/>
                      <a:pt x="3928" y="1123"/>
                      <a:pt x="3912" y="1128"/>
                    </a:cubicBezTo>
                    <a:cubicBezTo>
                      <a:pt x="3904" y="1131"/>
                      <a:pt x="3888" y="1136"/>
                      <a:pt x="3888" y="1136"/>
                    </a:cubicBezTo>
                    <a:cubicBezTo>
                      <a:pt x="3817" y="1130"/>
                      <a:pt x="3799" y="1132"/>
                      <a:pt x="3744" y="1104"/>
                    </a:cubicBezTo>
                    <a:cubicBezTo>
                      <a:pt x="3689" y="1031"/>
                      <a:pt x="3606" y="998"/>
                      <a:pt x="3520" y="976"/>
                    </a:cubicBezTo>
                    <a:cubicBezTo>
                      <a:pt x="3515" y="987"/>
                      <a:pt x="3506" y="996"/>
                      <a:pt x="3504" y="1008"/>
                    </a:cubicBezTo>
                    <a:cubicBezTo>
                      <a:pt x="3502" y="1021"/>
                      <a:pt x="3523" y="1088"/>
                      <a:pt x="3528" y="1104"/>
                    </a:cubicBezTo>
                    <a:cubicBezTo>
                      <a:pt x="3561" y="1215"/>
                      <a:pt x="3589" y="1313"/>
                      <a:pt x="3712" y="1344"/>
                    </a:cubicBezTo>
                    <a:cubicBezTo>
                      <a:pt x="3758" y="1390"/>
                      <a:pt x="3820" y="1417"/>
                      <a:pt x="3872" y="1456"/>
                    </a:cubicBezTo>
                    <a:cubicBezTo>
                      <a:pt x="3897" y="1475"/>
                      <a:pt x="3919" y="1501"/>
                      <a:pt x="3944" y="1520"/>
                    </a:cubicBezTo>
                    <a:cubicBezTo>
                      <a:pt x="3992" y="1558"/>
                      <a:pt x="4047" y="1587"/>
                      <a:pt x="4096" y="1624"/>
                    </a:cubicBezTo>
                    <a:cubicBezTo>
                      <a:pt x="4165" y="1676"/>
                      <a:pt x="4229" y="1740"/>
                      <a:pt x="4312" y="1768"/>
                    </a:cubicBezTo>
                    <a:cubicBezTo>
                      <a:pt x="4331" y="1825"/>
                      <a:pt x="4319" y="1802"/>
                      <a:pt x="4344" y="1840"/>
                    </a:cubicBezTo>
                    <a:cubicBezTo>
                      <a:pt x="4359" y="1901"/>
                      <a:pt x="4366" y="1961"/>
                      <a:pt x="4376" y="2024"/>
                    </a:cubicBezTo>
                    <a:cubicBezTo>
                      <a:pt x="4381" y="2056"/>
                      <a:pt x="4392" y="2120"/>
                      <a:pt x="4392" y="2120"/>
                    </a:cubicBezTo>
                    <a:cubicBezTo>
                      <a:pt x="4389" y="2240"/>
                      <a:pt x="4432" y="2217"/>
                      <a:pt x="4416" y="2336"/>
                    </a:cubicBezTo>
                    <a:cubicBezTo>
                      <a:pt x="4413" y="2358"/>
                      <a:pt x="4368" y="2520"/>
                      <a:pt x="4352" y="2536"/>
                    </a:cubicBezTo>
                    <a:cubicBezTo>
                      <a:pt x="4290" y="2598"/>
                      <a:pt x="4255" y="2599"/>
                      <a:pt x="4160" y="2608"/>
                    </a:cubicBezTo>
                    <a:cubicBezTo>
                      <a:pt x="4149" y="2603"/>
                      <a:pt x="4138" y="2598"/>
                      <a:pt x="4128" y="2592"/>
                    </a:cubicBezTo>
                    <a:cubicBezTo>
                      <a:pt x="4112" y="2582"/>
                      <a:pt x="4080" y="2560"/>
                      <a:pt x="4080" y="2560"/>
                    </a:cubicBezTo>
                    <a:cubicBezTo>
                      <a:pt x="4049" y="2513"/>
                      <a:pt x="4053" y="2517"/>
                      <a:pt x="4088" y="2464"/>
                    </a:cubicBezTo>
                    <a:cubicBezTo>
                      <a:pt x="4105" y="2441"/>
                      <a:pt x="4163" y="2448"/>
                      <a:pt x="4184" y="2424"/>
                    </a:cubicBezTo>
                    <a:cubicBezTo>
                      <a:pt x="4193" y="2405"/>
                      <a:pt x="4215" y="2340"/>
                      <a:pt x="4216" y="2320"/>
                    </a:cubicBezTo>
                    <a:cubicBezTo>
                      <a:pt x="4210" y="2312"/>
                      <a:pt x="4199" y="2310"/>
                      <a:pt x="4192" y="2304"/>
                    </a:cubicBezTo>
                    <a:cubicBezTo>
                      <a:pt x="4166" y="2283"/>
                      <a:pt x="4156" y="2259"/>
                      <a:pt x="4128" y="2240"/>
                    </a:cubicBezTo>
                    <a:cubicBezTo>
                      <a:pt x="4109" y="2183"/>
                      <a:pt x="4136" y="2252"/>
                      <a:pt x="4096" y="2192"/>
                    </a:cubicBezTo>
                    <a:cubicBezTo>
                      <a:pt x="4073" y="2157"/>
                      <a:pt x="4061" y="2111"/>
                      <a:pt x="4048" y="2072"/>
                    </a:cubicBezTo>
                    <a:cubicBezTo>
                      <a:pt x="4044" y="2061"/>
                      <a:pt x="3985" y="2040"/>
                      <a:pt x="3984" y="2040"/>
                    </a:cubicBezTo>
                    <a:cubicBezTo>
                      <a:pt x="3950" y="2025"/>
                      <a:pt x="3924" y="2003"/>
                      <a:pt x="3888" y="1992"/>
                    </a:cubicBezTo>
                    <a:cubicBezTo>
                      <a:pt x="3834" y="1976"/>
                      <a:pt x="3788" y="1968"/>
                      <a:pt x="3736" y="1944"/>
                    </a:cubicBezTo>
                    <a:cubicBezTo>
                      <a:pt x="3718" y="1936"/>
                      <a:pt x="3636" y="1904"/>
                      <a:pt x="3616" y="1888"/>
                    </a:cubicBezTo>
                    <a:cubicBezTo>
                      <a:pt x="3573" y="1853"/>
                      <a:pt x="3570" y="1833"/>
                      <a:pt x="3520" y="1816"/>
                    </a:cubicBezTo>
                    <a:cubicBezTo>
                      <a:pt x="3443" y="1739"/>
                      <a:pt x="3541" y="1830"/>
                      <a:pt x="3472" y="1784"/>
                    </a:cubicBezTo>
                    <a:cubicBezTo>
                      <a:pt x="3435" y="1759"/>
                      <a:pt x="3405" y="1727"/>
                      <a:pt x="3360" y="1712"/>
                    </a:cubicBezTo>
                    <a:cubicBezTo>
                      <a:pt x="3323" y="1684"/>
                      <a:pt x="3279" y="1639"/>
                      <a:pt x="3248" y="1616"/>
                    </a:cubicBezTo>
                    <a:cubicBezTo>
                      <a:pt x="3165" y="1570"/>
                      <a:pt x="3230" y="1594"/>
                      <a:pt x="3176" y="1576"/>
                    </a:cubicBezTo>
                    <a:cubicBezTo>
                      <a:pt x="3130" y="1645"/>
                      <a:pt x="3172" y="1573"/>
                      <a:pt x="3152" y="1752"/>
                    </a:cubicBezTo>
                    <a:cubicBezTo>
                      <a:pt x="3150" y="1774"/>
                      <a:pt x="3136" y="1816"/>
                      <a:pt x="3136" y="1816"/>
                    </a:cubicBezTo>
                    <a:cubicBezTo>
                      <a:pt x="3141" y="1960"/>
                      <a:pt x="3146" y="2103"/>
                      <a:pt x="3192" y="2240"/>
                    </a:cubicBezTo>
                    <a:cubicBezTo>
                      <a:pt x="3211" y="2335"/>
                      <a:pt x="3233" y="2352"/>
                      <a:pt x="3248" y="2384"/>
                    </a:cubicBezTo>
                    <a:cubicBezTo>
                      <a:pt x="3259" y="2400"/>
                      <a:pt x="3280" y="2432"/>
                      <a:pt x="3280" y="2432"/>
                    </a:cubicBezTo>
                    <a:cubicBezTo>
                      <a:pt x="3285" y="2511"/>
                      <a:pt x="3299" y="2647"/>
                      <a:pt x="3280" y="2720"/>
                    </a:cubicBezTo>
                    <a:cubicBezTo>
                      <a:pt x="3277" y="2733"/>
                      <a:pt x="3199" y="2747"/>
                      <a:pt x="3184" y="2752"/>
                    </a:cubicBezTo>
                    <a:cubicBezTo>
                      <a:pt x="3072" y="2749"/>
                      <a:pt x="2959" y="2761"/>
                      <a:pt x="2848" y="2744"/>
                    </a:cubicBezTo>
                    <a:cubicBezTo>
                      <a:pt x="2829" y="2741"/>
                      <a:pt x="2816" y="2696"/>
                      <a:pt x="2816" y="2696"/>
                    </a:cubicBezTo>
                    <a:cubicBezTo>
                      <a:pt x="2787" y="2579"/>
                      <a:pt x="2826" y="2537"/>
                      <a:pt x="2928" y="2512"/>
                    </a:cubicBezTo>
                    <a:cubicBezTo>
                      <a:pt x="2963" y="2459"/>
                      <a:pt x="2987" y="2429"/>
                      <a:pt x="2920" y="2384"/>
                    </a:cubicBezTo>
                    <a:cubicBezTo>
                      <a:pt x="2903" y="2344"/>
                      <a:pt x="2856" y="2319"/>
                      <a:pt x="2824" y="2272"/>
                    </a:cubicBezTo>
                    <a:cubicBezTo>
                      <a:pt x="2807" y="2205"/>
                      <a:pt x="2749" y="2167"/>
                      <a:pt x="2728" y="2104"/>
                    </a:cubicBezTo>
                    <a:cubicBezTo>
                      <a:pt x="2707" y="2057"/>
                      <a:pt x="2703" y="2039"/>
                      <a:pt x="2696" y="1992"/>
                    </a:cubicBezTo>
                    <a:cubicBezTo>
                      <a:pt x="2693" y="1936"/>
                      <a:pt x="2695" y="1880"/>
                      <a:pt x="2688" y="1824"/>
                    </a:cubicBezTo>
                    <a:cubicBezTo>
                      <a:pt x="2680" y="1777"/>
                      <a:pt x="2661" y="1756"/>
                      <a:pt x="2648" y="1712"/>
                    </a:cubicBezTo>
                    <a:cubicBezTo>
                      <a:pt x="2631" y="1662"/>
                      <a:pt x="2625" y="1610"/>
                      <a:pt x="2608" y="1560"/>
                    </a:cubicBezTo>
                    <a:cubicBezTo>
                      <a:pt x="2605" y="1509"/>
                      <a:pt x="2619" y="1455"/>
                      <a:pt x="2600" y="1408"/>
                    </a:cubicBezTo>
                    <a:cubicBezTo>
                      <a:pt x="2600" y="1408"/>
                      <a:pt x="2516" y="1436"/>
                      <a:pt x="2504" y="1440"/>
                    </a:cubicBezTo>
                    <a:cubicBezTo>
                      <a:pt x="2456" y="1456"/>
                      <a:pt x="2286" y="1460"/>
                      <a:pt x="2232" y="1464"/>
                    </a:cubicBezTo>
                    <a:cubicBezTo>
                      <a:pt x="2205" y="1469"/>
                      <a:pt x="2173" y="1463"/>
                      <a:pt x="2152" y="1480"/>
                    </a:cubicBezTo>
                    <a:cubicBezTo>
                      <a:pt x="2142" y="1489"/>
                      <a:pt x="2173" y="1496"/>
                      <a:pt x="2184" y="1504"/>
                    </a:cubicBezTo>
                    <a:cubicBezTo>
                      <a:pt x="2210" y="1523"/>
                      <a:pt x="2256" y="1568"/>
                      <a:pt x="2256" y="1568"/>
                    </a:cubicBezTo>
                    <a:cubicBezTo>
                      <a:pt x="2267" y="1602"/>
                      <a:pt x="2279" y="1623"/>
                      <a:pt x="2304" y="1648"/>
                    </a:cubicBezTo>
                    <a:cubicBezTo>
                      <a:pt x="2317" y="1701"/>
                      <a:pt x="2311" y="1756"/>
                      <a:pt x="2328" y="1808"/>
                    </a:cubicBezTo>
                    <a:cubicBezTo>
                      <a:pt x="2327" y="1853"/>
                      <a:pt x="2365" y="2098"/>
                      <a:pt x="2272" y="2160"/>
                    </a:cubicBezTo>
                    <a:cubicBezTo>
                      <a:pt x="2267" y="2168"/>
                      <a:pt x="2263" y="2177"/>
                      <a:pt x="2256" y="2184"/>
                    </a:cubicBezTo>
                    <a:cubicBezTo>
                      <a:pt x="2247" y="2193"/>
                      <a:pt x="2233" y="2198"/>
                      <a:pt x="2224" y="2208"/>
                    </a:cubicBezTo>
                    <a:cubicBezTo>
                      <a:pt x="2219" y="2214"/>
                      <a:pt x="2220" y="2225"/>
                      <a:pt x="2216" y="2232"/>
                    </a:cubicBezTo>
                    <a:cubicBezTo>
                      <a:pt x="2201" y="2257"/>
                      <a:pt x="2184" y="2280"/>
                      <a:pt x="2168" y="2304"/>
                    </a:cubicBezTo>
                    <a:cubicBezTo>
                      <a:pt x="2162" y="2313"/>
                      <a:pt x="2151" y="2319"/>
                      <a:pt x="2144" y="2328"/>
                    </a:cubicBezTo>
                    <a:cubicBezTo>
                      <a:pt x="2105" y="2379"/>
                      <a:pt x="2071" y="2427"/>
                      <a:pt x="2016" y="2464"/>
                    </a:cubicBezTo>
                    <a:cubicBezTo>
                      <a:pt x="2032" y="2467"/>
                      <a:pt x="2048" y="2470"/>
                      <a:pt x="2064" y="2472"/>
                    </a:cubicBezTo>
                    <a:cubicBezTo>
                      <a:pt x="2091" y="2475"/>
                      <a:pt x="2118" y="2476"/>
                      <a:pt x="2144" y="2480"/>
                    </a:cubicBezTo>
                    <a:cubicBezTo>
                      <a:pt x="2181" y="2486"/>
                      <a:pt x="2219" y="2503"/>
                      <a:pt x="2256" y="2512"/>
                    </a:cubicBezTo>
                    <a:cubicBezTo>
                      <a:pt x="2280" y="2528"/>
                      <a:pt x="2283" y="2525"/>
                      <a:pt x="2296" y="2552"/>
                    </a:cubicBezTo>
                    <a:cubicBezTo>
                      <a:pt x="2300" y="2560"/>
                      <a:pt x="2298" y="2570"/>
                      <a:pt x="2304" y="2576"/>
                    </a:cubicBezTo>
                    <a:cubicBezTo>
                      <a:pt x="2318" y="2590"/>
                      <a:pt x="2352" y="2608"/>
                      <a:pt x="2352" y="2608"/>
                    </a:cubicBezTo>
                    <a:cubicBezTo>
                      <a:pt x="2372" y="2648"/>
                      <a:pt x="2371" y="2660"/>
                      <a:pt x="2408" y="2688"/>
                    </a:cubicBezTo>
                    <a:cubicBezTo>
                      <a:pt x="2376" y="2712"/>
                      <a:pt x="2348" y="2718"/>
                      <a:pt x="2312" y="2736"/>
                    </a:cubicBezTo>
                    <a:cubicBezTo>
                      <a:pt x="2184" y="2727"/>
                      <a:pt x="2138" y="2714"/>
                      <a:pt x="2024" y="2680"/>
                    </a:cubicBezTo>
                    <a:cubicBezTo>
                      <a:pt x="1935" y="2673"/>
                      <a:pt x="1903" y="2708"/>
                      <a:pt x="1840" y="2712"/>
                    </a:cubicBezTo>
                    <a:cubicBezTo>
                      <a:pt x="1820" y="2771"/>
                      <a:pt x="1771" y="2738"/>
                      <a:pt x="1648" y="2704"/>
                    </a:cubicBezTo>
                    <a:cubicBezTo>
                      <a:pt x="1616" y="2695"/>
                      <a:pt x="1583" y="2598"/>
                      <a:pt x="1576" y="2568"/>
                    </a:cubicBezTo>
                    <a:cubicBezTo>
                      <a:pt x="1584" y="2247"/>
                      <a:pt x="1573" y="2336"/>
                      <a:pt x="1616" y="2144"/>
                    </a:cubicBezTo>
                    <a:cubicBezTo>
                      <a:pt x="1621" y="2120"/>
                      <a:pt x="1616" y="2091"/>
                      <a:pt x="1632" y="2072"/>
                    </a:cubicBezTo>
                    <a:cubicBezTo>
                      <a:pt x="1661" y="2037"/>
                      <a:pt x="1701" y="2024"/>
                      <a:pt x="1728" y="1984"/>
                    </a:cubicBezTo>
                    <a:cubicBezTo>
                      <a:pt x="1759" y="1947"/>
                      <a:pt x="1799" y="1875"/>
                      <a:pt x="1816" y="1848"/>
                    </a:cubicBezTo>
                    <a:cubicBezTo>
                      <a:pt x="1820" y="1839"/>
                      <a:pt x="1836" y="1833"/>
                      <a:pt x="1832" y="1824"/>
                    </a:cubicBezTo>
                    <a:cubicBezTo>
                      <a:pt x="1828" y="1813"/>
                      <a:pt x="1812" y="1810"/>
                      <a:pt x="1800" y="1808"/>
                    </a:cubicBezTo>
                    <a:cubicBezTo>
                      <a:pt x="1768" y="1802"/>
                      <a:pt x="1736" y="1803"/>
                      <a:pt x="1704" y="1800"/>
                    </a:cubicBezTo>
                    <a:cubicBezTo>
                      <a:pt x="1667" y="1788"/>
                      <a:pt x="1629" y="1780"/>
                      <a:pt x="1592" y="1768"/>
                    </a:cubicBezTo>
                    <a:cubicBezTo>
                      <a:pt x="1531" y="1776"/>
                      <a:pt x="1468" y="1778"/>
                      <a:pt x="1408" y="1792"/>
                    </a:cubicBezTo>
                    <a:cubicBezTo>
                      <a:pt x="1406" y="1792"/>
                      <a:pt x="1370" y="1851"/>
                      <a:pt x="1368" y="1856"/>
                    </a:cubicBezTo>
                    <a:cubicBezTo>
                      <a:pt x="1348" y="1899"/>
                      <a:pt x="1335" y="1952"/>
                      <a:pt x="1296" y="1984"/>
                    </a:cubicBezTo>
                    <a:cubicBezTo>
                      <a:pt x="1264" y="2021"/>
                      <a:pt x="1204" y="2056"/>
                      <a:pt x="1176" y="2080"/>
                    </a:cubicBezTo>
                    <a:cubicBezTo>
                      <a:pt x="1161" y="2097"/>
                      <a:pt x="1150" y="2123"/>
                      <a:pt x="1128" y="2128"/>
                    </a:cubicBezTo>
                    <a:cubicBezTo>
                      <a:pt x="1055" y="2146"/>
                      <a:pt x="1036" y="2167"/>
                      <a:pt x="952" y="2176"/>
                    </a:cubicBezTo>
                    <a:cubicBezTo>
                      <a:pt x="920" y="2184"/>
                      <a:pt x="886" y="2187"/>
                      <a:pt x="856" y="2200"/>
                    </a:cubicBezTo>
                    <a:cubicBezTo>
                      <a:pt x="841" y="2206"/>
                      <a:pt x="818" y="2222"/>
                      <a:pt x="800" y="2224"/>
                    </a:cubicBezTo>
                    <a:cubicBezTo>
                      <a:pt x="721" y="2234"/>
                      <a:pt x="640" y="2239"/>
                      <a:pt x="560" y="2248"/>
                    </a:cubicBezTo>
                    <a:cubicBezTo>
                      <a:pt x="530" y="2255"/>
                      <a:pt x="502" y="2265"/>
                      <a:pt x="472" y="2272"/>
                    </a:cubicBezTo>
                    <a:cubicBezTo>
                      <a:pt x="406" y="2316"/>
                      <a:pt x="464" y="2360"/>
                      <a:pt x="504" y="2400"/>
                    </a:cubicBezTo>
                    <a:cubicBezTo>
                      <a:pt x="517" y="2451"/>
                      <a:pt x="520" y="2497"/>
                      <a:pt x="544" y="2544"/>
                    </a:cubicBezTo>
                    <a:cubicBezTo>
                      <a:pt x="569" y="2668"/>
                      <a:pt x="570" y="2570"/>
                      <a:pt x="560" y="2776"/>
                    </a:cubicBezTo>
                    <a:cubicBezTo>
                      <a:pt x="514" y="2742"/>
                      <a:pt x="467" y="2709"/>
                      <a:pt x="424" y="2672"/>
                    </a:cubicBezTo>
                    <a:cubicBezTo>
                      <a:pt x="395" y="2648"/>
                      <a:pt x="396" y="2620"/>
                      <a:pt x="360" y="2608"/>
                    </a:cubicBezTo>
                    <a:cubicBezTo>
                      <a:pt x="317" y="2578"/>
                      <a:pt x="213" y="2513"/>
                      <a:pt x="176" y="2464"/>
                    </a:cubicBezTo>
                    <a:cubicBezTo>
                      <a:pt x="131" y="2421"/>
                      <a:pt x="117" y="2392"/>
                      <a:pt x="88" y="2352"/>
                    </a:cubicBezTo>
                    <a:cubicBezTo>
                      <a:pt x="48" y="2302"/>
                      <a:pt x="21" y="2286"/>
                      <a:pt x="0" y="2224"/>
                    </a:cubicBezTo>
                    <a:cubicBezTo>
                      <a:pt x="12" y="2189"/>
                      <a:pt x="20" y="2164"/>
                      <a:pt x="56" y="2152"/>
                    </a:cubicBezTo>
                    <a:cubicBezTo>
                      <a:pt x="88" y="2128"/>
                      <a:pt x="121" y="2108"/>
                      <a:pt x="160" y="2096"/>
                    </a:cubicBezTo>
                    <a:cubicBezTo>
                      <a:pt x="183" y="2089"/>
                      <a:pt x="267" y="2035"/>
                      <a:pt x="288" y="2024"/>
                    </a:cubicBezTo>
                    <a:cubicBezTo>
                      <a:pt x="321" y="2005"/>
                      <a:pt x="328" y="2008"/>
                      <a:pt x="360" y="1984"/>
                    </a:cubicBezTo>
                    <a:cubicBezTo>
                      <a:pt x="371" y="1952"/>
                      <a:pt x="385" y="1946"/>
                      <a:pt x="416" y="1936"/>
                    </a:cubicBezTo>
                    <a:cubicBezTo>
                      <a:pt x="433" y="1919"/>
                      <a:pt x="451" y="1892"/>
                      <a:pt x="464" y="1880"/>
                    </a:cubicBezTo>
                    <a:cubicBezTo>
                      <a:pt x="499" y="1856"/>
                      <a:pt x="581" y="1823"/>
                      <a:pt x="624" y="1792"/>
                    </a:cubicBezTo>
                    <a:cubicBezTo>
                      <a:pt x="663" y="1766"/>
                      <a:pt x="687" y="1729"/>
                      <a:pt x="720" y="1696"/>
                    </a:cubicBezTo>
                    <a:cubicBezTo>
                      <a:pt x="739" y="1639"/>
                      <a:pt x="712" y="1708"/>
                      <a:pt x="752" y="1648"/>
                    </a:cubicBezTo>
                    <a:cubicBezTo>
                      <a:pt x="798" y="1579"/>
                      <a:pt x="707" y="1677"/>
                      <a:pt x="784" y="1600"/>
                    </a:cubicBezTo>
                    <a:cubicBezTo>
                      <a:pt x="804" y="1539"/>
                      <a:pt x="786" y="1602"/>
                      <a:pt x="800" y="1472"/>
                    </a:cubicBezTo>
                    <a:cubicBezTo>
                      <a:pt x="804" y="1435"/>
                      <a:pt x="823" y="1411"/>
                      <a:pt x="832" y="1376"/>
                    </a:cubicBezTo>
                    <a:cubicBezTo>
                      <a:pt x="849" y="1315"/>
                      <a:pt x="865" y="1268"/>
                      <a:pt x="904" y="1216"/>
                    </a:cubicBezTo>
                    <a:cubicBezTo>
                      <a:pt x="912" y="1186"/>
                      <a:pt x="926" y="1165"/>
                      <a:pt x="936" y="1136"/>
                    </a:cubicBezTo>
                    <a:cubicBezTo>
                      <a:pt x="938" y="1114"/>
                      <a:pt x="937" y="1055"/>
                      <a:pt x="952" y="1024"/>
                    </a:cubicBezTo>
                    <a:cubicBezTo>
                      <a:pt x="980" y="968"/>
                      <a:pt x="1019" y="941"/>
                      <a:pt x="1064" y="896"/>
                    </a:cubicBezTo>
                    <a:cubicBezTo>
                      <a:pt x="1106" y="854"/>
                      <a:pt x="1203" y="691"/>
                      <a:pt x="1256" y="664"/>
                    </a:cubicBezTo>
                    <a:cubicBezTo>
                      <a:pt x="1317" y="609"/>
                      <a:pt x="1351" y="616"/>
                      <a:pt x="1432" y="568"/>
                    </a:cubicBezTo>
                    <a:cubicBezTo>
                      <a:pt x="1467" y="540"/>
                      <a:pt x="1646" y="510"/>
                      <a:pt x="1688" y="496"/>
                    </a:cubicBezTo>
                    <a:cubicBezTo>
                      <a:pt x="1722" y="445"/>
                      <a:pt x="1788" y="429"/>
                      <a:pt x="1840" y="400"/>
                    </a:cubicBezTo>
                    <a:cubicBezTo>
                      <a:pt x="1940" y="344"/>
                      <a:pt x="2013" y="304"/>
                      <a:pt x="2128" y="288"/>
                    </a:cubicBezTo>
                    <a:cubicBezTo>
                      <a:pt x="2166" y="269"/>
                      <a:pt x="2203" y="253"/>
                      <a:pt x="2240" y="232"/>
                    </a:cubicBezTo>
                    <a:cubicBezTo>
                      <a:pt x="2266" y="217"/>
                      <a:pt x="2292" y="196"/>
                      <a:pt x="2320" y="184"/>
                    </a:cubicBezTo>
                    <a:cubicBezTo>
                      <a:pt x="2366" y="164"/>
                      <a:pt x="2415" y="158"/>
                      <a:pt x="2464" y="152"/>
                    </a:cubicBezTo>
                    <a:cubicBezTo>
                      <a:pt x="2526" y="131"/>
                      <a:pt x="2572" y="128"/>
                      <a:pt x="2640" y="120"/>
                    </a:cubicBezTo>
                    <a:cubicBezTo>
                      <a:pt x="2656" y="118"/>
                      <a:pt x="2672" y="116"/>
                      <a:pt x="2688" y="112"/>
                    </a:cubicBezTo>
                    <a:cubicBezTo>
                      <a:pt x="2704" y="108"/>
                      <a:pt x="2736" y="96"/>
                      <a:pt x="2736" y="96"/>
                    </a:cubicBezTo>
                    <a:cubicBezTo>
                      <a:pt x="2984" y="105"/>
                      <a:pt x="2886" y="112"/>
                      <a:pt x="3032" y="96"/>
                    </a:cubicBezTo>
                    <a:close/>
                  </a:path>
                </a:pathLst>
              </a:custGeom>
              <a:solidFill>
                <a:schemeClr val="tx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p>
            </p:txBody>
          </p:sp>
        </p:grpSp>
        <p:sp>
          <p:nvSpPr>
            <p:cNvPr id="829" name="Rectangle 828">
              <a:extLst>
                <a:ext uri="{FF2B5EF4-FFF2-40B4-BE49-F238E27FC236}">
                  <a16:creationId xmlns:a16="http://schemas.microsoft.com/office/drawing/2014/main" id="{5FCE03CF-A2E5-21F7-6EB9-630DC0D2DD82}"/>
                </a:ext>
              </a:extLst>
            </p:cNvPr>
            <p:cNvSpPr/>
            <p:nvPr/>
          </p:nvSpPr>
          <p:spPr>
            <a:xfrm>
              <a:off x="2355543" y="1784412"/>
              <a:ext cx="494190" cy="14648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grpSp>
        <p:nvGrpSpPr>
          <p:cNvPr id="5" name="Group 4">
            <a:extLst>
              <a:ext uri="{FF2B5EF4-FFF2-40B4-BE49-F238E27FC236}">
                <a16:creationId xmlns:a16="http://schemas.microsoft.com/office/drawing/2014/main" id="{B9E7A84E-43C4-4C28-83E8-613F01CCEF3F}"/>
              </a:ext>
            </a:extLst>
          </p:cNvPr>
          <p:cNvGrpSpPr/>
          <p:nvPr/>
        </p:nvGrpSpPr>
        <p:grpSpPr>
          <a:xfrm>
            <a:off x="2487061" y="2045471"/>
            <a:ext cx="7754758" cy="541882"/>
            <a:chOff x="2822942" y="2536625"/>
            <a:chExt cx="7247892" cy="386434"/>
          </a:xfrm>
        </p:grpSpPr>
        <p:sp>
          <p:nvSpPr>
            <p:cNvPr id="2" name="TextBox 1">
              <a:extLst>
                <a:ext uri="{FF2B5EF4-FFF2-40B4-BE49-F238E27FC236}">
                  <a16:creationId xmlns:a16="http://schemas.microsoft.com/office/drawing/2014/main" id="{DD409527-1C0A-4CFA-A6FB-14ABF84CFA2C}"/>
                </a:ext>
              </a:extLst>
            </p:cNvPr>
            <p:cNvSpPr txBox="1"/>
            <p:nvPr/>
          </p:nvSpPr>
          <p:spPr>
            <a:xfrm>
              <a:off x="2822942" y="2553727"/>
              <a:ext cx="1360773" cy="369332"/>
            </a:xfrm>
            <a:prstGeom prst="rect">
              <a:avLst/>
            </a:prstGeom>
            <a:noFill/>
          </p:spPr>
          <p:txBody>
            <a:bodyPr wrap="square" rtlCol="0">
              <a:spAutoFit/>
            </a:bodyPr>
            <a:lstStyle/>
            <a:p>
              <a:pPr rtl="0"/>
              <a:r>
                <a:rPr lang="fr">
                  <a:solidFill>
                    <a:srgbClr val="C00000"/>
                  </a:solidFill>
                </a:rPr>
                <a:t>FLAMBÉE ÉPIDÉMIQUE</a:t>
              </a:r>
            </a:p>
          </p:txBody>
        </p:sp>
        <p:sp>
          <p:nvSpPr>
            <p:cNvPr id="230" name="TextBox 229">
              <a:extLst>
                <a:ext uri="{FF2B5EF4-FFF2-40B4-BE49-F238E27FC236}">
                  <a16:creationId xmlns:a16="http://schemas.microsoft.com/office/drawing/2014/main" id="{29036037-D1E5-466C-B39D-C20D8E4837D6}"/>
                </a:ext>
              </a:extLst>
            </p:cNvPr>
            <p:cNvSpPr txBox="1"/>
            <p:nvPr/>
          </p:nvSpPr>
          <p:spPr>
            <a:xfrm>
              <a:off x="8710061" y="2536625"/>
              <a:ext cx="1360773" cy="369332"/>
            </a:xfrm>
            <a:prstGeom prst="rect">
              <a:avLst/>
            </a:prstGeom>
            <a:noFill/>
          </p:spPr>
          <p:txBody>
            <a:bodyPr wrap="square" rtlCol="0">
              <a:spAutoFit/>
            </a:bodyPr>
            <a:lstStyle/>
            <a:p>
              <a:pPr rtl="0"/>
              <a:r>
                <a:rPr lang="fr">
                  <a:solidFill>
                    <a:srgbClr val="C00000"/>
                  </a:solidFill>
                </a:rPr>
                <a:t>FLAMBÉE ÉPIDÉMIQUE</a:t>
              </a:r>
            </a:p>
          </p:txBody>
        </p:sp>
      </p:grpSp>
    </p:spTree>
    <p:extLst>
      <p:ext uri="{BB962C8B-B14F-4D97-AF65-F5344CB8AC3E}">
        <p14:creationId xmlns:p14="http://schemas.microsoft.com/office/powerpoint/2010/main" val="3428271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A9811-1D95-A301-D9C2-D0D06F2869FC}"/>
              </a:ext>
            </a:extLst>
          </p:cNvPr>
          <p:cNvSpPr>
            <a:spLocks noGrp="1"/>
          </p:cNvSpPr>
          <p:nvPr>
            <p:ph type="title"/>
          </p:nvPr>
        </p:nvSpPr>
        <p:spPr/>
        <p:txBody>
          <a:bodyPr rtlCol="0">
            <a:normAutofit/>
          </a:bodyPr>
          <a:lstStyle/>
          <a:p>
            <a:pPr rtl="0"/>
            <a:r>
              <a:rPr lang="fr" b="1"/>
              <a:t>Transmission interhumaine</a:t>
            </a:r>
          </a:p>
        </p:txBody>
      </p:sp>
      <p:sp>
        <p:nvSpPr>
          <p:cNvPr id="4" name="Content Placeholder 3">
            <a:extLst>
              <a:ext uri="{FF2B5EF4-FFF2-40B4-BE49-F238E27FC236}">
                <a16:creationId xmlns:a16="http://schemas.microsoft.com/office/drawing/2014/main" id="{BA430783-1E88-4081-8170-ECD171DEEF89}"/>
              </a:ext>
            </a:extLst>
          </p:cNvPr>
          <p:cNvSpPr>
            <a:spLocks noGrp="1"/>
          </p:cNvSpPr>
          <p:nvPr>
            <p:ph idx="1"/>
          </p:nvPr>
        </p:nvSpPr>
        <p:spPr>
          <a:xfrm>
            <a:off x="523876" y="1371600"/>
            <a:ext cx="6453700" cy="4805363"/>
          </a:xfrm>
        </p:spPr>
        <p:txBody>
          <a:bodyPr vert="horz" lIns="91440" tIns="45720" rIns="91440" bIns="45720" rtlCol="0" anchor="t">
            <a:normAutofit/>
          </a:bodyPr>
          <a:lstStyle/>
          <a:p>
            <a:pPr marL="0" indent="0">
              <a:buClr>
                <a:schemeClr val="accent1"/>
              </a:buClr>
              <a:buNone/>
            </a:pPr>
            <a:r>
              <a:rPr lang="fr" sz="2400" b="0" i="0" dirty="0">
                <a:effectLst/>
              </a:rPr>
              <a:t>Le virus Ebola </a:t>
            </a:r>
            <a:r>
              <a:rPr lang="fr" sz="2400" dirty="0"/>
              <a:t>est transmis</a:t>
            </a:r>
            <a:r>
              <a:rPr lang="fr" sz="2400" b="0" i="0" dirty="0">
                <a:effectLst/>
              </a:rPr>
              <a:t> </a:t>
            </a:r>
            <a:r>
              <a:rPr lang="fr" sz="2400" dirty="0"/>
              <a:t>à </a:t>
            </a:r>
            <a:r>
              <a:rPr lang="fr" sz="2400" b="0" i="0" dirty="0">
                <a:effectLst/>
              </a:rPr>
              <a:t>l’homme par contact direct avec :</a:t>
            </a:r>
          </a:p>
          <a:p>
            <a:pPr rtl="0">
              <a:buClr>
                <a:schemeClr val="tx1"/>
              </a:buClr>
            </a:pPr>
            <a:endParaRPr lang="en-US" sz="2400">
              <a:cs typeface="Calibri"/>
            </a:endParaRPr>
          </a:p>
          <a:p>
            <a:pPr>
              <a:buClr>
                <a:schemeClr val="tx1"/>
              </a:buClr>
            </a:pPr>
            <a:r>
              <a:rPr lang="fr" sz="2400" dirty="0">
                <a:cs typeface="Calibri"/>
              </a:rPr>
              <a:t>Tous les </a:t>
            </a:r>
            <a:r>
              <a:rPr lang="fr" sz="2400" b="1" dirty="0">
                <a:cs typeface="Calibri"/>
              </a:rPr>
              <a:t>fluides corporels</a:t>
            </a:r>
            <a:r>
              <a:rPr lang="fr" sz="2400" dirty="0">
                <a:cs typeface="Calibri"/>
              </a:rPr>
              <a:t> provenant d’individus infectés vivants ou décédés peuvent transmettre le virus</a:t>
            </a:r>
            <a:endParaRPr lang="fr" sz="2400" dirty="0">
              <a:ea typeface="Calibri"/>
              <a:cs typeface="Calibri"/>
            </a:endParaRPr>
          </a:p>
          <a:p>
            <a:pPr marL="0" indent="0" rtl="0">
              <a:buClr>
                <a:schemeClr val="tx1"/>
              </a:buClr>
              <a:buNone/>
            </a:pPr>
            <a:endParaRPr lang="en-US" sz="2400">
              <a:cs typeface="Calibri"/>
            </a:endParaRPr>
          </a:p>
          <a:p>
            <a:pPr>
              <a:buClr>
                <a:schemeClr val="tx1"/>
              </a:buClr>
            </a:pPr>
            <a:r>
              <a:rPr lang="fr" sz="2400" dirty="0">
                <a:cs typeface="Calibri"/>
              </a:rPr>
              <a:t>Les effets personnels tels que les vêtements, ustensiles de cuisine, matelas qui peuvent également transmettre le virus Ebola s’ils ont été utilisés par une personne infectée.</a:t>
            </a:r>
            <a:endParaRPr lang="fr" sz="2400" dirty="0">
              <a:ea typeface="Calibri"/>
              <a:cs typeface="Calibri"/>
            </a:endParaRPr>
          </a:p>
          <a:p>
            <a:pPr rtl="0"/>
            <a:endParaRPr lang="en-US"/>
          </a:p>
        </p:txBody>
      </p:sp>
      <p:pic>
        <p:nvPicPr>
          <p:cNvPr id="5" name="Picture 4" descr="Diagram&#10;&#10;Description automatically generated">
            <a:extLst>
              <a:ext uri="{FF2B5EF4-FFF2-40B4-BE49-F238E27FC236}">
                <a16:creationId xmlns:a16="http://schemas.microsoft.com/office/drawing/2014/main" id="{5EE021A7-925C-B33F-25DF-8CCF7D73FE31}"/>
              </a:ext>
            </a:extLst>
          </p:cNvPr>
          <p:cNvPicPr>
            <a:picLocks noChangeAspect="1"/>
          </p:cNvPicPr>
          <p:nvPr/>
        </p:nvPicPr>
        <p:blipFill>
          <a:blip r:embed="rId2"/>
          <a:stretch>
            <a:fillRect/>
          </a:stretch>
        </p:blipFill>
        <p:spPr>
          <a:xfrm>
            <a:off x="7315646" y="1519084"/>
            <a:ext cx="3874255" cy="3685253"/>
          </a:xfrm>
          <a:prstGeom prst="rect">
            <a:avLst/>
          </a:prstGeom>
        </p:spPr>
      </p:pic>
      <p:sp>
        <p:nvSpPr>
          <p:cNvPr id="8" name="TextBox 7">
            <a:extLst>
              <a:ext uri="{FF2B5EF4-FFF2-40B4-BE49-F238E27FC236}">
                <a16:creationId xmlns:a16="http://schemas.microsoft.com/office/drawing/2014/main" id="{7E75446C-B259-C30C-BF3F-4C6CB1EEEC0C}"/>
              </a:ext>
            </a:extLst>
          </p:cNvPr>
          <p:cNvSpPr txBox="1"/>
          <p:nvPr/>
        </p:nvSpPr>
        <p:spPr>
          <a:xfrm>
            <a:off x="7478393" y="5138124"/>
            <a:ext cx="2467896"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fr" sz="1200"/>
              <a:t>Images du CDC, États-Unis</a:t>
            </a:r>
            <a:endParaRPr lang="fr-FR" sz="1200">
              <a:cs typeface="Calibri"/>
            </a:endParaRPr>
          </a:p>
        </p:txBody>
      </p:sp>
    </p:spTree>
    <p:extLst>
      <p:ext uri="{BB962C8B-B14F-4D97-AF65-F5344CB8AC3E}">
        <p14:creationId xmlns:p14="http://schemas.microsoft.com/office/powerpoint/2010/main" val="2561708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S_UNIQUEID" val="7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Props1.xml><?xml version="1.0" encoding="utf-8"?>
<ds:datastoreItem xmlns:ds="http://schemas.openxmlformats.org/officeDocument/2006/customXml" ds:itemID="{629B79FE-B55B-44AE-8112-0AED9F8CF62D}">
  <ds:schemaRefs>
    <ds:schemaRef ds:uri="http://schemas.microsoft.com/sharepoint/v3/contenttype/forms"/>
  </ds:schemaRefs>
</ds:datastoreItem>
</file>

<file path=customXml/itemProps2.xml><?xml version="1.0" encoding="utf-8"?>
<ds:datastoreItem xmlns:ds="http://schemas.openxmlformats.org/officeDocument/2006/customXml" ds:itemID="{9066F6F1-54EC-418D-89C4-598B40C30F4C}"/>
</file>

<file path=customXml/itemProps3.xml><?xml version="1.0" encoding="utf-8"?>
<ds:datastoreItem xmlns:ds="http://schemas.openxmlformats.org/officeDocument/2006/customXml" ds:itemID="{78937C14-0D61-460F-9079-A926E6F83C81}">
  <ds:schemaRefs>
    <ds:schemaRef ds:uri="98184aec-5d5c-4d51-9609-2849b427f9aa"/>
    <ds:schemaRef ds:uri="ef476ba7-88f1-463e-b521-01ac1cac47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Grand écran</PresentationFormat>
  <Slides>23</Slides>
  <Notes>17</Notes>
  <HiddenSlides>0</HiddenSlides>
  <ScaleCrop>false</ScaleCrop>
  <HeadingPairs>
    <vt:vector size="4" baseType="variant">
      <vt:variant>
        <vt:lpstr>Thème</vt:lpstr>
      </vt:variant>
      <vt:variant>
        <vt:i4>2</vt:i4>
      </vt:variant>
      <vt:variant>
        <vt:lpstr>Titres des diapositives</vt:lpstr>
      </vt:variant>
      <vt:variant>
        <vt:i4>23</vt:i4>
      </vt:variant>
    </vt:vector>
  </HeadingPairs>
  <TitlesOfParts>
    <vt:vector size="25" baseType="lpstr">
      <vt:lpstr>1_New CoVDP Format Grid 16:9</vt:lpstr>
      <vt:lpstr>Custom Design</vt:lpstr>
      <vt:lpstr>Maladie à virus Ebola et vaccins</vt:lpstr>
      <vt:lpstr>Maladie à virus Ebola</vt:lpstr>
      <vt:lpstr>Decouverte du virus Ebola 1976 </vt:lpstr>
      <vt:lpstr>Fin du 20e siècle (1989 - 1996)</vt:lpstr>
      <vt:lpstr>Début du siècle (2000-2008)</vt:lpstr>
      <vt:lpstr>Début du XXIe siècle (2011 – 2020) : les choses changent !</vt:lpstr>
      <vt:lpstr>Développements récents (2021 – 2022) </vt:lpstr>
      <vt:lpstr>Transmission de la maladie à virus Ebola</vt:lpstr>
      <vt:lpstr>Transmission interhumaine</vt:lpstr>
      <vt:lpstr>Flambées épidémiques récentes de la maladie à virus Ebola, 2014-2024</vt:lpstr>
      <vt:lpstr>Vaccins contre Ebola</vt:lpstr>
      <vt:lpstr>Schéma vaccinal monovalent contre Ebola</vt:lpstr>
      <vt:lpstr>ERVEBO® (rVSV-ZEBOV)</vt:lpstr>
      <vt:lpstr>Utilisation du vaccin ERVEBO dans le monde</vt:lpstr>
      <vt:lpstr>Efficacité vaccinale</vt:lpstr>
      <vt:lpstr>Durabilité</vt:lpstr>
      <vt:lpstr>Indications sur les vaccins et administration</vt:lpstr>
      <vt:lpstr>Après la vaccination</vt:lpstr>
      <vt:lpstr>Sécurité : contre-indications et effets secondaires</vt:lpstr>
      <vt:lpstr>Femmes enceintes ou allaitantes</vt:lpstr>
      <vt:lpstr>Caractéristiques et considérations relatives aux vaccins</vt:lpstr>
      <vt:lpstr>Antécédent vaccinal</vt:lpstr>
      <vt:lpstr>Utilisation des vaccins contre Ebola dans la région, 2021-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il A</dc:creator>
  <cp:revision>51</cp:revision>
  <dcterms:created xsi:type="dcterms:W3CDTF">2022-05-16T01:05:29Z</dcterms:created>
  <dcterms:modified xsi:type="dcterms:W3CDTF">2024-09-12T07:1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ies>
</file>